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.xml" ContentType="application/vnd.openxmlformats-officedocument.presentationml.notesSlide+xml"/>
  <Override PartName="/ppt/tags/tag87.xml" ContentType="application/vnd.openxmlformats-officedocument.presentationml.tags+xml"/>
  <Override PartName="/ppt/notesSlides/notesSlide2.xml" ContentType="application/vnd.openxmlformats-officedocument.presentationml.notesSlide+xml"/>
  <Override PartName="/ppt/tags/tag88.xml" ContentType="application/vnd.openxmlformats-officedocument.presentationml.tags+xml"/>
  <Override PartName="/ppt/notesSlides/notesSlide3.xml" ContentType="application/vnd.openxmlformats-officedocument.presentationml.notesSlide+xml"/>
  <Override PartName="/ppt/tags/tag89.xml" ContentType="application/vnd.openxmlformats-officedocument.presentationml.tags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8.xml" ContentType="application/vnd.openxmlformats-officedocument.presentationml.notesSlide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0.xml" ContentType="application/vnd.openxmlformats-officedocument.presentationml.notesSlide+xml"/>
  <Override PartName="/ppt/tags/tag121.xml" ContentType="application/vnd.openxmlformats-officedocument.presentationml.tags+xml"/>
  <Override PartName="/ppt/notesSlides/notesSlide1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2.xml" ContentType="application/vnd.openxmlformats-officedocument.presentationml.notesSlide+xml"/>
  <Override PartName="/ppt/tags/tag124.xml" ContentType="application/vnd.openxmlformats-officedocument.presentationml.tags+xml"/>
  <Override PartName="/ppt/notesSlides/notesSlide13.xml" ContentType="application/vnd.openxmlformats-officedocument.presentationml.notesSlide+xml"/>
  <Override PartName="/ppt/tags/tag125.xml" ContentType="application/vnd.openxmlformats-officedocument.presentationml.tags+xml"/>
  <Override PartName="/ppt/notesSlides/notesSlide14.xml" ContentType="application/vnd.openxmlformats-officedocument.presentationml.notesSlide+xml"/>
  <Override PartName="/ppt/tags/tag126.xml" ContentType="application/vnd.openxmlformats-officedocument.presentationml.tags+xml"/>
  <Override PartName="/ppt/notesSlides/notesSlide15.xml" ContentType="application/vnd.openxmlformats-officedocument.presentationml.notesSlide+xml"/>
  <Override PartName="/ppt/tags/tag127.xml" ContentType="application/vnd.openxmlformats-officedocument.presentationml.tags+xml"/>
  <Override PartName="/ppt/notesSlides/notesSlide16.xml" ContentType="application/vnd.openxmlformats-officedocument.presentationml.notesSlide+xml"/>
  <Override PartName="/ppt/tags/tag128.xml" ContentType="application/vnd.openxmlformats-officedocument.presentationml.tags+xml"/>
  <Override PartName="/ppt/notesSlides/notesSlide17.xml" ContentType="application/vnd.openxmlformats-officedocument.presentationml.notesSlide+xml"/>
  <Override PartName="/ppt/tags/tag129.xml" ContentType="application/vnd.openxmlformats-officedocument.presentationml.tags+xml"/>
  <Override PartName="/ppt/notesSlides/notesSlide18.xml" ContentType="application/vnd.openxmlformats-officedocument.presentationml.notesSlide+xml"/>
  <Override PartName="/ppt/tags/tag130.xml" ContentType="application/vnd.openxmlformats-officedocument.presentationml.tags+xml"/>
  <Override PartName="/ppt/notesSlides/notesSlide19.xml" ContentType="application/vnd.openxmlformats-officedocument.presentationml.notesSlide+xml"/>
  <Override PartName="/ppt/tags/tag131.xml" ContentType="application/vnd.openxmlformats-officedocument.presentationml.tags+xml"/>
  <Override PartName="/ppt/notesSlides/notesSlide20.xml" ContentType="application/vnd.openxmlformats-officedocument.presentationml.notesSlide+xml"/>
  <Override PartName="/ppt/tags/tag132.xml" ContentType="application/vnd.openxmlformats-officedocument.presentationml.tags+xml"/>
  <Override PartName="/ppt/notesSlides/notesSlide21.xml" ContentType="application/vnd.openxmlformats-officedocument.presentationml.notesSlide+xml"/>
  <Override PartName="/ppt/tags/tag133.xml" ContentType="application/vnd.openxmlformats-officedocument.presentationml.tags+xml"/>
  <Override PartName="/ppt/notesSlides/notesSlide22.xml" ContentType="application/vnd.openxmlformats-officedocument.presentationml.notesSlide+xml"/>
  <Override PartName="/ppt/tags/tag134.xml" ContentType="application/vnd.openxmlformats-officedocument.presentationml.tags+xml"/>
  <Override PartName="/ppt/notesSlides/notesSlide23.xml" ContentType="application/vnd.openxmlformats-officedocument.presentationml.notesSlide+xml"/>
  <Override PartName="/ppt/tags/tag135.xml" ContentType="application/vnd.openxmlformats-officedocument.presentationml.tags+xml"/>
  <Override PartName="/ppt/notesSlides/notesSlide24.xml" ContentType="application/vnd.openxmlformats-officedocument.presentationml.notesSlide+xml"/>
  <Override PartName="/ppt/tags/tag136.xml" ContentType="application/vnd.openxmlformats-officedocument.presentationml.tags+xml"/>
  <Override PartName="/ppt/notesSlides/notesSlide25.xml" ContentType="application/vnd.openxmlformats-officedocument.presentationml.notesSlide+xml"/>
  <Override PartName="/ppt/tags/tag137.xml" ContentType="application/vnd.openxmlformats-officedocument.presentationml.tags+xml"/>
  <Override PartName="/ppt/notesSlides/notesSlide26.xml" ContentType="application/vnd.openxmlformats-officedocument.presentationml.notesSlide+xml"/>
  <Override PartName="/ppt/tags/tag138.xml" ContentType="application/vnd.openxmlformats-officedocument.presentationml.tags+xml"/>
  <Override PartName="/ppt/notesSlides/notesSlide27.xml" ContentType="application/vnd.openxmlformats-officedocument.presentationml.notesSlide+xml"/>
  <Override PartName="/ppt/tags/tag139.xml" ContentType="application/vnd.openxmlformats-officedocument.presentationml.tags+xml"/>
  <Override PartName="/ppt/notesSlides/notesSlide2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35" r:id="rId5"/>
    <p:sldMasterId id="2147484360" r:id="rId6"/>
    <p:sldMasterId id="2147484379" r:id="rId7"/>
  </p:sldMasterIdLst>
  <p:notesMasterIdLst>
    <p:notesMasterId r:id="rId45"/>
  </p:notesMasterIdLst>
  <p:handoutMasterIdLst>
    <p:handoutMasterId r:id="rId46"/>
  </p:handoutMasterIdLst>
  <p:sldIdLst>
    <p:sldId id="256" r:id="rId8"/>
    <p:sldId id="690" r:id="rId9"/>
    <p:sldId id="260" r:id="rId10"/>
    <p:sldId id="1364" r:id="rId11"/>
    <p:sldId id="1382" r:id="rId12"/>
    <p:sldId id="1385" r:id="rId13"/>
    <p:sldId id="1384" r:id="rId14"/>
    <p:sldId id="1383" r:id="rId15"/>
    <p:sldId id="1445" r:id="rId16"/>
    <p:sldId id="1398" r:id="rId17"/>
    <p:sldId id="1399" r:id="rId18"/>
    <p:sldId id="1404" r:id="rId19"/>
    <p:sldId id="1402" r:id="rId20"/>
    <p:sldId id="1396" r:id="rId21"/>
    <p:sldId id="265" r:id="rId22"/>
    <p:sldId id="323" r:id="rId23"/>
    <p:sldId id="1374" r:id="rId24"/>
    <p:sldId id="1433" r:id="rId25"/>
    <p:sldId id="1435" r:id="rId26"/>
    <p:sldId id="1424" r:id="rId27"/>
    <p:sldId id="1434" r:id="rId28"/>
    <p:sldId id="1420" r:id="rId29"/>
    <p:sldId id="1431" r:id="rId30"/>
    <p:sldId id="1425" r:id="rId31"/>
    <p:sldId id="1438" r:id="rId32"/>
    <p:sldId id="1428" r:id="rId33"/>
    <p:sldId id="1439" r:id="rId34"/>
    <p:sldId id="1429" r:id="rId35"/>
    <p:sldId id="1440" r:id="rId36"/>
    <p:sldId id="1426" r:id="rId37"/>
    <p:sldId id="1442" r:id="rId38"/>
    <p:sldId id="1430" r:id="rId39"/>
    <p:sldId id="1441" r:id="rId40"/>
    <p:sldId id="1427" r:id="rId41"/>
    <p:sldId id="1423" r:id="rId42"/>
    <p:sldId id="270" r:id="rId43"/>
    <p:sldId id="287" r:id="rId44"/>
  </p:sldIdLst>
  <p:sldSz cx="12190413" cy="6858000"/>
  <p:notesSz cx="6888163" cy="100203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7800CA2-B60B-4429-95A4-6232B00E91E7}">
          <p14:sldIdLst>
            <p14:sldId id="256"/>
            <p14:sldId id="690"/>
            <p14:sldId id="260"/>
            <p14:sldId id="1364"/>
            <p14:sldId id="1382"/>
            <p14:sldId id="1385"/>
            <p14:sldId id="1384"/>
            <p14:sldId id="1383"/>
            <p14:sldId id="1445"/>
            <p14:sldId id="1398"/>
            <p14:sldId id="1399"/>
            <p14:sldId id="1404"/>
            <p14:sldId id="1402"/>
            <p14:sldId id="1396"/>
            <p14:sldId id="265"/>
            <p14:sldId id="323"/>
            <p14:sldId id="1374"/>
            <p14:sldId id="1433"/>
            <p14:sldId id="1435"/>
            <p14:sldId id="1424"/>
            <p14:sldId id="1434"/>
            <p14:sldId id="1420"/>
            <p14:sldId id="1431"/>
            <p14:sldId id="1425"/>
            <p14:sldId id="1438"/>
            <p14:sldId id="1428"/>
            <p14:sldId id="1439"/>
            <p14:sldId id="1429"/>
            <p14:sldId id="1440"/>
            <p14:sldId id="1426"/>
            <p14:sldId id="1442"/>
            <p14:sldId id="1430"/>
            <p14:sldId id="1441"/>
            <p14:sldId id="1427"/>
            <p14:sldId id="1423"/>
            <p14:sldId id="270"/>
            <p14:sldId id="287"/>
          </p14:sldIdLst>
        </p14:section>
        <p14:section name="Backup" id="{15C3D4D9-3B2F-4FF5-AFE0-12DD3BC29B41}">
          <p14:sldIdLst/>
        </p14:section>
      </p14:sectionLst>
    </p:ext>
    <p:ext uri="{EFAFB233-063F-42B5-8137-9DF3F51BA10A}">
      <p15:sldGuideLst xmlns:p15="http://schemas.microsoft.com/office/powerpoint/2012/main">
        <p15:guide id="1" pos="642" userDrawn="1">
          <p15:clr>
            <a:srgbClr val="A4A3A4"/>
          </p15:clr>
        </p15:guide>
        <p15:guide id="2" orient="horz" pos="4088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chwaerzler" initials="MS" lastIdx="41" clrIdx="0">
    <p:extLst>
      <p:ext uri="{19B8F6BF-5375-455C-9EA6-DF929625EA0E}">
        <p15:presenceInfo xmlns:p15="http://schemas.microsoft.com/office/powerpoint/2012/main" userId="S::marion.schwaerzler@bayer.com::0c8fe58b-5fc3-4d1d-8a76-f904196b68d5" providerId="AD"/>
      </p:ext>
    </p:extLst>
  </p:cmAuthor>
  <p:cmAuthor id="2" name="Stefanie Neumann" initials="SN" lastIdx="5" clrIdx="1">
    <p:extLst>
      <p:ext uri="{19B8F6BF-5375-455C-9EA6-DF929625EA0E}">
        <p15:presenceInfo xmlns:p15="http://schemas.microsoft.com/office/powerpoint/2012/main" userId="S-1-5-21-1482476501-484061587-682003330-33183" providerId="AD"/>
      </p:ext>
    </p:extLst>
  </p:cmAuthor>
  <p:cmAuthor id="3" name="Disselhoff, Tim" initials="DT" lastIdx="12" clrIdx="2">
    <p:extLst>
      <p:ext uri="{19B8F6BF-5375-455C-9EA6-DF929625EA0E}">
        <p15:presenceInfo xmlns:p15="http://schemas.microsoft.com/office/powerpoint/2012/main" userId="S::tdisselhoff@deloitte.de::3b8b5473-7050-4f60-8279-e72cc8538d43" providerId="AD"/>
      </p:ext>
    </p:extLst>
  </p:cmAuthor>
  <p:cmAuthor id="4" name="Christoph Berns" initials="CB" lastIdx="6" clrIdx="3">
    <p:extLst>
      <p:ext uri="{19B8F6BF-5375-455C-9EA6-DF929625EA0E}">
        <p15:presenceInfo xmlns:p15="http://schemas.microsoft.com/office/powerpoint/2012/main" userId="S::christoph.berns1@bayer.com::31de5b24-479c-4031-b04f-6731b04d3a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CFF"/>
    <a:srgbClr val="000000"/>
    <a:srgbClr val="EFEDEF"/>
    <a:srgbClr val="DAD6DA"/>
    <a:srgbClr val="9B9A9B"/>
    <a:srgbClr val="FFCC00"/>
    <a:srgbClr val="66B512"/>
    <a:srgbClr val="2B6636"/>
    <a:srgbClr val="C6C6C6"/>
    <a:srgbClr val="74C7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CB1AA8-7C13-4EAF-8A89-B07379D9C92E}" v="1418" dt="2021-08-20T16:01:44.084"/>
    <p1510:client id="{7EF26090-F3A6-46EC-AE21-DA2BB7F8165F}" v="1601" vWet="1611" dt="2021-08-20T09:25:45.519"/>
    <p1510:client id="{952E53DB-5978-46BA-964C-5B55B87B6690}" v="53435" dt="2021-08-20T12:59:03.9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422" y="43"/>
      </p:cViewPr>
      <p:guideLst>
        <p:guide pos="642"/>
        <p:guide orient="horz" pos="4088"/>
        <p:guide pos="7423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notesMaster" Target="notesMasters/notesMaster1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commentAuthors" Target="commentAuthors.xml"/><Relationship Id="rId8" Type="http://schemas.openxmlformats.org/officeDocument/2006/relationships/slide" Target="slides/slide1.xml"/><Relationship Id="rId5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sselhoff, Tim" userId="3b8b5473-7050-4f60-8279-e72cc8538d43" providerId="ADAL" clId="{952E53DB-5978-46BA-964C-5B55B87B6690}"/>
    <pc:docChg chg="undo redo custSel addSld delSld modSld sldOrd modSection">
      <pc:chgData name="Disselhoff, Tim" userId="3b8b5473-7050-4f60-8279-e72cc8538d43" providerId="ADAL" clId="{952E53DB-5978-46BA-964C-5B55B87B6690}" dt="2021-08-20T12:59:03.994" v="20231"/>
      <pc:docMkLst>
        <pc:docMk/>
      </pc:docMkLst>
      <pc:sldChg chg="addSp delSp modSp mod">
        <pc:chgData name="Disselhoff, Tim" userId="3b8b5473-7050-4f60-8279-e72cc8538d43" providerId="ADAL" clId="{952E53DB-5978-46BA-964C-5B55B87B6690}" dt="2021-08-18T08:16:16.045" v="8522"/>
        <pc:sldMkLst>
          <pc:docMk/>
          <pc:sldMk cId="1520328920" sldId="265"/>
        </pc:sldMkLst>
        <pc:spChg chg="mod">
          <ac:chgData name="Disselhoff, Tim" userId="3b8b5473-7050-4f60-8279-e72cc8538d43" providerId="ADAL" clId="{952E53DB-5978-46BA-964C-5B55B87B6690}" dt="2021-08-18T08:16:15.906" v="8481" actId="948"/>
          <ac:spMkLst>
            <pc:docMk/>
            <pc:sldMk cId="1520328920" sldId="265"/>
            <ac:spMk id="2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18T08:16:16.025" v="8520"/>
          <ac:spMkLst>
            <pc:docMk/>
            <pc:sldMk cId="1520328920" sldId="265"/>
            <ac:spMk id="7" creationId="{609BC451-0E18-4A5C-82D1-3E28E59BD6B0}"/>
          </ac:spMkLst>
        </pc:spChg>
        <pc:graphicFrameChg chg="add mod ord modVis">
          <ac:chgData name="Disselhoff, Tim" userId="3b8b5473-7050-4f60-8279-e72cc8538d43" providerId="ADAL" clId="{952E53DB-5978-46BA-964C-5B55B87B6690}" dt="2021-08-18T08:16:16.045" v="8522"/>
          <ac:graphicFrameMkLst>
            <pc:docMk/>
            <pc:sldMk cId="1520328920" sldId="265"/>
            <ac:graphicFrameMk id="5" creationId="{076FBF5D-C21B-4EF7-8CAB-E772A8492C4F}"/>
          </ac:graphicFrameMkLst>
        </pc:graphicFrameChg>
      </pc:sldChg>
      <pc:sldChg chg="add del">
        <pc:chgData name="Disselhoff, Tim" userId="3b8b5473-7050-4f60-8279-e72cc8538d43" providerId="ADAL" clId="{952E53DB-5978-46BA-964C-5B55B87B6690}" dt="2021-08-19T16:39:17.332" v="19779" actId="47"/>
        <pc:sldMkLst>
          <pc:docMk/>
          <pc:sldMk cId="2512271718" sldId="270"/>
        </pc:sldMkLst>
      </pc:sldChg>
      <pc:sldChg chg="delSp modSp add del mod ord delCm">
        <pc:chgData name="Disselhoff, Tim" userId="3b8b5473-7050-4f60-8279-e72cc8538d43" providerId="ADAL" clId="{952E53DB-5978-46BA-964C-5B55B87B6690}" dt="2021-08-20T09:19:03.261" v="20054" actId="1592"/>
        <pc:sldMkLst>
          <pc:docMk/>
          <pc:sldMk cId="1898009748" sldId="323"/>
        </pc:sldMkLst>
        <pc:spChg chg="mod">
          <ac:chgData name="Disselhoff, Tim" userId="3b8b5473-7050-4f60-8279-e72cc8538d43" providerId="ADAL" clId="{952E53DB-5978-46BA-964C-5B55B87B6690}" dt="2021-08-16T17:33:29.438" v="1765" actId="20577"/>
          <ac:spMkLst>
            <pc:docMk/>
            <pc:sldMk cId="1898009748" sldId="323"/>
            <ac:spMk id="1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20T09:18:56.552" v="20053" actId="20577"/>
          <ac:spMkLst>
            <pc:docMk/>
            <pc:sldMk cId="1898009748" sldId="323"/>
            <ac:spMk id="5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7:33:37.869" v="1772" actId="1035"/>
          <ac:spMkLst>
            <pc:docMk/>
            <pc:sldMk cId="1898009748" sldId="323"/>
            <ac:spMk id="53" creationId="{0910892A-103A-450B-8821-5A33598C37FA}"/>
          </ac:spMkLst>
        </pc:spChg>
        <pc:spChg chg="mod">
          <ac:chgData name="Disselhoff, Tim" userId="3b8b5473-7050-4f60-8279-e72cc8538d43" providerId="ADAL" clId="{952E53DB-5978-46BA-964C-5B55B87B6690}" dt="2021-08-16T17:33:46.784" v="1774" actId="14100"/>
          <ac:spMkLst>
            <pc:docMk/>
            <pc:sldMk cId="1898009748" sldId="323"/>
            <ac:spMk id="54" creationId="{326E8253-0E5F-4152-85DD-5EA7E576A403}"/>
          </ac:spMkLst>
        </pc:spChg>
        <pc:spChg chg="del">
          <ac:chgData name="Disselhoff, Tim" userId="3b8b5473-7050-4f60-8279-e72cc8538d43" providerId="ADAL" clId="{952E53DB-5978-46BA-964C-5B55B87B6690}" dt="2021-08-16T17:39:09.310" v="2050" actId="478"/>
          <ac:spMkLst>
            <pc:docMk/>
            <pc:sldMk cId="1898009748" sldId="323"/>
            <ac:spMk id="57" creationId="{032DA3B0-62FE-4F4E-B071-20BA04E79277}"/>
          </ac:spMkLst>
        </pc:spChg>
        <pc:picChg chg="del">
          <ac:chgData name="Disselhoff, Tim" userId="3b8b5473-7050-4f60-8279-e72cc8538d43" providerId="ADAL" clId="{952E53DB-5978-46BA-964C-5B55B87B6690}" dt="2021-08-16T17:39:08.006" v="2049" actId="478"/>
          <ac:picMkLst>
            <pc:docMk/>
            <pc:sldMk cId="1898009748" sldId="323"/>
            <ac:picMk id="4" creationId="{D24AB93F-97A1-4056-8E92-A4C1819E4FB0}"/>
          </ac:picMkLst>
        </pc:picChg>
      </pc:sldChg>
      <pc:sldChg chg="modSp add del mod ord">
        <pc:chgData name="Disselhoff, Tim" userId="3b8b5473-7050-4f60-8279-e72cc8538d43" providerId="ADAL" clId="{952E53DB-5978-46BA-964C-5B55B87B6690}" dt="2021-08-19T16:39:21.726" v="19782" actId="47"/>
        <pc:sldMkLst>
          <pc:docMk/>
          <pc:sldMk cId="2478619988" sldId="324"/>
        </pc:sldMkLst>
        <pc:spChg chg="mod">
          <ac:chgData name="Disselhoff, Tim" userId="3b8b5473-7050-4f60-8279-e72cc8538d43" providerId="ADAL" clId="{952E53DB-5978-46BA-964C-5B55B87B6690}" dt="2021-08-16T12:49:40.584" v="417" actId="1076"/>
          <ac:spMkLst>
            <pc:docMk/>
            <pc:sldMk cId="2478619988" sldId="324"/>
            <ac:spMk id="127" creationId="{C3EBA988-1E74-4A81-B8B2-910EC11A5D4A}"/>
          </ac:spMkLst>
        </pc:spChg>
      </pc:sldChg>
      <pc:sldChg chg="modSp del mod">
        <pc:chgData name="Disselhoff, Tim" userId="3b8b5473-7050-4f60-8279-e72cc8538d43" providerId="ADAL" clId="{952E53DB-5978-46BA-964C-5B55B87B6690}" dt="2021-08-19T16:38:27.354" v="19777" actId="47"/>
        <pc:sldMkLst>
          <pc:docMk/>
          <pc:sldMk cId="1476179359" sldId="329"/>
        </pc:sldMkLst>
        <pc:spChg chg="mod">
          <ac:chgData name="Disselhoff, Tim" userId="3b8b5473-7050-4f60-8279-e72cc8538d43" providerId="ADAL" clId="{952E53DB-5978-46BA-964C-5B55B87B6690}" dt="2021-08-18T16:30:47.204" v="11459" actId="20577"/>
          <ac:spMkLst>
            <pc:docMk/>
            <pc:sldMk cId="1476179359" sldId="329"/>
            <ac:spMk id="115" creationId="{7C5DB1D4-1241-409F-9866-635850BB001E}"/>
          </ac:spMkLst>
        </pc:spChg>
      </pc:sldChg>
      <pc:sldChg chg="modSp del mod">
        <pc:chgData name="Disselhoff, Tim" userId="3b8b5473-7050-4f60-8279-e72cc8538d43" providerId="ADAL" clId="{952E53DB-5978-46BA-964C-5B55B87B6690}" dt="2021-08-17T08:16:36.162" v="6739" actId="47"/>
        <pc:sldMkLst>
          <pc:docMk/>
          <pc:sldMk cId="2166934528" sldId="424"/>
        </pc:sldMkLst>
        <pc:spChg chg="mod">
          <ac:chgData name="Disselhoff, Tim" userId="3b8b5473-7050-4f60-8279-e72cc8538d43" providerId="ADAL" clId="{952E53DB-5978-46BA-964C-5B55B87B6690}" dt="2021-08-16T12:30:14.757" v="2" actId="1076"/>
          <ac:spMkLst>
            <pc:docMk/>
            <pc:sldMk cId="2166934528" sldId="424"/>
            <ac:spMk id="373" creationId="{4CA4D3DD-916E-494B-AB4F-EFAAC0D4B3DD}"/>
          </ac:spMkLst>
        </pc:spChg>
      </pc:sldChg>
      <pc:sldChg chg="modSp add mod">
        <pc:chgData name="Disselhoff, Tim" userId="3b8b5473-7050-4f60-8279-e72cc8538d43" providerId="ADAL" clId="{952E53DB-5978-46BA-964C-5B55B87B6690}" dt="2021-08-20T09:23:26.744" v="20214" actId="114"/>
        <pc:sldMkLst>
          <pc:docMk/>
          <pc:sldMk cId="3496704585" sldId="690"/>
        </pc:sldMkLst>
        <pc:spChg chg="mod">
          <ac:chgData name="Disselhoff, Tim" userId="3b8b5473-7050-4f60-8279-e72cc8538d43" providerId="ADAL" clId="{952E53DB-5978-46BA-964C-5B55B87B6690}" dt="2021-08-20T09:23:26.744" v="20214" actId="114"/>
          <ac:spMkLst>
            <pc:docMk/>
            <pc:sldMk cId="3496704585" sldId="690"/>
            <ac:spMk id="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20T09:21:30.218" v="20074" actId="20577"/>
          <ac:spMkLst>
            <pc:docMk/>
            <pc:sldMk cId="3496704585" sldId="690"/>
            <ac:spMk id="10" creationId="{00000000-0000-0000-0000-000000000000}"/>
          </ac:spMkLst>
        </pc:spChg>
      </pc:sldChg>
      <pc:sldChg chg="addSp delSp modSp mod ord addCm delCm modCm">
        <pc:chgData name="Disselhoff, Tim" userId="3b8b5473-7050-4f60-8279-e72cc8538d43" providerId="ADAL" clId="{952E53DB-5978-46BA-964C-5B55B87B6690}" dt="2021-08-19T16:53:39.052" v="19817" actId="478"/>
        <pc:sldMkLst>
          <pc:docMk/>
          <pc:sldMk cId="310471931" sldId="1364"/>
        </pc:sldMkLst>
        <pc:spChg chg="mod">
          <ac:chgData name="Disselhoff, Tim" userId="3b8b5473-7050-4f60-8279-e72cc8538d43" providerId="ADAL" clId="{952E53DB-5978-46BA-964C-5B55B87B6690}" dt="2021-08-18T15:21:42.566" v="8972" actId="20577"/>
          <ac:spMkLst>
            <pc:docMk/>
            <pc:sldMk cId="310471931" sldId="1364"/>
            <ac:spMk id="2" creationId="{C1A246C2-7891-4153-8173-AB72BCCBDA20}"/>
          </ac:spMkLst>
        </pc:spChg>
        <pc:spChg chg="mod">
          <ac:chgData name="Disselhoff, Tim" userId="3b8b5473-7050-4f60-8279-e72cc8538d43" providerId="ADAL" clId="{952E53DB-5978-46BA-964C-5B55B87B6690}" dt="2021-08-18T15:21:46.090" v="8974" actId="20577"/>
          <ac:spMkLst>
            <pc:docMk/>
            <pc:sldMk cId="310471931" sldId="1364"/>
            <ac:spMk id="132" creationId="{00000000-0000-0000-0000-000000000000}"/>
          </ac:spMkLst>
        </pc:spChg>
        <pc:spChg chg="add del">
          <ac:chgData name="Disselhoff, Tim" userId="3b8b5473-7050-4f60-8279-e72cc8538d43" providerId="ADAL" clId="{952E53DB-5978-46BA-964C-5B55B87B6690}" dt="2021-08-18T15:18:32.862" v="8886" actId="478"/>
          <ac:spMkLst>
            <pc:docMk/>
            <pc:sldMk cId="310471931" sldId="1364"/>
            <ac:spMk id="15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8T16:22:23.821" v="11162" actId="1038"/>
          <ac:spMkLst>
            <pc:docMk/>
            <pc:sldMk cId="310471931" sldId="1364"/>
            <ac:spMk id="15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8T16:22:23.821" v="11162" actId="1038"/>
          <ac:spMkLst>
            <pc:docMk/>
            <pc:sldMk cId="310471931" sldId="1364"/>
            <ac:spMk id="154" creationId="{7FA3F2B3-2136-40C2-A032-347215914C98}"/>
          </ac:spMkLst>
        </pc:spChg>
        <pc:spChg chg="del mod">
          <ac:chgData name="Disselhoff, Tim" userId="3b8b5473-7050-4f60-8279-e72cc8538d43" providerId="ADAL" clId="{952E53DB-5978-46BA-964C-5B55B87B6690}" dt="2021-08-19T16:53:39.052" v="19817" actId="478"/>
          <ac:spMkLst>
            <pc:docMk/>
            <pc:sldMk cId="310471931" sldId="1364"/>
            <ac:spMk id="155" creationId="{2ECA1871-D577-4B91-8CD6-CAB2A51B7ACA}"/>
          </ac:spMkLst>
        </pc:spChg>
        <pc:spChg chg="add del mod">
          <ac:chgData name="Disselhoff, Tim" userId="3b8b5473-7050-4f60-8279-e72cc8538d43" providerId="ADAL" clId="{952E53DB-5978-46BA-964C-5B55B87B6690}" dt="2021-08-18T15:18:27.368" v="8884"/>
          <ac:spMkLst>
            <pc:docMk/>
            <pc:sldMk cId="310471931" sldId="1364"/>
            <ac:spMk id="157" creationId="{252F1B67-0020-4BD3-B89E-56ED56F5A053}"/>
          </ac:spMkLst>
        </pc:spChg>
        <pc:spChg chg="add del">
          <ac:chgData name="Disselhoff, Tim" userId="3b8b5473-7050-4f60-8279-e72cc8538d43" providerId="ADAL" clId="{952E53DB-5978-46BA-964C-5B55B87B6690}" dt="2021-08-18T15:18:32.862" v="8886" actId="478"/>
          <ac:spMkLst>
            <pc:docMk/>
            <pc:sldMk cId="310471931" sldId="1364"/>
            <ac:spMk id="159" creationId="{00000000-0000-0000-0000-000000000000}"/>
          </ac:spMkLst>
        </pc:spChg>
        <pc:spChg chg="add del">
          <ac:chgData name="Disselhoff, Tim" userId="3b8b5473-7050-4f60-8279-e72cc8538d43" providerId="ADAL" clId="{952E53DB-5978-46BA-964C-5B55B87B6690}" dt="2021-08-18T15:18:32.862" v="8886" actId="478"/>
          <ac:spMkLst>
            <pc:docMk/>
            <pc:sldMk cId="310471931" sldId="1364"/>
            <ac:spMk id="160" creationId="{64A57928-816B-4976-B585-A9C048606AEA}"/>
          </ac:spMkLst>
        </pc:spChg>
        <pc:spChg chg="mod">
          <ac:chgData name="Disselhoff, Tim" userId="3b8b5473-7050-4f60-8279-e72cc8538d43" providerId="ADAL" clId="{952E53DB-5978-46BA-964C-5B55B87B6690}" dt="2021-08-19T15:55:57.807" v="17761" actId="20577"/>
          <ac:spMkLst>
            <pc:docMk/>
            <pc:sldMk cId="310471931" sldId="1364"/>
            <ac:spMk id="17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9T15:58:46.896" v="18012"/>
          <ac:spMkLst>
            <pc:docMk/>
            <pc:sldMk cId="310471931" sldId="1364"/>
            <ac:spMk id="176" creationId="{00000000-0000-0000-0000-000000000000}"/>
          </ac:spMkLst>
        </pc:spChg>
        <pc:spChg chg="add del mod">
          <ac:chgData name="Disselhoff, Tim" userId="3b8b5473-7050-4f60-8279-e72cc8538d43" providerId="ADAL" clId="{952E53DB-5978-46BA-964C-5B55B87B6690}" dt="2021-08-18T15:18:27.368" v="8884"/>
          <ac:spMkLst>
            <pc:docMk/>
            <pc:sldMk cId="310471931" sldId="1364"/>
            <ac:spMk id="198" creationId="{786F776F-B118-47A5-A30C-F1D4D9DC0E56}"/>
          </ac:spMkLst>
        </pc:spChg>
        <pc:spChg chg="mod">
          <ac:chgData name="Disselhoff, Tim" userId="3b8b5473-7050-4f60-8279-e72cc8538d43" providerId="ADAL" clId="{952E53DB-5978-46BA-964C-5B55B87B6690}" dt="2021-08-18T15:18:20.472" v="8881"/>
          <ac:spMkLst>
            <pc:docMk/>
            <pc:sldMk cId="310471931" sldId="1364"/>
            <ac:spMk id="200" creationId="{DFAD55EE-ADB4-4BDE-9817-8995DC0E5321}"/>
          </ac:spMkLst>
        </pc:spChg>
        <pc:spChg chg="mod">
          <ac:chgData name="Disselhoff, Tim" userId="3b8b5473-7050-4f60-8279-e72cc8538d43" providerId="ADAL" clId="{952E53DB-5978-46BA-964C-5B55B87B6690}" dt="2021-08-18T15:18:20.472" v="8881"/>
          <ac:spMkLst>
            <pc:docMk/>
            <pc:sldMk cId="310471931" sldId="1364"/>
            <ac:spMk id="201" creationId="{9D223EFF-4FDB-49CC-8A7A-AAF2E4A48C36}"/>
          </ac:spMkLst>
        </pc:spChg>
        <pc:spChg chg="add mod">
          <ac:chgData name="Disselhoff, Tim" userId="3b8b5473-7050-4f60-8279-e72cc8538d43" providerId="ADAL" clId="{952E53DB-5978-46BA-964C-5B55B87B6690}" dt="2021-08-18T15:18:42.627" v="8887"/>
          <ac:spMkLst>
            <pc:docMk/>
            <pc:sldMk cId="310471931" sldId="1364"/>
            <ac:spMk id="202" creationId="{F296EDA6-A4FD-4C0B-B37E-A15C3910927A}"/>
          </ac:spMkLst>
        </pc:spChg>
        <pc:spChg chg="add mod">
          <ac:chgData name="Disselhoff, Tim" userId="3b8b5473-7050-4f60-8279-e72cc8538d43" providerId="ADAL" clId="{952E53DB-5978-46BA-964C-5B55B87B6690}" dt="2021-08-18T15:18:42.627" v="8887"/>
          <ac:spMkLst>
            <pc:docMk/>
            <pc:sldMk cId="310471931" sldId="1364"/>
            <ac:spMk id="204" creationId="{29AEEB58-E2A9-41A0-8033-43FD0E904A97}"/>
          </ac:spMkLst>
        </pc:spChg>
        <pc:spChg chg="add mod">
          <ac:chgData name="Disselhoff, Tim" userId="3b8b5473-7050-4f60-8279-e72cc8538d43" providerId="ADAL" clId="{952E53DB-5978-46BA-964C-5B55B87B6690}" dt="2021-08-18T15:18:42.627" v="8887"/>
          <ac:spMkLst>
            <pc:docMk/>
            <pc:sldMk cId="310471931" sldId="1364"/>
            <ac:spMk id="205" creationId="{DBC6788C-2B5C-43AF-83C0-F0A545E9492D}"/>
          </ac:spMkLst>
        </pc:spChg>
        <pc:spChg chg="mod">
          <ac:chgData name="Disselhoff, Tim" userId="3b8b5473-7050-4f60-8279-e72cc8538d43" providerId="ADAL" clId="{952E53DB-5978-46BA-964C-5B55B87B6690}" dt="2021-08-18T15:18:42.627" v="8887"/>
          <ac:spMkLst>
            <pc:docMk/>
            <pc:sldMk cId="310471931" sldId="1364"/>
            <ac:spMk id="207" creationId="{AAA410A1-0F72-475D-8271-0CA6E8B8C7AF}"/>
          </ac:spMkLst>
        </pc:spChg>
        <pc:spChg chg="mod">
          <ac:chgData name="Disselhoff, Tim" userId="3b8b5473-7050-4f60-8279-e72cc8538d43" providerId="ADAL" clId="{952E53DB-5978-46BA-964C-5B55B87B6690}" dt="2021-08-18T15:18:42.627" v="8887"/>
          <ac:spMkLst>
            <pc:docMk/>
            <pc:sldMk cId="310471931" sldId="1364"/>
            <ac:spMk id="208" creationId="{F669B215-7A65-4053-86C8-96C255AA833D}"/>
          </ac:spMkLst>
        </pc:spChg>
        <pc:spChg chg="add mod">
          <ac:chgData name="Disselhoff, Tim" userId="3b8b5473-7050-4f60-8279-e72cc8538d43" providerId="ADAL" clId="{952E53DB-5978-46BA-964C-5B55B87B6690}" dt="2021-08-18T16:22:28.454" v="11175" actId="1036"/>
          <ac:spMkLst>
            <pc:docMk/>
            <pc:sldMk cId="310471931" sldId="1364"/>
            <ac:spMk id="209" creationId="{50327EE3-13DB-4642-998D-E50F52CAF316}"/>
          </ac:spMkLst>
        </pc:spChg>
        <pc:spChg chg="add mod">
          <ac:chgData name="Disselhoff, Tim" userId="3b8b5473-7050-4f60-8279-e72cc8538d43" providerId="ADAL" clId="{952E53DB-5978-46BA-964C-5B55B87B6690}" dt="2021-08-18T16:22:28.454" v="11175" actId="1036"/>
          <ac:spMkLst>
            <pc:docMk/>
            <pc:sldMk cId="310471931" sldId="1364"/>
            <ac:spMk id="210" creationId="{C7A1A2E8-80CB-4FF7-8644-8C5CCF2BEB6A}"/>
          </ac:spMkLst>
        </pc:spChg>
        <pc:grpChg chg="add del">
          <ac:chgData name="Disselhoff, Tim" userId="3b8b5473-7050-4f60-8279-e72cc8538d43" providerId="ADAL" clId="{952E53DB-5978-46BA-964C-5B55B87B6690}" dt="2021-08-18T15:18:32.862" v="8886" actId="478"/>
          <ac:grpSpMkLst>
            <pc:docMk/>
            <pc:sldMk cId="310471931" sldId="1364"/>
            <ac:grpSpMk id="163" creationId="{6C80F524-E51F-4F8C-B8E9-4DAC6CACD614}"/>
          </ac:grpSpMkLst>
        </pc:grpChg>
        <pc:grpChg chg="add del mod">
          <ac:chgData name="Disselhoff, Tim" userId="3b8b5473-7050-4f60-8279-e72cc8538d43" providerId="ADAL" clId="{952E53DB-5978-46BA-964C-5B55B87B6690}" dt="2021-08-18T15:18:27.368" v="8884"/>
          <ac:grpSpMkLst>
            <pc:docMk/>
            <pc:sldMk cId="310471931" sldId="1364"/>
            <ac:grpSpMk id="199" creationId="{C3966F9D-9C48-4991-ACCC-D9A88326AEB5}"/>
          </ac:grpSpMkLst>
        </pc:grpChg>
        <pc:grpChg chg="add mod">
          <ac:chgData name="Disselhoff, Tim" userId="3b8b5473-7050-4f60-8279-e72cc8538d43" providerId="ADAL" clId="{952E53DB-5978-46BA-964C-5B55B87B6690}" dt="2021-08-18T15:18:42.627" v="8887"/>
          <ac:grpSpMkLst>
            <pc:docMk/>
            <pc:sldMk cId="310471931" sldId="1364"/>
            <ac:grpSpMk id="206" creationId="{F342CED9-E259-4B3A-B65B-08EC37FC005B}"/>
          </ac:grpSpMkLst>
        </pc:grpChg>
        <pc:cxnChg chg="add del">
          <ac:chgData name="Disselhoff, Tim" userId="3b8b5473-7050-4f60-8279-e72cc8538d43" providerId="ADAL" clId="{952E53DB-5978-46BA-964C-5B55B87B6690}" dt="2021-08-18T15:18:32.862" v="8886" actId="478"/>
          <ac:cxnSpMkLst>
            <pc:docMk/>
            <pc:sldMk cId="310471931" sldId="1364"/>
            <ac:cxnSpMk id="158" creationId="{00000000-0000-0000-0000-000000000000}"/>
          </ac:cxnSpMkLst>
        </pc:cxnChg>
        <pc:cxnChg chg="add del mod">
          <ac:chgData name="Disselhoff, Tim" userId="3b8b5473-7050-4f60-8279-e72cc8538d43" providerId="ADAL" clId="{952E53DB-5978-46BA-964C-5B55B87B6690}" dt="2021-08-18T15:18:27.368" v="8884"/>
          <ac:cxnSpMkLst>
            <pc:docMk/>
            <pc:sldMk cId="310471931" sldId="1364"/>
            <ac:cxnSpMk id="197" creationId="{56D59AB2-5305-42B8-BB99-80D318485480}"/>
          </ac:cxnSpMkLst>
        </pc:cxnChg>
        <pc:cxnChg chg="add mod">
          <ac:chgData name="Disselhoff, Tim" userId="3b8b5473-7050-4f60-8279-e72cc8538d43" providerId="ADAL" clId="{952E53DB-5978-46BA-964C-5B55B87B6690}" dt="2021-08-18T15:18:42.627" v="8887"/>
          <ac:cxnSpMkLst>
            <pc:docMk/>
            <pc:sldMk cId="310471931" sldId="1364"/>
            <ac:cxnSpMk id="203" creationId="{4B3174F8-BC15-4585-A79F-F874A8449837}"/>
          </ac:cxnSpMkLst>
        </pc:cxnChg>
      </pc:sldChg>
      <pc:sldChg chg="addSp modSp new add del mod">
        <pc:chgData name="Disselhoff, Tim" userId="3b8b5473-7050-4f60-8279-e72cc8538d43" providerId="ADAL" clId="{952E53DB-5978-46BA-964C-5B55B87B6690}" dt="2021-08-17T08:16:34.640" v="6738" actId="47"/>
        <pc:sldMkLst>
          <pc:docMk/>
          <pc:sldMk cId="3463057373" sldId="1365"/>
        </pc:sldMkLst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" creationId="{1145D328-0F27-4F7A-A962-22E5F65A098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" creationId="{D686AADE-66A6-4E7C-AF09-3A863BA83F0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" creationId="{ACBEA92A-3262-492F-9F9B-3CB34A403D6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" creationId="{7A410961-94F8-4E29-B29C-A7E48CF17FB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" creationId="{895CDFC1-9706-43CB-9B2F-9F9EEAE2B5A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" creationId="{E0B4C474-5E86-4BB7-8B56-55F06BD89B6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" creationId="{408BECCE-877F-4106-8CD3-EA5A7448D33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" creationId="{99709D34-AD93-49B2-8356-C74C011A224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" creationId="{0CE05C00-EAF0-42F8-9758-BD26C1DE859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6" creationId="{DD6F869B-4C4E-490E-BCC7-3A2F961C426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7" creationId="{115917A3-F8B5-4C86-B38A-A646A98E997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8" creationId="{9944332D-638D-4574-A2AD-76ABCAD5E4C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9" creationId="{5CB61C07-8803-4F43-8D15-C878A5EC9B8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41" creationId="{8D95D1C6-20B9-4408-8B83-103C8C7CF7D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42" creationId="{B5D8FFB3-E6A3-42FB-A328-4EF1E0D455B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45" creationId="{739428C7-FA84-42E3-AACC-E05367CCE6C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46" creationId="{17090EFF-ED48-4612-9A93-E4EE1B26E44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0" creationId="{DCDEF8B2-1A2E-48B1-BD2B-2A940731533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3" creationId="{B9AD16F6-4142-497E-A648-55BAEDB8BAD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4" creationId="{CFBA5598-0450-4E5D-9E63-FCF090A6B5A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5" creationId="{021EAF62-EECA-48A7-8FB7-CA74DF2AAF8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6" creationId="{449F8724-5F1E-4091-816E-599FB1D176D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7" creationId="{E32BB34B-F2C6-4353-9989-40DE0996F83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8" creationId="{52721F3D-1B60-41DA-B120-820AC45EEC8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59" creationId="{1774FD0C-9386-4128-B1CF-ACA4AFEA92A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0" creationId="{B6FC6F09-7AF1-4F46-B1FB-506993F2D7B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1" creationId="{BB82C286-7FBF-4769-8D2B-87479AF1DCE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2" creationId="{70F86F9C-960D-4093-A2DA-A28C11CF978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3" creationId="{5067A2A1-E5CB-4749-938C-18CB4A59FAC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4" creationId="{CCD0B07C-7517-4391-AC09-90477763AD6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5" creationId="{A6739107-3093-4120-B111-D4FF4EBCD9F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6" creationId="{3B4CBFF3-3A19-4242-8734-FAE178730A2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7" creationId="{E9127B21-B76A-4332-8510-10317279457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8" creationId="{91215EB7-00E0-42E0-947B-74290CB75DC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69" creationId="{39A2B32A-7AA8-4009-8A3C-23A797D2C4E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0" creationId="{9535DF27-FB07-4CB0-AF3B-490503D75AD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1" creationId="{1BDD9258-411F-4481-86B2-A51441F36D7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4" creationId="{BAB03FCF-50CC-418F-8EE1-13C7781142D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5" creationId="{666F1C4F-D6A5-447B-8A1F-5E447925134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6" creationId="{2481804A-0764-4786-BFDE-FA7D77ADEFA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7" creationId="{698DD01E-F566-463B-9B17-842AA50D8FA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8" creationId="{4B4C05B3-7A2B-4C29-A143-543F7E16388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79" creationId="{D039CDBF-7C7E-4DEA-883E-DB43A3B6081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0" creationId="{329457F3-E551-4286-BF41-17A0EA6DF3D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1" creationId="{A363C889-4C7C-471A-8CBF-0967181F8C5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2" creationId="{7F82C5DF-44F1-4A08-89E6-0EE25E930EA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3" creationId="{BED4F432-6B42-488D-B416-F18CF775312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4" creationId="{C8C406CE-34C6-47A1-BC5D-D9076F2971E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5" creationId="{F53EDB07-1B0D-4447-8475-1C439F48AFA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6" creationId="{AE2F5D04-F701-481D-B1A1-36523251719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7" creationId="{3764FC32-551C-4CD6-AD1A-78367674F9F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8" creationId="{603128CD-C56B-4867-9585-85DAEF2CB3B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89" creationId="{7E7A0C29-53E3-46DF-A439-65C07CBE759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0" creationId="{2B1E98CC-BFFA-45EA-B39B-D3E6A418B23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1" creationId="{200521A1-904A-4671-BAD3-D7F506AE56B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4" creationId="{7749BD14-692C-4FE1-B204-CB26CDA66E4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7" creationId="{85535ED3-61EB-4C87-97D3-7CEF93E2FC9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8" creationId="{2173BCE3-4FDC-4C33-B45C-071DB5FEE17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99" creationId="{95D6B551-F10C-4DFB-A9BA-788DBB43E96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0" creationId="{C1BE7907-2A32-4B97-AF59-4EB802FE7FD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1" creationId="{BC4FCD9D-FD6A-45EE-9090-AA7A077D0EC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2" creationId="{F9FC242C-065A-4CEB-A859-EF8264F26E0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3" creationId="{B46D82EA-C4FA-409B-BFC0-69D8A6A2EB2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4" creationId="{3EFCB747-B7D8-4363-BB3D-035A1C15440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5" creationId="{F4067F62-F1A0-46D2-8722-AD920E2E727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6" creationId="{49C0F0E4-1627-40D9-BA04-6D90EAFC0A8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7" creationId="{9BC955B6-B573-4B8D-86DF-8412CD9261D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8" creationId="{A72213D2-7304-4A88-B388-E328CAD1BEB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09" creationId="{F7EFA03C-E2C7-4D0B-B2D7-B884F953D26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0" creationId="{BF7336ED-3150-4706-82B8-59F3DCC4F8D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1" creationId="{21B023D4-7440-4A5C-B083-B7A0C5393CB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2" creationId="{894B1B8B-BA23-4CCB-85DD-2AABEDBADC4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3" creationId="{BD43A453-5378-4988-8F05-90EABC4F3C7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4" creationId="{C7A2776F-2C87-447B-9101-7DFAEC9F4BB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5" creationId="{56871B60-2A80-41C9-8B67-01D261B9B30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8" creationId="{34590D70-EE6A-42D8-AAAB-4193A44588B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19" creationId="{AE50CA02-5A99-4E1B-BB1C-3D1EF053A91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0" creationId="{E701A9EA-3A66-4579-A872-ECB6E9D9AFC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1" creationId="{67B90788-9928-4F7A-A306-974BE002002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2" creationId="{BF8F54D9-49A4-4FC9-8510-026902A743E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3" creationId="{AB70A77D-2024-4B32-97A6-9998E125B4F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4" creationId="{08DD050C-04DE-4749-BA59-703A1F61663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5" creationId="{396F87BC-91BF-42AD-BD30-71DCE5553C8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6" creationId="{F9CCE71D-90A0-4129-8E23-0D9ACE368AF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7" creationId="{E45BB45A-A965-4461-8BF3-2427E34DFA4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8" creationId="{91AAE5F0-BA9F-4259-B39C-F6C0F4227E8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29" creationId="{BDCAC196-1B90-4FBC-9BE6-AA57A5580A1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0" creationId="{94598471-BAD7-407A-BAE4-05401CA9448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1" creationId="{93A6457C-D2C6-44FE-AB37-DFAEF94439F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2" creationId="{F1690D64-BEA6-4AA8-AC05-86AB89CF0F1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3" creationId="{1C482038-49F4-44F5-BCFB-C66567EEA23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4" creationId="{7B662F96-F3A9-4841-AC68-D6C38224E6C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5" creationId="{B02273CB-4277-4761-BE60-2ED3EE18421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38" creationId="{AE463138-5739-496D-81C3-D002B94719D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1" creationId="{2B455008-B9BA-4162-89A6-37ED628D636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2" creationId="{A0CB229C-6ADB-44DE-AB7B-B87AD4F4DDC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3" creationId="{99B92B75-D257-47B8-AA67-C6CE76FAB63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4" creationId="{DD85DC6F-0CED-4373-8986-30D823C2081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5" creationId="{2A6584DA-1724-42D8-B362-749849A8CFF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6" creationId="{904190A9-7109-42B8-B794-C7589F6883B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7" creationId="{8BC09492-DA0C-406B-8A94-51964E4F332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8" creationId="{4D1EB64F-3A85-41B7-AD81-0BFF80097CD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49" creationId="{C9B6D151-5AC9-4E20-A1ED-32EAD78BACD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0" creationId="{B2084F1F-D139-425D-AD5C-7AEF34E175D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1" creationId="{924A7C37-124A-4A0C-9050-6D405458A84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2" creationId="{7413B115-9516-4EA1-A9FE-CB6C0D80BFE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3" creationId="{3AAE0CC1-11A8-4FD8-BA8D-CA73C6D345F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4" creationId="{C61818E7-BED0-4F6B-8087-F281DAC3793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5" creationId="{D15932E2-10E4-4EF5-870A-540FB29575C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6" creationId="{BAA4DD20-6AED-4135-A24A-AD94A46CA84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7" creationId="{5669E217-1AFA-4467-BFC8-386CABE1608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8" creationId="{FDDA1138-EE40-4932-801B-3505A99686B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59" creationId="{14BB09BA-EAA6-4C72-B221-0950FC4FB6D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2" creationId="{363FE1EC-3194-4613-BB5A-1BF98559918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3" creationId="{EEFE7B7B-F4F6-4A4C-90C7-D68840C9AC2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4" creationId="{3D6D805E-54C2-4C97-AADA-E9B0F58FB51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5" creationId="{D21DD822-33E6-466C-9815-BD32B87A430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6" creationId="{6D8B3619-11FD-4BB7-B0B7-7969CF07C8E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7" creationId="{54A01531-0955-4016-AF9C-94B5A29CFF6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8" creationId="{9ADE7672-D8FA-44B5-BB27-2674212198D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69" creationId="{259ECD59-BE15-4914-B789-34329741A7B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0" creationId="{20BB36F9-B6E8-4F30-89D0-1DB5EAE23F8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1" creationId="{62456BCB-8F28-447E-90F9-D8AC848DC01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2" creationId="{41E9DBEA-9895-43D8-BC5F-8C5BA51D8B5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3" creationId="{CDCAD6DC-62D5-439F-9891-D07CFD35295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4" creationId="{AB0D67AD-5666-48E5-B91C-DC9E28CB586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5" creationId="{78D6A7A4-BC84-40CF-893E-4F9505D274E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6" creationId="{73EEC402-F397-4009-8473-5240CCC353C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7" creationId="{05F6B419-5F5D-4FDC-8EB1-0DF10ED46DD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8" creationId="{617DC6B9-6942-4EE2-9A63-48FACEB7D86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79" creationId="{0CCF2E5D-6610-44F3-83A2-CB539C13610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0" creationId="{F30DAFF8-DF24-4CC6-862D-56085870AF0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3" creationId="{44D48579-F0DA-40F3-B9AB-6622EC8CCD8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4" creationId="{59E1BAD7-4299-4334-BB8F-A3CECA212A3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5" creationId="{6031C0F2-DD3A-4125-B5C1-E52C21FAC1C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6" creationId="{2F06DAF7-AD72-48CE-B4F7-C90FC2EE49D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7" creationId="{44F56B4B-9770-4944-A4D8-84BD83325C9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8" creationId="{86E6A151-6C20-4EC1-9D51-32CB7C39F7A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89" creationId="{1D5FA383-0A20-4C75-A44B-4DF479C6A1B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0" creationId="{4B98C931-334F-40E2-8488-13A0373AEBF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1" creationId="{D0B15C4C-6397-439F-9139-417261F4EDE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2" creationId="{C5303842-D418-4B64-BF06-9F81A9C541F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3" creationId="{2C7836DE-FE2F-4D3F-A53B-6DEA44887D4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4" creationId="{1C2A58E6-426F-424E-BDA1-40F8F769A61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5" creationId="{9F98AFE6-8F66-42F7-9D60-274C8A044E6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6" creationId="{1D64477E-57DA-499F-A3E9-40D2964E906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7" creationId="{239903F7-4F39-4A1B-BC08-4D8D1586835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8" creationId="{0A4EFE9E-627C-44FA-9A35-7E3DA25996A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199" creationId="{AE549482-B8E7-4B19-9EB3-2378AB20450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0" creationId="{EE6C0E54-09DC-4BC0-8B42-76D74C02944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1" creationId="{74F1F295-6451-4D8C-ACFE-3DED9CCA486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4" creationId="{EA58C5DE-9D67-46C0-A0ED-CC33080D8CC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5" creationId="{16D2EC95-E7B7-40DE-BD0D-2A069F4A053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6" creationId="{CB69B33E-8D40-46ED-9AFB-160167962FB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7" creationId="{82EE5733-1DC7-47C0-8546-B1AF0F69667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8" creationId="{B5243C77-12F9-45CA-9C93-C529A6D80EA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09" creationId="{48934C4C-E61B-4AEF-80D0-2EBEB660C2B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0" creationId="{B49DA630-0DEE-46CF-B1DF-CB96B63A7B3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1" creationId="{4913F365-19CA-463D-A4EE-DE2DD323834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2" creationId="{5526D7FA-3065-4B0A-A4D7-CFA5336AF56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3" creationId="{32DC1262-1F0A-44CA-9880-69F951C6F3A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4" creationId="{7BB28F55-9A41-43D6-812B-67F38B84B37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5" creationId="{125F94E2-E113-468B-BA5B-C905723E04F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6" creationId="{35850A50-942F-4597-85DE-6ECA4CBFB55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7" creationId="{129A7DC0-9E9B-4252-AD6D-B07331A3D2C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8" creationId="{0777627F-CEED-4F81-A922-3C84400E3E6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19" creationId="{D93AD2DF-FAC8-4AEF-AA00-D69B9248A77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0" creationId="{F24AE501-4F6B-4EA9-9B90-13826A47771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1" creationId="{B3EC0043-5837-4154-8945-A51C07610CA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2" creationId="{FAC35BDA-C607-49A5-B69B-C9222C102AB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5" creationId="{5F2ED505-D2DE-424F-8649-0023FE73476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6" creationId="{28FBCB7D-9D6E-4E23-BA71-E1FA0D32A73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7" creationId="{06E3655D-04E5-4443-A4AD-35ED96FF293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8" creationId="{B97AF97E-ABA5-447B-9B2C-0E5EB489B4E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29" creationId="{8F410454-B477-4174-8C69-0D14AA4FA0C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0" creationId="{0826EA5A-19CE-4548-8F57-467B79DF2EF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1" creationId="{A82A7994-DE7A-4938-9E4D-EAE939DE094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2" creationId="{0D29DC1E-923F-4918-97E4-951EE0EB60D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3" creationId="{BF86169B-FFE3-440E-AC59-8F598742FFF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4" creationId="{428F29FF-BBA3-4152-A490-4F6DAEADA98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5" creationId="{B0512254-43D7-40D5-BF1F-38B6F71F868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6" creationId="{D2DA3A35-270F-4CCE-BB80-686BD373316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7" creationId="{977EC5F8-3770-422A-A7FB-F75BB2CC410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8" creationId="{D8E87B50-532F-4236-8B11-65DFF11C6BA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39" creationId="{5F528908-CDF2-40C8-923E-C4B5E4EFF92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0" creationId="{EB633BB9-0ED8-4E6E-AEEC-18E390D45AD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1" creationId="{72E28AB9-8DA8-49F5-B9E4-B8A15184572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2" creationId="{A8981564-426B-4168-A565-A30FEFFCB65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3" creationId="{C68A0773-46D8-4147-B68C-4F2015F27BE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6" creationId="{7CEC4E5C-803A-4EC3-B54E-0575379E722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7" creationId="{FCA3AF92-0444-4767-91CA-18F43B8553F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8" creationId="{172BFFE6-66C8-4E46-99EB-05AC59480EC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49" creationId="{F2B711D3-BA23-4330-A5A4-3E899C7A792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0" creationId="{E7019F60-4BC4-4932-81A9-28A545A7373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1" creationId="{60FD6F88-53C2-415C-A028-60D39A01D06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2" creationId="{D96DDFD3-B76C-405B-B639-DE776CEAB8B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3" creationId="{D393D420-7AC0-4068-A675-E1E25C9AE2E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4" creationId="{429F3596-0D6A-4B57-B527-0E68FD88203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5" creationId="{1A8AA60F-6018-4437-BA67-A8F5090C43D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6" creationId="{0E804998-234F-4EA9-A675-8B715537155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7" creationId="{1925DACD-8015-4607-96A7-8146567EA33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8" creationId="{18DD1813-4DA0-473C-9754-74B8DDC91AF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59" creationId="{F64183AB-7FCC-423A-ACA8-61B03405D4D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0" creationId="{88A23712-6AA9-4ECE-9175-EC1A6B1EE5A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1" creationId="{4A26AF7F-6750-4427-9349-3FD2994ECDB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2" creationId="{D646EE59-0CF4-4428-AD83-27822A451A8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3" creationId="{90CCB0B9-F41F-4AD3-89EF-6C3F5B0B5D8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4" creationId="{F9126B0A-B3B2-4D06-8A77-E75714AB282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7" creationId="{ED9D659D-99C0-46FC-BBFB-75EE1C568A1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8" creationId="{ABA3781D-17E5-4C24-9BE9-6C068169647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69" creationId="{2EF73E0A-5B7A-4F48-8CEB-3B8B46CE993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0" creationId="{9CE6E499-616A-4EC5-BCEB-68AB025D4C6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1" creationId="{E786E6B6-1D40-4DFB-829C-088C12E4988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2" creationId="{12FBE122-B3E3-4039-A083-0371C68E3BD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3" creationId="{DF4C2245-893F-4062-83D8-0FB4868707C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4" creationId="{D370D2E0-0995-45E6-ACFE-663E7FA544A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5" creationId="{97E03C37-BA0C-434E-962A-C5D4A783A95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6" creationId="{AE8A3A23-6032-4E2D-930F-E7EED4E5C2B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7" creationId="{F7DED7F5-D7A5-49D2-9EDD-DB00F528484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8" creationId="{7D288892-4204-4800-9A11-9E35EB1A3D2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79" creationId="{1AD0CEA2-3FB4-4B8D-B940-6A258A90C48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0" creationId="{8C738806-211E-4614-A81B-EB259517A61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1" creationId="{D51B184C-DD45-4C99-993C-2883366E3F5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2" creationId="{7EB65D72-60F4-4DB2-8E13-8A5885EC014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3" creationId="{D7F601B9-AE17-4090-AE52-21CE218E2183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4" creationId="{3DD060F3-E1AB-4763-942B-632545D1D43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5" creationId="{43CFAD05-D64C-4411-82DA-0E72CEC37BB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8" creationId="{05E1CBDC-3049-4BC5-BD4D-CA08F694BCA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89" creationId="{557E4078-8DB1-4972-A8B0-2F894C2C903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0" creationId="{3D729086-323D-4CE3-A1B5-1DCE157FEF0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1" creationId="{38B14DE8-9DCC-406E-9A98-46DAC40C2EF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2" creationId="{EC59D072-92B5-4288-BACC-E0EF07EC7B6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3" creationId="{16150DCD-C77A-44ED-B47A-84C95DEE9DA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4" creationId="{94912203-D7B9-4F0C-89AE-1D3D7C6EF1F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5" creationId="{FF374C5C-5478-408E-B263-110F988784A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6" creationId="{98F2FC4E-2217-43C3-A229-8924ADC3353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7" creationId="{62D20C78-834B-462F-BAA3-D1B4EB2F33A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8" creationId="{B92B56F3-1C77-4D4E-92A0-5BFC06A954E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299" creationId="{44B26386-077D-4C11-BB37-F24A1C56B08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0" creationId="{A81A3E47-1D69-4A13-8A0A-93B5A932100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1" creationId="{28ED6D5D-C070-4E3E-8CC2-2073BA55FFB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2" creationId="{DE549091-2C30-4AC5-93AE-261B87D68B2D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3" creationId="{90930206-6FEC-4FD4-9C52-3455DD1F4CD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4" creationId="{1E68EA90-ED01-49F1-B286-51ED64BE4FC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5" creationId="{95EF0684-1674-4E47-A758-F90BC33A4914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08" creationId="{E269F92E-E908-4FE2-9E34-9800E67FE2C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1" creationId="{871D5881-E708-4052-B876-9B709BC2E47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2" creationId="{1DE20C1E-06A5-4A19-B0D6-4370CCB1AE5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3" creationId="{94CA5EAD-BDAD-41C8-A1B8-06957A4FDF3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4" creationId="{49BE8B7B-E76C-4BC7-818F-80CF905F4D5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5" creationId="{84B4AC8A-9862-4AA5-981C-52A52CE942A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6" creationId="{C68D6E5C-084C-4A43-9A03-CBE0B45243D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7" creationId="{50971EEF-3E57-44E4-B901-4F3CB0DC3CD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8" creationId="{464DA020-EA1B-40E9-A1B2-6BDFF412BCB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19" creationId="{13B00F47-F943-448E-8B47-0A12CA472ED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0" creationId="{86E45F8C-5723-492A-98AD-70D07432C36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1" creationId="{F3F6B270-5DEC-44E1-A46B-ABACBECFD0A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2" creationId="{B188DA2F-AB75-4010-8E46-8A7D32C53D1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3" creationId="{00AFBCBF-1C91-4478-BC83-C736B633923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4" creationId="{AA72D2EA-C57F-4999-A87B-F35DD5EC5A3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5" creationId="{13263BFB-7B6B-4FF1-A9E3-3AD002B2145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6" creationId="{E89F5BA9-A19C-4EEC-94B5-EC63347E207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7" creationId="{A1EB0A1E-9052-405B-AA16-DC7FEA23DEA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8" creationId="{AEDB19FB-CA19-4B64-A2EE-52083D919D71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29" creationId="{30BB4086-5A71-48FF-8ADE-34C52430DA9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2" creationId="{C38A7AE0-35FD-4746-89F7-C04CC6BB394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3" creationId="{D2076FB3-D03A-4B07-BE6D-73FFCD35C99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4" creationId="{0920DEBB-8A43-4EE9-A7E8-45185CA4E0C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5" creationId="{060F7C6C-D603-404E-A011-D790A1FFAB7A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6" creationId="{5017EA70-D09B-42AF-8F05-1E6043B9BFB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7" creationId="{ABB481F5-6482-49E1-9173-3D467D49C52B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8" creationId="{4EF5D306-4E5B-4FAC-BD1C-DA73E429139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39" creationId="{60538834-60D1-4B3A-85E9-88A3200FAB0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0" creationId="{1DF0BB94-CB46-49B3-BF4B-545EFBFB4FC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1" creationId="{201477A6-386D-4EF1-AEE7-D1B8F8EBB23C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2" creationId="{9BA77809-DEDD-446C-92AD-D6D4C8A951F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3" creationId="{E6522FF3-A37E-449E-A754-FCBD4441C84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4" creationId="{2953E4DF-4511-44F6-B862-D4C97EA2FAF6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5" creationId="{F62AB3EC-5C94-4E03-8E28-189ED022211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6" creationId="{8C75E997-0262-4932-A080-50144BBA948F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7" creationId="{3ECF79EF-7DF0-4D7C-88CA-094C0348F7B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8" creationId="{754190F0-F131-459F-BDF0-A0B4735CC602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49" creationId="{5D15F54F-B839-45FE-8664-5D55D39D7BD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0" creationId="{F39573C9-F7A5-49FC-A9D2-82FE734101AE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1" creationId="{C3CEC323-293D-4A3B-A41B-A875E2A8458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2" creationId="{7F643D42-333E-4294-A796-365DA3A3B427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3" creationId="{B67927C1-17A0-497C-8E80-71273FE5CB2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4" creationId="{F8F5FEE9-0B3A-433A-8143-8E8B2B3FEFC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5" creationId="{801E3919-1ACE-4D32-A4CA-5199DA505058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6" creationId="{5CF413E2-152A-4767-A7E6-2819D4514B85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7" creationId="{F07F0261-EBA3-43A6-9830-5FC74F488140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8" creationId="{7B614370-DB77-4BD1-8B0C-49927A54BAC9}"/>
          </ac:spMkLst>
        </pc:spChg>
        <pc:spChg chg="mod">
          <ac:chgData name="Disselhoff, Tim" userId="3b8b5473-7050-4f60-8279-e72cc8538d43" providerId="ADAL" clId="{952E53DB-5978-46BA-964C-5B55B87B6690}" dt="2021-08-16T12:30:31.866" v="7" actId="1076"/>
          <ac:spMkLst>
            <pc:docMk/>
            <pc:sldMk cId="3463057373" sldId="1365"/>
            <ac:spMk id="359" creationId="{0D1D795A-FA8E-4A36-9545-25C5453AB9C2}"/>
          </ac:spMkLst>
        </pc:spChg>
        <pc:spChg chg="add mod">
          <ac:chgData name="Disselhoff, Tim" userId="3b8b5473-7050-4f60-8279-e72cc8538d43" providerId="ADAL" clId="{952E53DB-5978-46BA-964C-5B55B87B6690}" dt="2021-08-16T12:30:23.932" v="5" actId="1076"/>
          <ac:spMkLst>
            <pc:docMk/>
            <pc:sldMk cId="3463057373" sldId="1365"/>
            <ac:spMk id="360" creationId="{9B95E3CA-A7C4-46C6-A347-D430B3D8AF05}"/>
          </ac:spMkLst>
        </pc:spChg>
        <pc:grpChg chg="add 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6" creationId="{BD5A6B46-F08C-4C91-8E49-0C8CDA090A0C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8" creationId="{51CB5670-EE3A-400D-AE59-99DA547646D2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9" creationId="{76BC0828-D448-4861-9806-96BBF27B3EE1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0" creationId="{D99F2DDE-F08B-4EB4-9B85-516A652FDCA6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4" creationId="{A43E4F5B-F11C-4A94-BE41-F00D5C23AEEE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5" creationId="{05478884-160C-419B-81A0-3951B4EA9DDF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6" creationId="{6569C144-B3E9-4C9F-9F9F-B30EEFF1135E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8" creationId="{D8D52534-E35E-4FE0-AF92-A6B5BD70118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9" creationId="{D4B3B856-3CB8-4EB4-A23F-750A185E3A2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1" creationId="{47C52FC8-F5D0-44A7-BB42-9F77AD4FF51D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40" creationId="{37AB0EBD-FC68-47BC-BCDE-00708884834E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44" creationId="{B2ECC5D3-6FA3-46D8-A448-B959DE1FA07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48" creationId="{49651962-3FF3-46CC-80D0-0B981798CA2B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49" creationId="{04CA5999-87C2-4CF9-B13B-A7134453DAD3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51" creationId="{2704957B-FCBB-4374-B776-B786D862A850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52" creationId="{F38AB6D7-C130-430A-889B-E54ED2BCE87D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72" creationId="{81F2FC5B-147B-46D2-89DC-B344F2BBB4E5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73" creationId="{236D008F-8EE7-45F0-B5F8-0C6458A34D49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92" creationId="{BEEC7DCF-0E88-4223-BF12-1ABE955E3A14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93" creationId="{2D742563-2A07-40D7-B998-DB702B3FD5B2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95" creationId="{795CA00F-DF54-4021-94BD-5EF86EBC881F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96" creationId="{F24AC082-7E46-44FA-88C0-97C074CE6381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16" creationId="{0AE7E91D-DE19-4D35-A0F1-F5A2113FBEE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17" creationId="{6E715F7C-0177-4EC0-8494-01F0803A956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36" creationId="{DBBF5FA3-0BA7-4A14-AC11-9AF8E8BD39D9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37" creationId="{13D138E2-B392-45D9-A24B-43AFF9831A42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39" creationId="{724D2B23-A098-470A-A77B-18CB02461DAB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40" creationId="{27280F92-46B0-4B0A-86D0-D2BC842C9F0B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60" creationId="{80AB31F1-2021-4181-BA74-399E2BFBDF8B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61" creationId="{489D2CC8-9BAF-49AF-A7B1-E88FC51134D0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81" creationId="{3080911A-A883-4C10-B9AF-597F85100F8D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182" creationId="{31F27DCB-D97E-484F-9441-5D1C933F555E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02" creationId="{BB44A379-3C60-46E3-9BFC-BBE183F774F1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03" creationId="{983772AF-EB7B-4DC2-AB89-4AF89F60FEC1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23" creationId="{2DA96181-499F-4ACF-8DDC-A65C694E5B17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24" creationId="{15744602-D56D-45C2-8573-97F9FD267A40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44" creationId="{48428891-A6D6-42D4-A0A5-79C60B1AB2A6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45" creationId="{E52E714F-5EE8-4FE8-BCB8-59DBD9CB26A0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65" creationId="{8711DBEB-140F-41FD-B9EB-0DDD39C6C447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66" creationId="{96B11A7B-A9B2-4331-90B5-4EE07782F65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86" creationId="{396F8AA0-BDF8-4DBA-84E9-223ED050BEEE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287" creationId="{5C6C42DA-9986-424D-BF29-5E09C4176482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06" creationId="{E992A2EC-308D-490C-A435-7473C9D1A488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07" creationId="{DE2A3E8E-F1A4-4588-8A15-313E0670F556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09" creationId="{1DEBCC30-2BDA-4BE0-9C34-9AF4B97961A7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10" creationId="{A6066DD2-4169-4D5D-82D1-65FEFBD30F93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30" creationId="{B2FD5241-7DF3-459E-A05B-A77433AF876A}"/>
          </ac:grpSpMkLst>
        </pc:grpChg>
        <pc:grpChg chg="mod">
          <ac:chgData name="Disselhoff, Tim" userId="3b8b5473-7050-4f60-8279-e72cc8538d43" providerId="ADAL" clId="{952E53DB-5978-46BA-964C-5B55B87B6690}" dt="2021-08-16T12:30:31.866" v="7" actId="1076"/>
          <ac:grpSpMkLst>
            <pc:docMk/>
            <pc:sldMk cId="3463057373" sldId="1365"/>
            <ac:grpSpMk id="331" creationId="{0BF81806-FAB6-4BC8-A3A1-7B983AB59A96}"/>
          </ac:grpSpMkLst>
        </pc:grp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4" creationId="{419302A9-1EAB-44D0-9A8C-B8BA254A1FF4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5" creationId="{C5D31BB3-E7D4-49B3-AEA7-B234B176C68E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6" creationId="{C0A3CEBE-1BE0-470F-92DB-31D74BC42461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7" creationId="{22B18F9A-52CA-4DBD-ADFF-862B4FECC0FC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8" creationId="{E5D3A9AF-B414-41F3-98B9-3F23CF1707B9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29" creationId="{33F943F0-AF0A-4E4A-B68C-C6D31D1ECCD4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30" creationId="{DB2E3063-4C91-4F5A-AFC8-DF9C6DCB02FE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31" creationId="{C72C8E0F-29A8-4DB5-A5DE-011EB8D3185E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32" creationId="{5945F2F8-D599-4F60-A753-DAE1AB0C06C8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33" creationId="{21C550AD-1E26-4E15-9D9D-DB64E5CDB215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43" creationId="{1AC0A2C5-4B94-40F9-88E2-D3C10215517A}"/>
          </ac:cxnSpMkLst>
        </pc:cxnChg>
        <pc:cxnChg chg="mod">
          <ac:chgData name="Disselhoff, Tim" userId="3b8b5473-7050-4f60-8279-e72cc8538d43" providerId="ADAL" clId="{952E53DB-5978-46BA-964C-5B55B87B6690}" dt="2021-08-16T12:30:31.866" v="7" actId="1076"/>
          <ac:cxnSpMkLst>
            <pc:docMk/>
            <pc:sldMk cId="3463057373" sldId="1365"/>
            <ac:cxnSpMk id="47" creationId="{06CA91AA-EB09-49B8-9788-D0010BD01138}"/>
          </ac:cxnSpMkLst>
        </pc:cxnChg>
      </pc:sldChg>
      <pc:sldChg chg="addSp delSp modSp add del mod ord">
        <pc:chgData name="Disselhoff, Tim" userId="3b8b5473-7050-4f60-8279-e72cc8538d43" providerId="ADAL" clId="{952E53DB-5978-46BA-964C-5B55B87B6690}" dt="2021-08-19T16:39:21.726" v="19782" actId="47"/>
        <pc:sldMkLst>
          <pc:docMk/>
          <pc:sldMk cId="60889027" sldId="1366"/>
        </pc:sldMkLst>
        <pc:spChg chg="mod ord">
          <ac:chgData name="Disselhoff, Tim" userId="3b8b5473-7050-4f60-8279-e72cc8538d43" providerId="ADAL" clId="{952E53DB-5978-46BA-964C-5B55B87B6690}" dt="2021-08-16T12:38:55.887" v="306"/>
          <ac:spMkLst>
            <pc:docMk/>
            <pc:sldMk cId="60889027" sldId="1366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6T12:38:55.889" v="308"/>
          <ac:spMkLst>
            <pc:docMk/>
            <pc:sldMk cId="60889027" sldId="1366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6T12:38:55.890" v="310"/>
          <ac:spMkLst>
            <pc:docMk/>
            <pc:sldMk cId="60889027" sldId="1366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6T12:38:55.891" v="312"/>
          <ac:spMkLst>
            <pc:docMk/>
            <pc:sldMk cId="60889027" sldId="1366"/>
            <ac:spMk id="5" creationId="{FFD85F28-C617-44C3-AFDF-58763606B422}"/>
          </ac:spMkLst>
        </pc:spChg>
        <pc:spChg chg="mod ord topLvl">
          <ac:chgData name="Disselhoff, Tim" userId="3b8b5473-7050-4f60-8279-e72cc8538d43" providerId="ADAL" clId="{952E53DB-5978-46BA-964C-5B55B87B6690}" dt="2021-08-16T12:38:55.891" v="314"/>
          <ac:spMkLst>
            <pc:docMk/>
            <pc:sldMk cId="60889027" sldId="1366"/>
            <ac:spMk id="7" creationId="{1145D328-0F27-4F7A-A962-22E5F65A0985}"/>
          </ac:spMkLst>
        </pc:spChg>
        <pc:spChg chg="mod ord topLvl">
          <ac:chgData name="Disselhoff, Tim" userId="3b8b5473-7050-4f60-8279-e72cc8538d43" providerId="ADAL" clId="{952E53DB-5978-46BA-964C-5B55B87B6690}" dt="2021-08-16T12:38:55.893" v="322"/>
          <ac:spMkLst>
            <pc:docMk/>
            <pc:sldMk cId="60889027" sldId="1366"/>
            <ac:spMk id="11" creationId="{D686AADE-66A6-4E7C-AF09-3A863BA83F00}"/>
          </ac:spMkLst>
        </pc:spChg>
        <pc:spChg chg="mod ord topLvl">
          <ac:chgData name="Disselhoff, Tim" userId="3b8b5473-7050-4f60-8279-e72cc8538d43" providerId="ADAL" clId="{952E53DB-5978-46BA-964C-5B55B87B6690}" dt="2021-08-16T12:38:55.894" v="324"/>
          <ac:spMkLst>
            <pc:docMk/>
            <pc:sldMk cId="60889027" sldId="1366"/>
            <ac:spMk id="12" creationId="{ACBEA92A-3262-492F-9F9B-3CB34A403D6E}"/>
          </ac:spMkLst>
        </pc:spChg>
        <pc:spChg chg="mod ord topLvl">
          <ac:chgData name="Disselhoff, Tim" userId="3b8b5473-7050-4f60-8279-e72cc8538d43" providerId="ADAL" clId="{952E53DB-5978-46BA-964C-5B55B87B6690}" dt="2021-08-16T12:38:55.894" v="326"/>
          <ac:spMkLst>
            <pc:docMk/>
            <pc:sldMk cId="60889027" sldId="1366"/>
            <ac:spMk id="13" creationId="{7A410961-94F8-4E29-B29C-A7E48CF17FB3}"/>
          </ac:spMkLst>
        </pc:spChg>
        <pc:spChg chg="mod ord topLvl">
          <ac:chgData name="Disselhoff, Tim" userId="3b8b5473-7050-4f60-8279-e72cc8538d43" providerId="ADAL" clId="{952E53DB-5978-46BA-964C-5B55B87B6690}" dt="2021-08-16T12:38:55.896" v="334"/>
          <ac:spMkLst>
            <pc:docMk/>
            <pc:sldMk cId="60889027" sldId="1366"/>
            <ac:spMk id="17" creationId="{895CDFC1-9706-43CB-9B2F-9F9EEAE2B5AF}"/>
          </ac:spMkLst>
        </pc:spChg>
        <pc:spChg chg="mod ord topLvl">
          <ac:chgData name="Disselhoff, Tim" userId="3b8b5473-7050-4f60-8279-e72cc8538d43" providerId="ADAL" clId="{952E53DB-5978-46BA-964C-5B55B87B6690}" dt="2021-08-16T12:38:55.912" v="390"/>
          <ac:spMkLst>
            <pc:docMk/>
            <pc:sldMk cId="60889027" sldId="1366"/>
            <ac:spMk id="22" creationId="{E0B4C474-5E86-4BB7-8B56-55F06BD89B63}"/>
          </ac:spMkLst>
        </pc:spChg>
        <pc:spChg chg="mod ord topLvl">
          <ac:chgData name="Disselhoff, Tim" userId="3b8b5473-7050-4f60-8279-e72cc8538d43" providerId="ADAL" clId="{952E53DB-5978-46BA-964C-5B55B87B6690}" dt="2021-08-16T12:38:55.898" v="342"/>
          <ac:spMkLst>
            <pc:docMk/>
            <pc:sldMk cId="60889027" sldId="1366"/>
            <ac:spMk id="23" creationId="{408BECCE-877F-4106-8CD3-EA5A7448D33E}"/>
          </ac:spMkLst>
        </pc:spChg>
        <pc:spChg chg="mod ord topLvl">
          <ac:chgData name="Disselhoff, Tim" userId="3b8b5473-7050-4f60-8279-e72cc8538d43" providerId="ADAL" clId="{952E53DB-5978-46BA-964C-5B55B87B6690}" dt="2021-08-16T12:38:55.904" v="364"/>
          <ac:spMkLst>
            <pc:docMk/>
            <pc:sldMk cId="60889027" sldId="1366"/>
            <ac:spMk id="34" creationId="{99709D34-AD93-49B2-8356-C74C011A224C}"/>
          </ac:spMkLst>
        </pc:spChg>
        <pc:spChg chg="mod ord topLvl">
          <ac:chgData name="Disselhoff, Tim" userId="3b8b5473-7050-4f60-8279-e72cc8538d43" providerId="ADAL" clId="{952E53DB-5978-46BA-964C-5B55B87B6690}" dt="2021-08-16T12:38:55.905" v="366"/>
          <ac:spMkLst>
            <pc:docMk/>
            <pc:sldMk cId="60889027" sldId="1366"/>
            <ac:spMk id="35" creationId="{0CE05C00-EAF0-42F8-9758-BD26C1DE8593}"/>
          </ac:spMkLst>
        </pc:spChg>
        <pc:spChg chg="mod ord topLvl">
          <ac:chgData name="Disselhoff, Tim" userId="3b8b5473-7050-4f60-8279-e72cc8538d43" providerId="ADAL" clId="{952E53DB-5978-46BA-964C-5B55B87B6690}" dt="2021-08-16T12:38:55.905" v="368"/>
          <ac:spMkLst>
            <pc:docMk/>
            <pc:sldMk cId="60889027" sldId="1366"/>
            <ac:spMk id="36" creationId="{DD6F869B-4C4E-490E-BCC7-3A2F961C4265}"/>
          </ac:spMkLst>
        </pc:spChg>
        <pc:spChg chg="mod ord topLvl">
          <ac:chgData name="Disselhoff, Tim" userId="3b8b5473-7050-4f60-8279-e72cc8538d43" providerId="ADAL" clId="{952E53DB-5978-46BA-964C-5B55B87B6690}" dt="2021-08-16T12:38:55.906" v="370"/>
          <ac:spMkLst>
            <pc:docMk/>
            <pc:sldMk cId="60889027" sldId="1366"/>
            <ac:spMk id="37" creationId="{115917A3-F8B5-4C86-B38A-A646A98E9971}"/>
          </ac:spMkLst>
        </pc:spChg>
        <pc:spChg chg="mod ord topLvl">
          <ac:chgData name="Disselhoff, Tim" userId="3b8b5473-7050-4f60-8279-e72cc8538d43" providerId="ADAL" clId="{952E53DB-5978-46BA-964C-5B55B87B6690}" dt="2021-08-16T12:38:55.906" v="372"/>
          <ac:spMkLst>
            <pc:docMk/>
            <pc:sldMk cId="60889027" sldId="1366"/>
            <ac:spMk id="38" creationId="{9944332D-638D-4574-A2AD-76ABCAD5E4C6}"/>
          </ac:spMkLst>
        </pc:spChg>
        <pc:spChg chg="mod ord topLvl">
          <ac:chgData name="Disselhoff, Tim" userId="3b8b5473-7050-4f60-8279-e72cc8538d43" providerId="ADAL" clId="{952E53DB-5978-46BA-964C-5B55B87B6690}" dt="2021-08-16T12:38:55.907" v="374"/>
          <ac:spMkLst>
            <pc:docMk/>
            <pc:sldMk cId="60889027" sldId="1366"/>
            <ac:spMk id="39" creationId="{5CB61C07-8803-4F43-8D15-C878A5EC9B82}"/>
          </ac:spMkLst>
        </pc:spChg>
        <pc:spChg chg="mod ord topLvl">
          <ac:chgData name="Disselhoff, Tim" userId="3b8b5473-7050-4f60-8279-e72cc8538d43" providerId="ADAL" clId="{952E53DB-5978-46BA-964C-5B55B87B6690}" dt="2021-08-16T12:38:55.908" v="378"/>
          <ac:spMkLst>
            <pc:docMk/>
            <pc:sldMk cId="60889027" sldId="1366"/>
            <ac:spMk id="41" creationId="{8D95D1C6-20B9-4408-8B83-103C8C7CF7D4}"/>
          </ac:spMkLst>
        </pc:spChg>
        <pc:spChg chg="mod ord topLvl">
          <ac:chgData name="Disselhoff, Tim" userId="3b8b5473-7050-4f60-8279-e72cc8538d43" providerId="ADAL" clId="{952E53DB-5978-46BA-964C-5B55B87B6690}" dt="2021-08-16T12:38:55.909" v="380"/>
          <ac:spMkLst>
            <pc:docMk/>
            <pc:sldMk cId="60889027" sldId="1366"/>
            <ac:spMk id="42" creationId="{B5D8FFB3-E6A3-42FB-A328-4EF1E0D455B8}"/>
          </ac:spMkLst>
        </pc:spChg>
        <pc:spChg chg="del mod topLvl">
          <ac:chgData name="Disselhoff, Tim" userId="3b8b5473-7050-4f60-8279-e72cc8538d43" providerId="ADAL" clId="{952E53DB-5978-46BA-964C-5B55B87B6690}" dt="2021-08-16T12:30:56.709" v="10" actId="478"/>
          <ac:spMkLst>
            <pc:docMk/>
            <pc:sldMk cId="60889027" sldId="1366"/>
            <ac:spMk id="45" creationId="{739428C7-FA84-42E3-AACC-E05367CCE6CE}"/>
          </ac:spMkLst>
        </pc:spChg>
        <pc:spChg chg="del mod topLvl">
          <ac:chgData name="Disselhoff, Tim" userId="3b8b5473-7050-4f60-8279-e72cc8538d43" providerId="ADAL" clId="{952E53DB-5978-46BA-964C-5B55B87B6690}" dt="2021-08-16T12:30:56.709" v="10" actId="478"/>
          <ac:spMkLst>
            <pc:docMk/>
            <pc:sldMk cId="60889027" sldId="1366"/>
            <ac:spMk id="46" creationId="{17090EFF-ED48-4612-9A93-E4EE1B26E444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0" creationId="{DCDEF8B2-1A2E-48B1-BD2B-2A940731533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3" creationId="{B9AD16F6-4142-497E-A648-55BAEDB8BAD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4" creationId="{CFBA5598-0450-4E5D-9E63-FCF090A6B5A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5" creationId="{021EAF62-EECA-48A7-8FB7-CA74DF2AAF8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6" creationId="{449F8724-5F1E-4091-816E-599FB1D176D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7" creationId="{E32BB34B-F2C6-4353-9989-40DE0996F83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8" creationId="{52721F3D-1B60-41DA-B120-820AC45EEC8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59" creationId="{1774FD0C-9386-4128-B1CF-ACA4AFEA92A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0" creationId="{B6FC6F09-7AF1-4F46-B1FB-506993F2D7B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1" creationId="{BB82C286-7FBF-4769-8D2B-87479AF1DCE4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2" creationId="{70F86F9C-960D-4093-A2DA-A28C11CF978D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3" creationId="{5067A2A1-E5CB-4749-938C-18CB4A59FAC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4" creationId="{CCD0B07C-7517-4391-AC09-90477763AD6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5" creationId="{A6739107-3093-4120-B111-D4FF4EBCD9F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6" creationId="{3B4CBFF3-3A19-4242-8734-FAE178730A2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7" creationId="{E9127B21-B76A-4332-8510-10317279457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8" creationId="{91215EB7-00E0-42E0-947B-74290CB75DC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69" creationId="{39A2B32A-7AA8-4009-8A3C-23A797D2C4E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0" creationId="{9535DF27-FB07-4CB0-AF3B-490503D75AD1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1" creationId="{1BDD9258-411F-4481-86B2-A51441F36D7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4" creationId="{BAB03FCF-50CC-418F-8EE1-13C7781142D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5" creationId="{666F1C4F-D6A5-447B-8A1F-5E447925134D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6" creationId="{2481804A-0764-4786-BFDE-FA7D77ADEFA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7" creationId="{698DD01E-F566-463B-9B17-842AA50D8FA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8" creationId="{4B4C05B3-7A2B-4C29-A143-543F7E16388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79" creationId="{D039CDBF-7C7E-4DEA-883E-DB43A3B6081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0" creationId="{329457F3-E551-4286-BF41-17A0EA6DF3D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1" creationId="{A363C889-4C7C-471A-8CBF-0967181F8C5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2" creationId="{7F82C5DF-44F1-4A08-89E6-0EE25E930EA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3" creationId="{BED4F432-6B42-488D-B416-F18CF775312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4" creationId="{C8C406CE-34C6-47A1-BC5D-D9076F2971E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5" creationId="{F53EDB07-1B0D-4447-8475-1C439F48AFA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6" creationId="{AE2F5D04-F701-481D-B1A1-36523251719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7" creationId="{3764FC32-551C-4CD6-AD1A-78367674F9F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8" creationId="{603128CD-C56B-4867-9585-85DAEF2CB3B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89" creationId="{7E7A0C29-53E3-46DF-A439-65C07CBE759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90" creationId="{2B1E98CC-BFFA-45EA-B39B-D3E6A418B23D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91" creationId="{200521A1-904A-4671-BAD3-D7F506AE56B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94" creationId="{7749BD14-692C-4FE1-B204-CB26CDA66E4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97" creationId="{85535ED3-61EB-4C87-97D3-7CEF93E2FC9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98" creationId="{2173BCE3-4FDC-4C33-B45C-071DB5FEE17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99" creationId="{95D6B551-F10C-4DFB-A9BA-788DBB43E96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0" creationId="{C1BE7907-2A32-4B97-AF59-4EB802FE7FD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1" creationId="{BC4FCD9D-FD6A-45EE-9090-AA7A077D0EC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2" creationId="{F9FC242C-065A-4CEB-A859-EF8264F26E0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3" creationId="{B46D82EA-C4FA-409B-BFC0-69D8A6A2EB2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4" creationId="{3EFCB747-B7D8-4363-BB3D-035A1C15440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5" creationId="{F4067F62-F1A0-46D2-8722-AD920E2E727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6" creationId="{49C0F0E4-1627-40D9-BA04-6D90EAFC0A8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7" creationId="{9BC955B6-B573-4B8D-86DF-8412CD9261D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8" creationId="{A72213D2-7304-4A88-B388-E328CAD1BEB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09" creationId="{F7EFA03C-E2C7-4D0B-B2D7-B884F953D266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0" creationId="{BF7336ED-3150-4706-82B8-59F3DCC4F8D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1" creationId="{21B023D4-7440-4A5C-B083-B7A0C5393CB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2" creationId="{894B1B8B-BA23-4CCB-85DD-2AABEDBADC4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3" creationId="{BD43A453-5378-4988-8F05-90EABC4F3C7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4" creationId="{C7A2776F-2C87-447B-9101-7DFAEC9F4BB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5" creationId="{56871B60-2A80-41C9-8B67-01D261B9B30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8" creationId="{34590D70-EE6A-42D8-AAAB-4193A44588B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19" creationId="{AE50CA02-5A99-4E1B-BB1C-3D1EF053A91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0" creationId="{E701A9EA-3A66-4579-A872-ECB6E9D9AFC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1" creationId="{67B90788-9928-4F7A-A306-974BE002002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2" creationId="{BF8F54D9-49A4-4FC9-8510-026902A743E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3" creationId="{AB70A77D-2024-4B32-97A6-9998E125B4F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4" creationId="{08DD050C-04DE-4749-BA59-703A1F61663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5" creationId="{396F87BC-91BF-42AD-BD30-71DCE5553C8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6" creationId="{F9CCE71D-90A0-4129-8E23-0D9ACE368AF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7" creationId="{E45BB45A-A965-4461-8BF3-2427E34DFA4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8" creationId="{91AAE5F0-BA9F-4259-B39C-F6C0F4227E8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29" creationId="{BDCAC196-1B90-4FBC-9BE6-AA57A5580A1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0" creationId="{94598471-BAD7-407A-BAE4-05401CA9448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1" creationId="{93A6457C-D2C6-44FE-AB37-DFAEF94439F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2" creationId="{F1690D64-BEA6-4AA8-AC05-86AB89CF0F1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3" creationId="{1C482038-49F4-44F5-BCFB-C66567EEA23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4" creationId="{7B662F96-F3A9-4841-AC68-D6C38224E6C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35" creationId="{B02273CB-4277-4761-BE60-2ED3EE18421D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38" creationId="{AE463138-5739-496D-81C3-D002B94719D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1" creationId="{2B455008-B9BA-4162-89A6-37ED628D636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2" creationId="{A0CB229C-6ADB-44DE-AB7B-B87AD4F4DDC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3" creationId="{99B92B75-D257-47B8-AA67-C6CE76FAB63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4" creationId="{DD85DC6F-0CED-4373-8986-30D823C2081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5" creationId="{2A6584DA-1724-42D8-B362-749849A8CFF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6" creationId="{904190A9-7109-42B8-B794-C7589F6883B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7" creationId="{8BC09492-DA0C-406B-8A94-51964E4F332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8" creationId="{4D1EB64F-3A85-41B7-AD81-0BFF80097CD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49" creationId="{C9B6D151-5AC9-4E20-A1ED-32EAD78BACD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0" creationId="{B2084F1F-D139-425D-AD5C-7AEF34E175D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1" creationId="{924A7C37-124A-4A0C-9050-6D405458A84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2" creationId="{7413B115-9516-4EA1-A9FE-CB6C0D80BFE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3" creationId="{3AAE0CC1-11A8-4FD8-BA8D-CA73C6D345F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4" creationId="{C61818E7-BED0-4F6B-8087-F281DAC3793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5" creationId="{D15932E2-10E4-4EF5-870A-540FB29575C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6" creationId="{BAA4DD20-6AED-4135-A24A-AD94A46CA84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7" creationId="{5669E217-1AFA-4467-BFC8-386CABE1608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8" creationId="{FDDA1138-EE40-4932-801B-3505A99686B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59" creationId="{14BB09BA-EAA6-4C72-B221-0950FC4FB6D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2" creationId="{363FE1EC-3194-4613-BB5A-1BF98559918D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3" creationId="{EEFE7B7B-F4F6-4A4C-90C7-D68840C9AC2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4" creationId="{3D6D805E-54C2-4C97-AADA-E9B0F58FB51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5" creationId="{D21DD822-33E6-466C-9815-BD32B87A430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6" creationId="{6D8B3619-11FD-4BB7-B0B7-7969CF07C8E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7" creationId="{54A01531-0955-4016-AF9C-94B5A29CFF6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8" creationId="{9ADE7672-D8FA-44B5-BB27-2674212198D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69" creationId="{259ECD59-BE15-4914-B789-34329741A7B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0" creationId="{20BB36F9-B6E8-4F30-89D0-1DB5EAE23F8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1" creationId="{62456BCB-8F28-447E-90F9-D8AC848DC01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2" creationId="{41E9DBEA-9895-43D8-BC5F-8C5BA51D8B53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3" creationId="{CDCAD6DC-62D5-439F-9891-D07CFD35295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4" creationId="{AB0D67AD-5666-48E5-B91C-DC9E28CB586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5" creationId="{78D6A7A4-BC84-40CF-893E-4F9505D274E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6" creationId="{73EEC402-F397-4009-8473-5240CCC353C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7" creationId="{05F6B419-5F5D-4FDC-8EB1-0DF10ED46DD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8" creationId="{617DC6B9-6942-4EE2-9A63-48FACEB7D864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179" creationId="{0CCF2E5D-6610-44F3-83A2-CB539C136100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0" creationId="{F30DAFF8-DF24-4CC6-862D-56085870AF0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3" creationId="{44D48579-F0DA-40F3-B9AB-6622EC8CCD80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4" creationId="{59E1BAD7-4299-4334-BB8F-A3CECA212A3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5" creationId="{6031C0F2-DD3A-4125-B5C1-E52C21FAC1C6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6" creationId="{2F06DAF7-AD72-48CE-B4F7-C90FC2EE49D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7" creationId="{44F56B4B-9770-4944-A4D8-84BD83325C96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8" creationId="{86E6A151-6C20-4EC1-9D51-32CB7C39F7A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89" creationId="{1D5FA383-0A20-4C75-A44B-4DF479C6A1BC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0" creationId="{4B98C931-334F-40E2-8488-13A0373AEBF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1" creationId="{D0B15C4C-6397-439F-9139-417261F4EDE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2" creationId="{C5303842-D418-4B64-BF06-9F81A9C541F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3" creationId="{2C7836DE-FE2F-4D3F-A53B-6DEA44887D4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4" creationId="{1C2A58E6-426F-424E-BDA1-40F8F769A61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5" creationId="{9F98AFE6-8F66-42F7-9D60-274C8A044E6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6" creationId="{1D64477E-57DA-499F-A3E9-40D2964E906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7" creationId="{239903F7-4F39-4A1B-BC08-4D8D1586835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8" creationId="{0A4EFE9E-627C-44FA-9A35-7E3DA25996A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199" creationId="{AE549482-B8E7-4B19-9EB3-2378AB204506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00" creationId="{EE6C0E54-09DC-4BC0-8B42-76D74C029442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1" creationId="{74F1F295-6451-4D8C-ACFE-3DED9CCA4865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4" creationId="{EA58C5DE-9D67-46C0-A0ED-CC33080D8CC2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5" creationId="{16D2EC95-E7B7-40DE-BD0D-2A069F4A0539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6" creationId="{CB69B33E-8D40-46ED-9AFB-160167962FB3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7" creationId="{82EE5733-1DC7-47C0-8546-B1AF0F696676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8" creationId="{B5243C77-12F9-45CA-9C93-C529A6D80EAA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09" creationId="{48934C4C-E61B-4AEF-80D0-2EBEB660C2BE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0" creationId="{B49DA630-0DEE-46CF-B1DF-CB96B63A7B3C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1" creationId="{4913F365-19CA-463D-A4EE-DE2DD323834F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2" creationId="{5526D7FA-3065-4B0A-A4D7-CFA5336AF569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3" creationId="{32DC1262-1F0A-44CA-9880-69F951C6F3A2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4" creationId="{7BB28F55-9A41-43D6-812B-67F38B84B37A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5" creationId="{125F94E2-E113-468B-BA5B-C905723E04FE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6" creationId="{35850A50-942F-4597-85DE-6ECA4CBFB554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7" creationId="{129A7DC0-9E9B-4252-AD6D-B07331A3D2C5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8" creationId="{0777627F-CEED-4F81-A922-3C84400E3E6D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19" creationId="{D93AD2DF-FAC8-4AEF-AA00-D69B9248A77A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20" creationId="{F24AE501-4F6B-4EA9-9B90-13826A477714}"/>
          </ac:spMkLst>
        </pc:spChg>
        <pc:spChg chg="mod">
          <ac:chgData name="Disselhoff, Tim" userId="3b8b5473-7050-4f60-8279-e72cc8538d43" providerId="ADAL" clId="{952E53DB-5978-46BA-964C-5B55B87B6690}" dt="2021-08-16T12:33:19.343" v="52" actId="692"/>
          <ac:spMkLst>
            <pc:docMk/>
            <pc:sldMk cId="60889027" sldId="1366"/>
            <ac:spMk id="221" creationId="{B3EC0043-5837-4154-8945-A51C07610CA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2" creationId="{FAC35BDA-C607-49A5-B69B-C9222C102AB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5" creationId="{5F2ED505-D2DE-424F-8649-0023FE73476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6" creationId="{28FBCB7D-9D6E-4E23-BA71-E1FA0D32A73C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7" creationId="{06E3655D-04E5-4443-A4AD-35ED96FF293C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8" creationId="{B97AF97E-ABA5-447B-9B2C-0E5EB489B4E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29" creationId="{8F410454-B477-4174-8C69-0D14AA4FA0C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0" creationId="{0826EA5A-19CE-4548-8F57-467B79DF2EF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1" creationId="{A82A7994-DE7A-4938-9E4D-EAE939DE094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2" creationId="{0D29DC1E-923F-4918-97E4-951EE0EB60D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3" creationId="{BF86169B-FFE3-440E-AC59-8F598742FFF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4" creationId="{428F29FF-BBA3-4152-A490-4F6DAEADA98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5" creationId="{B0512254-43D7-40D5-BF1F-38B6F71F868C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6" creationId="{D2DA3A35-270F-4CCE-BB80-686BD373316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7" creationId="{977EC5F8-3770-422A-A7FB-F75BB2CC410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8" creationId="{D8E87B50-532F-4236-8B11-65DFF11C6BA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39" creationId="{5F528908-CDF2-40C8-923E-C4B5E4EFF92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0" creationId="{EB633BB9-0ED8-4E6E-AEEC-18E390D45AD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1" creationId="{72E28AB9-8DA8-49F5-B9E4-B8A15184572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2" creationId="{A8981564-426B-4168-A565-A30FEFFCB65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3" creationId="{C68A0773-46D8-4147-B68C-4F2015F27BE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6" creationId="{7CEC4E5C-803A-4EC3-B54E-0575379E722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7" creationId="{FCA3AF92-0444-4767-91CA-18F43B8553F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8" creationId="{172BFFE6-66C8-4E46-99EB-05AC59480EC0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49" creationId="{F2B711D3-BA23-4330-A5A4-3E899C7A792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0" creationId="{E7019F60-4BC4-4932-81A9-28A545A7373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1" creationId="{60FD6F88-53C2-415C-A028-60D39A01D06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2" creationId="{D96DDFD3-B76C-405B-B639-DE776CEAB8B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3" creationId="{D393D420-7AC0-4068-A675-E1E25C9AE2E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4" creationId="{429F3596-0D6A-4B57-B527-0E68FD88203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5" creationId="{1A8AA60F-6018-4437-BA67-A8F5090C43D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6" creationId="{0E804998-234F-4EA9-A675-8B715537155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7" creationId="{1925DACD-8015-4607-96A7-8146567EA33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8" creationId="{18DD1813-4DA0-473C-9754-74B8DDC91AF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59" creationId="{F64183AB-7FCC-423A-ACA8-61B03405D4D0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0" creationId="{88A23712-6AA9-4ECE-9175-EC1A6B1EE5A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1" creationId="{4A26AF7F-6750-4427-9349-3FD2994ECDB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2" creationId="{D646EE59-0CF4-4428-AD83-27822A451A86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3" creationId="{90CCB0B9-F41F-4AD3-89EF-6C3F5B0B5D8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4" creationId="{F9126B0A-B3B2-4D06-8A77-E75714AB282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7" creationId="{ED9D659D-99C0-46FC-BBFB-75EE1C568A1C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8" creationId="{ABA3781D-17E5-4C24-9BE9-6C068169647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69" creationId="{2EF73E0A-5B7A-4F48-8CEB-3B8B46CE993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0" creationId="{9CE6E499-616A-4EC5-BCEB-68AB025D4C6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1" creationId="{E786E6B6-1D40-4DFB-829C-088C12E4988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2" creationId="{12FBE122-B3E3-4039-A083-0371C68E3BD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3" creationId="{DF4C2245-893F-4062-83D8-0FB4868707C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4" creationId="{D370D2E0-0995-45E6-ACFE-663E7FA544A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5" creationId="{97E03C37-BA0C-434E-962A-C5D4A783A95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6" creationId="{AE8A3A23-6032-4E2D-930F-E7EED4E5C2B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7" creationId="{F7DED7F5-D7A5-49D2-9EDD-DB00F528484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8" creationId="{7D288892-4204-4800-9A11-9E35EB1A3D2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79" creationId="{1AD0CEA2-3FB4-4B8D-B940-6A258A90C48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0" creationId="{8C738806-211E-4614-A81B-EB259517A61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1" creationId="{D51B184C-DD45-4C99-993C-2883366E3F5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2" creationId="{7EB65D72-60F4-4DB2-8E13-8A5885EC014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3" creationId="{D7F601B9-AE17-4090-AE52-21CE218E2183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4" creationId="{3DD060F3-E1AB-4763-942B-632545D1D431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5" creationId="{43CFAD05-D64C-4411-82DA-0E72CEC37BB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8" creationId="{05E1CBDC-3049-4BC5-BD4D-CA08F694BCA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89" creationId="{557E4078-8DB1-4972-A8B0-2F894C2C903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0" creationId="{3D729086-323D-4CE3-A1B5-1DCE157FEF0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1" creationId="{38B14DE8-9DCC-406E-9A98-46DAC40C2EFF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2" creationId="{EC59D072-92B5-4288-BACC-E0EF07EC7B68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3" creationId="{16150DCD-C77A-44ED-B47A-84C95DEE9DA4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4" creationId="{94912203-D7B9-4F0C-89AE-1D3D7C6EF1F9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5" creationId="{FF374C5C-5478-408E-B263-110F988784A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6" creationId="{98F2FC4E-2217-43C3-A229-8924ADC3353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7" creationId="{62D20C78-834B-462F-BAA3-D1B4EB2F33A7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8" creationId="{B92B56F3-1C77-4D4E-92A0-5BFC06A954EB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299" creationId="{44B26386-077D-4C11-BB37-F24A1C56B08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0" creationId="{A81A3E47-1D69-4A13-8A0A-93B5A932100A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1" creationId="{28ED6D5D-C070-4E3E-8CC2-2073BA55FFBE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2" creationId="{DE549091-2C30-4AC5-93AE-261B87D68B2D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3" creationId="{90930206-6FEC-4FD4-9C52-3455DD1F4CD2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4" creationId="{1E68EA90-ED01-49F1-B286-51ED64BE4FC5}"/>
          </ac:spMkLst>
        </pc:spChg>
        <pc:spChg chg="mod">
          <ac:chgData name="Disselhoff, Tim" userId="3b8b5473-7050-4f60-8279-e72cc8538d43" providerId="ADAL" clId="{952E53DB-5978-46BA-964C-5B55B87B6690}" dt="2021-08-16T12:33:31.962" v="53" actId="692"/>
          <ac:spMkLst>
            <pc:docMk/>
            <pc:sldMk cId="60889027" sldId="1366"/>
            <ac:spMk id="305" creationId="{95EF0684-1674-4E47-A758-F90BC33A4914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08" creationId="{E269F92E-E908-4FE2-9E34-9800E67FE2C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1" creationId="{871D5881-E708-4052-B876-9B709BC2E47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2" creationId="{1DE20C1E-06A5-4A19-B0D6-4370CCB1AE5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3" creationId="{94CA5EAD-BDAD-41C8-A1B8-06957A4FDF3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4" creationId="{49BE8B7B-E76C-4BC7-818F-80CF905F4D5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5" creationId="{84B4AC8A-9862-4AA5-981C-52A52CE942A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6" creationId="{C68D6E5C-084C-4A43-9A03-CBE0B45243D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7" creationId="{50971EEF-3E57-44E4-B901-4F3CB0DC3CD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8" creationId="{464DA020-EA1B-40E9-A1B2-6BDFF412BCB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19" creationId="{13B00F47-F943-448E-8B47-0A12CA472ED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0" creationId="{86E45F8C-5723-492A-98AD-70D07432C36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1" creationId="{F3F6B270-5DEC-44E1-A46B-ABACBECFD0A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2" creationId="{B188DA2F-AB75-4010-8E46-8A7D32C53D1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3" creationId="{00AFBCBF-1C91-4478-BC83-C736B633923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4" creationId="{AA72D2EA-C57F-4999-A87B-F35DD5EC5A3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5" creationId="{13263BFB-7B6B-4FF1-A9E3-3AD002B2145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6" creationId="{E89F5BA9-A19C-4EEC-94B5-EC63347E207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7" creationId="{A1EB0A1E-9052-405B-AA16-DC7FEA23DEA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8" creationId="{AEDB19FB-CA19-4B64-A2EE-52083D919D71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29" creationId="{30BB4086-5A71-48FF-8ADE-34C52430DA9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2" creationId="{C38A7AE0-35FD-4746-89F7-C04CC6BB394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3" creationId="{D2076FB3-D03A-4B07-BE6D-73FFCD35C99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4" creationId="{0920DEBB-8A43-4EE9-A7E8-45185CA4E0C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5" creationId="{060F7C6C-D603-404E-A011-D790A1FFAB7A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6" creationId="{5017EA70-D09B-42AF-8F05-1E6043B9BFB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7" creationId="{ABB481F5-6482-49E1-9173-3D467D49C52B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8" creationId="{4EF5D306-4E5B-4FAC-BD1C-DA73E429139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39" creationId="{60538834-60D1-4B3A-85E9-88A3200FAB0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0" creationId="{1DF0BB94-CB46-49B3-BF4B-545EFBFB4FC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1" creationId="{201477A6-386D-4EF1-AEE7-D1B8F8EBB23C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2" creationId="{9BA77809-DEDD-446C-92AD-D6D4C8A951F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3" creationId="{E6522FF3-A37E-449E-A754-FCBD4441C84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4" creationId="{2953E4DF-4511-44F6-B862-D4C97EA2FAF6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5" creationId="{F62AB3EC-5C94-4E03-8E28-189ED022211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6" creationId="{8C75E997-0262-4932-A080-50144BBA948F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7" creationId="{3ECF79EF-7DF0-4D7C-88CA-094C0348F7B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8" creationId="{754190F0-F131-459F-BDF0-A0B4735CC602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49" creationId="{5D15F54F-B839-45FE-8664-5D55D39D7BD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0" creationId="{F39573C9-F7A5-49FC-A9D2-82FE734101AE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1" creationId="{C3CEC323-293D-4A3B-A41B-A875E2A8458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2" creationId="{7F643D42-333E-4294-A796-365DA3A3B427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3" creationId="{B67927C1-17A0-497C-8E80-71273FE5CB2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4" creationId="{F8F5FEE9-0B3A-433A-8143-8E8B2B3FEFC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5" creationId="{801E3919-1ACE-4D32-A4CA-5199DA505058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6" creationId="{5CF413E2-152A-4767-A7E6-2819D4514B85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7" creationId="{F07F0261-EBA3-43A6-9830-5FC74F488140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8" creationId="{7B614370-DB77-4BD1-8B0C-49927A54BAC9}"/>
          </ac:spMkLst>
        </pc:spChg>
        <pc:spChg chg="mod">
          <ac:chgData name="Disselhoff, Tim" userId="3b8b5473-7050-4f60-8279-e72cc8538d43" providerId="ADAL" clId="{952E53DB-5978-46BA-964C-5B55B87B6690}" dt="2021-08-16T12:30:50.241" v="9" actId="165"/>
          <ac:spMkLst>
            <pc:docMk/>
            <pc:sldMk cId="60889027" sldId="1366"/>
            <ac:spMk id="359" creationId="{0D1D795A-FA8E-4A36-9545-25C5453AB9C2}"/>
          </ac:spMkLst>
        </pc:spChg>
        <pc:spChg chg="mod ord">
          <ac:chgData name="Disselhoff, Tim" userId="3b8b5473-7050-4f60-8279-e72cc8538d43" providerId="ADAL" clId="{952E53DB-5978-46BA-964C-5B55B87B6690}" dt="2021-08-16T12:38:55.910" v="384"/>
          <ac:spMkLst>
            <pc:docMk/>
            <pc:sldMk cId="60889027" sldId="1366"/>
            <ac:spMk id="360" creationId="{9B95E3CA-A7C4-46C6-A347-D430B3D8AF05}"/>
          </ac:spMkLst>
        </pc:spChg>
        <pc:spChg chg="add mod ord">
          <ac:chgData name="Disselhoff, Tim" userId="3b8b5473-7050-4f60-8279-e72cc8538d43" providerId="ADAL" clId="{952E53DB-5978-46BA-964C-5B55B87B6690}" dt="2021-08-17T08:17:45.032" v="6748" actId="1076"/>
          <ac:spMkLst>
            <pc:docMk/>
            <pc:sldMk cId="60889027" sldId="1366"/>
            <ac:spMk id="361" creationId="{216FF5D1-F5EE-4B51-AD15-F796A02CE247}"/>
          </ac:spMkLst>
        </pc:spChg>
        <pc:spChg chg="add del mod">
          <ac:chgData name="Disselhoff, Tim" userId="3b8b5473-7050-4f60-8279-e72cc8538d43" providerId="ADAL" clId="{952E53DB-5978-46BA-964C-5B55B87B6690}" dt="2021-08-16T12:35:47.738" v="74" actId="478"/>
          <ac:spMkLst>
            <pc:docMk/>
            <pc:sldMk cId="60889027" sldId="1366"/>
            <ac:spMk id="362" creationId="{29D3069B-795D-4463-A082-9BB0800D5E05}"/>
          </ac:spMkLst>
        </pc:spChg>
        <pc:spChg chg="add del mod">
          <ac:chgData name="Disselhoff, Tim" userId="3b8b5473-7050-4f60-8279-e72cc8538d43" providerId="ADAL" clId="{952E53DB-5978-46BA-964C-5B55B87B6690}" dt="2021-08-16T12:36:49.787" v="88" actId="478"/>
          <ac:spMkLst>
            <pc:docMk/>
            <pc:sldMk cId="60889027" sldId="1366"/>
            <ac:spMk id="363" creationId="{9327242E-B466-45D9-AB54-77B5A7E8DF78}"/>
          </ac:spMkLst>
        </pc:spChg>
        <pc:spChg chg="add mod ord">
          <ac:chgData name="Disselhoff, Tim" userId="3b8b5473-7050-4f60-8279-e72cc8538d43" providerId="ADAL" clId="{952E53DB-5978-46BA-964C-5B55B87B6690}" dt="2021-08-16T12:39:55.709" v="412" actId="207"/>
          <ac:spMkLst>
            <pc:docMk/>
            <pc:sldMk cId="60889027" sldId="1366"/>
            <ac:spMk id="364" creationId="{B83EC4C5-B661-4674-8BE6-256C108497F2}"/>
          </ac:spMkLst>
        </pc:spChg>
        <pc:spChg chg="add del mod">
          <ac:chgData name="Disselhoff, Tim" userId="3b8b5473-7050-4f60-8279-e72cc8538d43" providerId="ADAL" clId="{952E53DB-5978-46BA-964C-5B55B87B6690}" dt="2021-08-17T08:17:47.973" v="6749" actId="478"/>
          <ac:spMkLst>
            <pc:docMk/>
            <pc:sldMk cId="60889027" sldId="1366"/>
            <ac:spMk id="367" creationId="{DE91575A-3185-DE4E-BF38-E185B82E0FCB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68" creationId="{C8072A68-91F5-426B-A9BF-6AAFE181A4F5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69" creationId="{F4811333-FAAF-4B80-8568-ED13172A7B6F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0" creationId="{CDC5C74F-F6BE-4853-8F7E-2EAC138E6D32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1" creationId="{2A8E5DAD-F23A-4683-A8EA-B55CD0E65E19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2" creationId="{91B961E0-A83E-4603-9E8E-398DC787BCBA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3" creationId="{4E1DB371-7EF5-4980-A417-B27942F8CE3E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4" creationId="{1419F436-567C-452D-B217-78C4FEB49DA9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5" creationId="{76F8AEA5-2484-4D9C-A417-55CEC754F425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6" creationId="{376162B9-247B-4966-947C-EA9BA9DB5AA3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7" creationId="{F10802F6-2CDA-4F9D-A454-FC81371AE221}"/>
          </ac:spMkLst>
        </pc:spChg>
        <pc:spChg chg="add mod">
          <ac:chgData name="Disselhoff, Tim" userId="3b8b5473-7050-4f60-8279-e72cc8538d43" providerId="ADAL" clId="{952E53DB-5978-46BA-964C-5B55B87B6690}" dt="2021-08-16T12:43:44.075" v="414" actId="1076"/>
          <ac:spMkLst>
            <pc:docMk/>
            <pc:sldMk cId="60889027" sldId="1366"/>
            <ac:spMk id="378" creationId="{6911EA98-B3B2-4B3E-AD44-B6DC6A498943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0" creationId="{D2E4813E-30A8-4171-A94E-B82881D70CAC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1" creationId="{71310394-76C3-4DD3-A5AA-9F9DCD0E71C1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2" creationId="{8B28DD87-F7AC-40A4-A22D-770817112F95}"/>
          </ac:spMkLst>
        </pc:spChg>
        <pc:spChg chg="add 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3" creationId="{5641B20D-04D7-41A0-9A69-EB74F0CA4FEF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5" creationId="{6CF22BC4-ABF2-42DA-8240-8676A9510CE3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6" creationId="{F54FE8AD-A979-47E4-B9D6-DE4028D7491B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7" creationId="{0155AAF9-0065-4580-AF4C-457B86B09DC2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8" creationId="{0FD9A213-E72D-441B-B99D-FABCAA17D601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89" creationId="{21EFA9BD-057B-4D01-AD6E-F72E44A08E17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0" creationId="{01E18B64-2AE9-40AE-82B3-73C7E00124B1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1" creationId="{4FDD08F1-3154-4B68-8FA7-F6C17FC78290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2" creationId="{3E8AEEDA-0A6F-43D3-A33D-EF5FAF927D50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3" creationId="{CAD98104-E826-458F-88C1-B87F2B4B140E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4" creationId="{475991B7-66E5-4389-8E67-F4D69CBF794D}"/>
          </ac:spMkLst>
        </pc:spChg>
        <pc:spChg chg="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5" creationId="{B54938CD-1744-44DB-B247-36EF5B1A50B2}"/>
          </ac:spMkLst>
        </pc:spChg>
        <pc:spChg chg="add mod">
          <ac:chgData name="Disselhoff, Tim" userId="3b8b5473-7050-4f60-8279-e72cc8538d43" providerId="ADAL" clId="{952E53DB-5978-46BA-964C-5B55B87B6690}" dt="2021-08-17T08:17:48.865" v="6750"/>
          <ac:spMkLst>
            <pc:docMk/>
            <pc:sldMk cId="60889027" sldId="1366"/>
            <ac:spMk id="396" creationId="{E9F4AD98-5C2F-4D00-9CAB-57A1F67695DF}"/>
          </ac:spMkLst>
        </pc:spChg>
        <pc:spChg chg="add mod">
          <ac:chgData name="Disselhoff, Tim" userId="3b8b5473-7050-4f60-8279-e72cc8538d43" providerId="ADAL" clId="{952E53DB-5978-46BA-964C-5B55B87B6690}" dt="2021-08-17T08:25:45.104" v="6839" actId="1076"/>
          <ac:spMkLst>
            <pc:docMk/>
            <pc:sldMk cId="60889027" sldId="1366"/>
            <ac:spMk id="397" creationId="{D7209B93-C9EE-459A-BC46-FC5324A94B9E}"/>
          </ac:spMkLst>
        </pc:spChg>
        <pc:spChg chg="add mod">
          <ac:chgData name="Disselhoff, Tim" userId="3b8b5473-7050-4f60-8279-e72cc8538d43" providerId="ADAL" clId="{952E53DB-5978-46BA-964C-5B55B87B6690}" dt="2021-08-17T08:25:43.536" v="6838" actId="1076"/>
          <ac:spMkLst>
            <pc:docMk/>
            <pc:sldMk cId="60889027" sldId="1366"/>
            <ac:spMk id="398" creationId="{5FF46D35-67F9-4454-A38E-2CEFDC96B85B}"/>
          </ac:spMkLst>
        </pc:spChg>
        <pc:spChg chg="add mod">
          <ac:chgData name="Disselhoff, Tim" userId="3b8b5473-7050-4f60-8279-e72cc8538d43" providerId="ADAL" clId="{952E53DB-5978-46BA-964C-5B55B87B6690}" dt="2021-08-17T08:25:11.847" v="6795" actId="14100"/>
          <ac:spMkLst>
            <pc:docMk/>
            <pc:sldMk cId="60889027" sldId="1366"/>
            <ac:spMk id="399" creationId="{7C101CF6-7ABE-4BA4-B7B8-9EC3CE44DC9C}"/>
          </ac:spMkLst>
        </pc:spChg>
        <pc:spChg chg="add mod">
          <ac:chgData name="Disselhoff, Tim" userId="3b8b5473-7050-4f60-8279-e72cc8538d43" providerId="ADAL" clId="{952E53DB-5978-46BA-964C-5B55B87B6690}" dt="2021-08-17T08:25:24.778" v="6813" actId="14100"/>
          <ac:spMkLst>
            <pc:docMk/>
            <pc:sldMk cId="60889027" sldId="1366"/>
            <ac:spMk id="400" creationId="{9ABA1D7D-1810-4157-8252-68B3CE40884A}"/>
          </ac:spMkLst>
        </pc:spChg>
        <pc:spChg chg="add mod">
          <ac:chgData name="Disselhoff, Tim" userId="3b8b5473-7050-4f60-8279-e72cc8538d43" providerId="ADAL" clId="{952E53DB-5978-46BA-964C-5B55B87B6690}" dt="2021-08-17T08:25:30.360" v="6832" actId="14100"/>
          <ac:spMkLst>
            <pc:docMk/>
            <pc:sldMk cId="60889027" sldId="1366"/>
            <ac:spMk id="401" creationId="{4FD3C325-E64C-4911-8A0B-4C035C312CA6}"/>
          </ac:spMkLst>
        </pc:spChg>
        <pc:spChg chg="add mod">
          <ac:chgData name="Disselhoff, Tim" userId="3b8b5473-7050-4f60-8279-e72cc8538d43" providerId="ADAL" clId="{952E53DB-5978-46BA-964C-5B55B87B6690}" dt="2021-08-17T08:25:39.977" v="6837" actId="1076"/>
          <ac:spMkLst>
            <pc:docMk/>
            <pc:sldMk cId="60889027" sldId="1366"/>
            <ac:spMk id="402" creationId="{5FB5A043-BC7C-4BB5-BC26-EDE2C5E0F23F}"/>
          </ac:spMkLst>
        </pc:spChg>
        <pc:spChg chg="add mod">
          <ac:chgData name="Disselhoff, Tim" userId="3b8b5473-7050-4f60-8279-e72cc8538d43" providerId="ADAL" clId="{952E53DB-5978-46BA-964C-5B55B87B6690}" dt="2021-08-17T08:27:02.820" v="6850" actId="1076"/>
          <ac:spMkLst>
            <pc:docMk/>
            <pc:sldMk cId="60889027" sldId="1366"/>
            <ac:spMk id="403" creationId="{D6CBBE1B-3519-4DBA-AC47-5BE0233F36BA}"/>
          </ac:spMkLst>
        </pc:spChg>
        <pc:grpChg chg="del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6" creationId="{BD5A6B46-F08C-4C91-8E49-0C8CDA090A0C}"/>
          </ac:grpSpMkLst>
        </pc:grpChg>
        <pc:grpChg chg="mod ord topLvl">
          <ac:chgData name="Disselhoff, Tim" userId="3b8b5473-7050-4f60-8279-e72cc8538d43" providerId="ADAL" clId="{952E53DB-5978-46BA-964C-5B55B87B6690}" dt="2021-08-16T12:38:55.892" v="316"/>
          <ac:grpSpMkLst>
            <pc:docMk/>
            <pc:sldMk cId="60889027" sldId="1366"/>
            <ac:grpSpMk id="8" creationId="{51CB5670-EE3A-400D-AE59-99DA547646D2}"/>
          </ac:grpSpMkLst>
        </pc:grpChg>
        <pc:grpChg chg="mod ord topLvl">
          <ac:chgData name="Disselhoff, Tim" userId="3b8b5473-7050-4f60-8279-e72cc8538d43" providerId="ADAL" clId="{952E53DB-5978-46BA-964C-5B55B87B6690}" dt="2021-08-16T12:38:55.892" v="318"/>
          <ac:grpSpMkLst>
            <pc:docMk/>
            <pc:sldMk cId="60889027" sldId="1366"/>
            <ac:grpSpMk id="9" creationId="{76BC0828-D448-4861-9806-96BBF27B3EE1}"/>
          </ac:grpSpMkLst>
        </pc:grpChg>
        <pc:grpChg chg="mod ord topLvl">
          <ac:chgData name="Disselhoff, Tim" userId="3b8b5473-7050-4f60-8279-e72cc8538d43" providerId="ADAL" clId="{952E53DB-5978-46BA-964C-5B55B87B6690}" dt="2021-08-16T12:38:55.893" v="320"/>
          <ac:grpSpMkLst>
            <pc:docMk/>
            <pc:sldMk cId="60889027" sldId="1366"/>
            <ac:grpSpMk id="10" creationId="{D99F2DDE-F08B-4EB4-9B85-516A652FDCA6}"/>
          </ac:grpSpMkLst>
        </pc:grpChg>
        <pc:grpChg chg="mod ord topLvl">
          <ac:chgData name="Disselhoff, Tim" userId="3b8b5473-7050-4f60-8279-e72cc8538d43" providerId="ADAL" clId="{952E53DB-5978-46BA-964C-5B55B87B6690}" dt="2021-08-16T12:38:55.895" v="328"/>
          <ac:grpSpMkLst>
            <pc:docMk/>
            <pc:sldMk cId="60889027" sldId="1366"/>
            <ac:grpSpMk id="14" creationId="{A43E4F5B-F11C-4A94-BE41-F00D5C23AEEE}"/>
          </ac:grpSpMkLst>
        </pc:grpChg>
        <pc:grpChg chg="mod ord topLvl">
          <ac:chgData name="Disselhoff, Tim" userId="3b8b5473-7050-4f60-8279-e72cc8538d43" providerId="ADAL" clId="{952E53DB-5978-46BA-964C-5B55B87B6690}" dt="2021-08-16T12:38:55.895" v="330"/>
          <ac:grpSpMkLst>
            <pc:docMk/>
            <pc:sldMk cId="60889027" sldId="1366"/>
            <ac:grpSpMk id="15" creationId="{05478884-160C-419B-81A0-3951B4EA9DDF}"/>
          </ac:grpSpMkLst>
        </pc:grpChg>
        <pc:grpChg chg="mod ord topLvl">
          <ac:chgData name="Disselhoff, Tim" userId="3b8b5473-7050-4f60-8279-e72cc8538d43" providerId="ADAL" clId="{952E53DB-5978-46BA-964C-5B55B87B6690}" dt="2021-08-16T12:38:55.896" v="332"/>
          <ac:grpSpMkLst>
            <pc:docMk/>
            <pc:sldMk cId="60889027" sldId="1366"/>
            <ac:grpSpMk id="16" creationId="{6569C144-B3E9-4C9F-9F9F-B30EEFF1135E}"/>
          </ac:grpSpMkLst>
        </pc:grpChg>
        <pc:grpChg chg="mod ord topLvl">
          <ac:chgData name="Disselhoff, Tim" userId="3b8b5473-7050-4f60-8279-e72cc8538d43" providerId="ADAL" clId="{952E53DB-5978-46BA-964C-5B55B87B6690}" dt="2021-08-16T12:38:55.897" v="336"/>
          <ac:grpSpMkLst>
            <pc:docMk/>
            <pc:sldMk cId="60889027" sldId="1366"/>
            <ac:grpSpMk id="18" creationId="{D8D52534-E35E-4FE0-AF92-A6B5BD701188}"/>
          </ac:grpSpMkLst>
        </pc:grpChg>
        <pc:grpChg chg="mod ord topLvl">
          <ac:chgData name="Disselhoff, Tim" userId="3b8b5473-7050-4f60-8279-e72cc8538d43" providerId="ADAL" clId="{952E53DB-5978-46BA-964C-5B55B87B6690}" dt="2021-08-16T12:38:55.897" v="338"/>
          <ac:grpSpMkLst>
            <pc:docMk/>
            <pc:sldMk cId="60889027" sldId="1366"/>
            <ac:grpSpMk id="19" creationId="{D4B3B856-3CB8-4EB4-A23F-750A185E3A28}"/>
          </ac:grpSpMkLst>
        </pc:grpChg>
        <pc:grpChg chg="mod ord topLvl">
          <ac:chgData name="Disselhoff, Tim" userId="3b8b5473-7050-4f60-8279-e72cc8538d43" providerId="ADAL" clId="{952E53DB-5978-46BA-964C-5B55B87B6690}" dt="2021-08-16T12:38:55.898" v="340"/>
          <ac:grpSpMkLst>
            <pc:docMk/>
            <pc:sldMk cId="60889027" sldId="1366"/>
            <ac:grpSpMk id="20" creationId="{7DC786ED-E2F8-49AF-9F23-4F3C5463B66F}"/>
          </ac:grpSpMkLst>
        </pc:grpChg>
        <pc:grpChg chg="mod topLvl">
          <ac:chgData name="Disselhoff, Tim" userId="3b8b5473-7050-4f60-8279-e72cc8538d43" providerId="ADAL" clId="{952E53DB-5978-46BA-964C-5B55B87B6690}" dt="2021-08-16T12:38:55.912" v="391"/>
          <ac:grpSpMkLst>
            <pc:docMk/>
            <pc:sldMk cId="60889027" sldId="1366"/>
            <ac:grpSpMk id="21" creationId="{47C52FC8-F5D0-44A7-BB42-9F77AD4FF51D}"/>
          </ac:grpSpMkLst>
        </pc:grpChg>
        <pc:grpChg chg="mod ord topLvl">
          <ac:chgData name="Disselhoff, Tim" userId="3b8b5473-7050-4f60-8279-e72cc8538d43" providerId="ADAL" clId="{952E53DB-5978-46BA-964C-5B55B87B6690}" dt="2021-08-16T12:38:55.908" v="376"/>
          <ac:grpSpMkLst>
            <pc:docMk/>
            <pc:sldMk cId="60889027" sldId="1366"/>
            <ac:grpSpMk id="40" creationId="{37AB0EBD-FC68-47BC-BCDE-00708884834E}"/>
          </ac:grpSpMkLst>
        </pc:grpChg>
        <pc:grpChg chg="del mod topLvl">
          <ac:chgData name="Disselhoff, Tim" userId="3b8b5473-7050-4f60-8279-e72cc8538d43" providerId="ADAL" clId="{952E53DB-5978-46BA-964C-5B55B87B6690}" dt="2021-08-16T12:30:56.709" v="10" actId="478"/>
          <ac:grpSpMkLst>
            <pc:docMk/>
            <pc:sldMk cId="60889027" sldId="1366"/>
            <ac:grpSpMk id="44" creationId="{B2ECC5D3-6FA3-46D8-A448-B959DE1FA078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48" creationId="{49651962-3FF3-46CC-80D0-0B981798CA2B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49" creationId="{04CA5999-87C2-4CF9-B13B-A7134453DAD3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51" creationId="{2704957B-FCBB-4374-B776-B786D862A850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52" creationId="{F38AB6D7-C130-430A-889B-E54ED2BCE87D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72" creationId="{81F2FC5B-147B-46D2-89DC-B344F2BBB4E5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73" creationId="{236D008F-8EE7-45F0-B5F8-0C6458A34D49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92" creationId="{BEEC7DCF-0E88-4223-BF12-1ABE955E3A14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93" creationId="{2D742563-2A07-40D7-B998-DB702B3FD5B2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95" creationId="{795CA00F-DF54-4021-94BD-5EF86EBC881F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96" creationId="{F24AC082-7E46-44FA-88C0-97C074CE6381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16" creationId="{0AE7E91D-DE19-4D35-A0F1-F5A2113FBEE8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17" creationId="{6E715F7C-0177-4EC0-8494-01F0803A9568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36" creationId="{DBBF5FA3-0BA7-4A14-AC11-9AF8E8BD39D9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37" creationId="{13D138E2-B392-45D9-A24B-43AFF9831A42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39" creationId="{724D2B23-A098-470A-A77B-18CB02461DAB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40" creationId="{27280F92-46B0-4B0A-86D0-D2BC842C9F0B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60" creationId="{80AB31F1-2021-4181-BA74-399E2BFBDF8B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61" creationId="{489D2CC8-9BAF-49AF-A7B1-E88FC51134D0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81" creationId="{3080911A-A883-4C10-B9AF-597F85100F8D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182" creationId="{31F27DCB-D97E-484F-9441-5D1C933F555E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02" creationId="{BB44A379-3C60-46E3-9BFC-BBE183F774F1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03" creationId="{983772AF-EB7B-4DC2-AB89-4AF89F60FEC1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23" creationId="{2DA96181-499F-4ACF-8DDC-A65C694E5B17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24" creationId="{15744602-D56D-45C2-8573-97F9FD267A40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44" creationId="{48428891-A6D6-42D4-A0A5-79C60B1AB2A6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45" creationId="{E52E714F-5EE8-4FE8-BCB8-59DBD9CB26A0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65" creationId="{8711DBEB-140F-41FD-B9EB-0DDD39C6C447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66" creationId="{96B11A7B-A9B2-4331-90B5-4EE07782F658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86" creationId="{396F8AA0-BDF8-4DBA-84E9-223ED050BEEE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287" creationId="{5C6C42DA-9986-424D-BF29-5E09C4176482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06" creationId="{E992A2EC-308D-490C-A435-7473C9D1A488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07" creationId="{DE2A3E8E-F1A4-4588-8A15-313E0670F556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09" creationId="{1DEBCC30-2BDA-4BE0-9C34-9AF4B97961A7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10" creationId="{A6066DD2-4169-4D5D-82D1-65FEFBD30F93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30" creationId="{B2FD5241-7DF3-459E-A05B-A77433AF876A}"/>
          </ac:grpSpMkLst>
        </pc:grpChg>
        <pc:grpChg chg="mod">
          <ac:chgData name="Disselhoff, Tim" userId="3b8b5473-7050-4f60-8279-e72cc8538d43" providerId="ADAL" clId="{952E53DB-5978-46BA-964C-5B55B87B6690}" dt="2021-08-16T12:30:50.241" v="9" actId="165"/>
          <ac:grpSpMkLst>
            <pc:docMk/>
            <pc:sldMk cId="60889027" sldId="1366"/>
            <ac:grpSpMk id="331" creationId="{0BF81806-FAB6-4BC8-A3A1-7B983AB59A96}"/>
          </ac:grpSpMkLst>
        </pc:grpChg>
        <pc:grpChg chg="add mod">
          <ac:chgData name="Disselhoff, Tim" userId="3b8b5473-7050-4f60-8279-e72cc8538d43" providerId="ADAL" clId="{952E53DB-5978-46BA-964C-5B55B87B6690}" dt="2021-08-17T08:17:48.865" v="6750"/>
          <ac:grpSpMkLst>
            <pc:docMk/>
            <pc:sldMk cId="60889027" sldId="1366"/>
            <ac:grpSpMk id="362" creationId="{820295D3-2261-4261-ABFD-12450D6F7590}"/>
          </ac:grpSpMkLst>
        </pc:grpChg>
        <pc:grpChg chg="mod">
          <ac:chgData name="Disselhoff, Tim" userId="3b8b5473-7050-4f60-8279-e72cc8538d43" providerId="ADAL" clId="{952E53DB-5978-46BA-964C-5B55B87B6690}" dt="2021-08-17T08:17:48.865" v="6750"/>
          <ac:grpSpMkLst>
            <pc:docMk/>
            <pc:sldMk cId="60889027" sldId="1366"/>
            <ac:grpSpMk id="363" creationId="{EF9508AD-1FB2-491B-B312-AC044E0AEF5F}"/>
          </ac:grpSpMkLst>
        </pc:grpChg>
        <pc:grpChg chg="add del mod">
          <ac:chgData name="Disselhoff, Tim" userId="3b8b5473-7050-4f60-8279-e72cc8538d43" providerId="ADAL" clId="{952E53DB-5978-46BA-964C-5B55B87B6690}" dt="2021-08-17T08:17:47.973" v="6749" actId="478"/>
          <ac:grpSpMkLst>
            <pc:docMk/>
            <pc:sldMk cId="60889027" sldId="1366"/>
            <ac:grpSpMk id="366" creationId="{ADD1861F-955A-47C0-A199-B30FAF33822F}"/>
          </ac:grpSpMkLst>
        </pc:grpChg>
        <pc:grpChg chg="add mod">
          <ac:chgData name="Disselhoff, Tim" userId="3b8b5473-7050-4f60-8279-e72cc8538d43" providerId="ADAL" clId="{952E53DB-5978-46BA-964C-5B55B87B6690}" dt="2021-08-17T08:17:48.865" v="6750"/>
          <ac:grpSpMkLst>
            <pc:docMk/>
            <pc:sldMk cId="60889027" sldId="1366"/>
            <ac:grpSpMk id="384" creationId="{E3E669BE-CB1E-4005-B4CD-FF6A50A83190}"/>
          </ac:grpSpMkLst>
        </pc:grpChg>
        <pc:graphicFrameChg chg="add mod ord modVis">
          <ac:chgData name="Disselhoff, Tim" userId="3b8b5473-7050-4f60-8279-e72cc8538d43" providerId="ADAL" clId="{952E53DB-5978-46BA-964C-5B55B87B6690}" dt="2021-08-16T12:38:55.919" v="393"/>
          <ac:graphicFrameMkLst>
            <pc:docMk/>
            <pc:sldMk cId="60889027" sldId="1366"/>
            <ac:graphicFrameMk id="365" creationId="{E60950EF-D161-4F96-83E4-B88E961AACA8}"/>
          </ac:graphicFrameMkLst>
        </pc:graphicFrameChg>
        <pc:picChg chg="add mod">
          <ac:chgData name="Disselhoff, Tim" userId="3b8b5473-7050-4f60-8279-e72cc8538d43" providerId="ADAL" clId="{952E53DB-5978-46BA-964C-5B55B87B6690}" dt="2021-08-17T08:17:01.907" v="6744" actId="1076"/>
          <ac:picMkLst>
            <pc:docMk/>
            <pc:sldMk cId="60889027" sldId="1366"/>
            <ac:picMk id="379" creationId="{7100A991-7A62-4038-B790-C800CC86B1E6}"/>
          </ac:picMkLst>
        </pc:picChg>
        <pc:cxnChg chg="mod ord topLvl">
          <ac:chgData name="Disselhoff, Tim" userId="3b8b5473-7050-4f60-8279-e72cc8538d43" providerId="ADAL" clId="{952E53DB-5978-46BA-964C-5B55B87B6690}" dt="2021-08-16T12:38:55.899" v="344"/>
          <ac:cxnSpMkLst>
            <pc:docMk/>
            <pc:sldMk cId="60889027" sldId="1366"/>
            <ac:cxnSpMk id="24" creationId="{419302A9-1EAB-44D0-9A8C-B8BA254A1FF4}"/>
          </ac:cxnSpMkLst>
        </pc:cxnChg>
        <pc:cxnChg chg="mod ord topLvl">
          <ac:chgData name="Disselhoff, Tim" userId="3b8b5473-7050-4f60-8279-e72cc8538d43" providerId="ADAL" clId="{952E53DB-5978-46BA-964C-5B55B87B6690}" dt="2021-08-16T12:38:55.899" v="346"/>
          <ac:cxnSpMkLst>
            <pc:docMk/>
            <pc:sldMk cId="60889027" sldId="1366"/>
            <ac:cxnSpMk id="25" creationId="{C5D31BB3-E7D4-49B3-AEA7-B234B176C68E}"/>
          </ac:cxnSpMkLst>
        </pc:cxnChg>
        <pc:cxnChg chg="mod ord topLvl">
          <ac:chgData name="Disselhoff, Tim" userId="3b8b5473-7050-4f60-8279-e72cc8538d43" providerId="ADAL" clId="{952E53DB-5978-46BA-964C-5B55B87B6690}" dt="2021-08-16T12:38:55.900" v="348"/>
          <ac:cxnSpMkLst>
            <pc:docMk/>
            <pc:sldMk cId="60889027" sldId="1366"/>
            <ac:cxnSpMk id="26" creationId="{C0A3CEBE-1BE0-470F-92DB-31D74BC42461}"/>
          </ac:cxnSpMkLst>
        </pc:cxnChg>
        <pc:cxnChg chg="mod ord topLvl">
          <ac:chgData name="Disselhoff, Tim" userId="3b8b5473-7050-4f60-8279-e72cc8538d43" providerId="ADAL" clId="{952E53DB-5978-46BA-964C-5B55B87B6690}" dt="2021-08-16T12:38:55.901" v="350"/>
          <ac:cxnSpMkLst>
            <pc:docMk/>
            <pc:sldMk cId="60889027" sldId="1366"/>
            <ac:cxnSpMk id="27" creationId="{22B18F9A-52CA-4DBD-ADFF-862B4FECC0FC}"/>
          </ac:cxnSpMkLst>
        </pc:cxnChg>
        <pc:cxnChg chg="mod ord topLvl">
          <ac:chgData name="Disselhoff, Tim" userId="3b8b5473-7050-4f60-8279-e72cc8538d43" providerId="ADAL" clId="{952E53DB-5978-46BA-964C-5B55B87B6690}" dt="2021-08-16T12:38:55.901" v="352"/>
          <ac:cxnSpMkLst>
            <pc:docMk/>
            <pc:sldMk cId="60889027" sldId="1366"/>
            <ac:cxnSpMk id="28" creationId="{E5D3A9AF-B414-41F3-98B9-3F23CF1707B9}"/>
          </ac:cxnSpMkLst>
        </pc:cxnChg>
        <pc:cxnChg chg="mod ord topLvl">
          <ac:chgData name="Disselhoff, Tim" userId="3b8b5473-7050-4f60-8279-e72cc8538d43" providerId="ADAL" clId="{952E53DB-5978-46BA-964C-5B55B87B6690}" dt="2021-08-16T12:38:55.902" v="354"/>
          <ac:cxnSpMkLst>
            <pc:docMk/>
            <pc:sldMk cId="60889027" sldId="1366"/>
            <ac:cxnSpMk id="29" creationId="{33F943F0-AF0A-4E4A-B68C-C6D31D1ECCD4}"/>
          </ac:cxnSpMkLst>
        </pc:cxnChg>
        <pc:cxnChg chg="mod ord topLvl">
          <ac:chgData name="Disselhoff, Tim" userId="3b8b5473-7050-4f60-8279-e72cc8538d43" providerId="ADAL" clId="{952E53DB-5978-46BA-964C-5B55B87B6690}" dt="2021-08-16T12:38:55.902" v="356"/>
          <ac:cxnSpMkLst>
            <pc:docMk/>
            <pc:sldMk cId="60889027" sldId="1366"/>
            <ac:cxnSpMk id="30" creationId="{DB2E3063-4C91-4F5A-AFC8-DF9C6DCB02FE}"/>
          </ac:cxnSpMkLst>
        </pc:cxnChg>
        <pc:cxnChg chg="mod ord topLvl">
          <ac:chgData name="Disselhoff, Tim" userId="3b8b5473-7050-4f60-8279-e72cc8538d43" providerId="ADAL" clId="{952E53DB-5978-46BA-964C-5B55B87B6690}" dt="2021-08-16T12:38:55.903" v="358"/>
          <ac:cxnSpMkLst>
            <pc:docMk/>
            <pc:sldMk cId="60889027" sldId="1366"/>
            <ac:cxnSpMk id="31" creationId="{C72C8E0F-29A8-4DB5-A5DE-011EB8D3185E}"/>
          </ac:cxnSpMkLst>
        </pc:cxnChg>
        <pc:cxnChg chg="mod ord topLvl">
          <ac:chgData name="Disselhoff, Tim" userId="3b8b5473-7050-4f60-8279-e72cc8538d43" providerId="ADAL" clId="{952E53DB-5978-46BA-964C-5B55B87B6690}" dt="2021-08-16T12:38:55.903" v="360"/>
          <ac:cxnSpMkLst>
            <pc:docMk/>
            <pc:sldMk cId="60889027" sldId="1366"/>
            <ac:cxnSpMk id="32" creationId="{5945F2F8-D599-4F60-A753-DAE1AB0C06C8}"/>
          </ac:cxnSpMkLst>
        </pc:cxnChg>
        <pc:cxnChg chg="mod ord topLvl">
          <ac:chgData name="Disselhoff, Tim" userId="3b8b5473-7050-4f60-8279-e72cc8538d43" providerId="ADAL" clId="{952E53DB-5978-46BA-964C-5B55B87B6690}" dt="2021-08-16T12:38:55.904" v="362"/>
          <ac:cxnSpMkLst>
            <pc:docMk/>
            <pc:sldMk cId="60889027" sldId="1366"/>
            <ac:cxnSpMk id="33" creationId="{21C550AD-1E26-4E15-9D9D-DB64E5CDB215}"/>
          </ac:cxnSpMkLst>
        </pc:cxnChg>
        <pc:cxnChg chg="mod ord topLvl">
          <ac:chgData name="Disselhoff, Tim" userId="3b8b5473-7050-4f60-8279-e72cc8538d43" providerId="ADAL" clId="{952E53DB-5978-46BA-964C-5B55B87B6690}" dt="2021-08-16T12:38:55.909" v="382"/>
          <ac:cxnSpMkLst>
            <pc:docMk/>
            <pc:sldMk cId="60889027" sldId="1366"/>
            <ac:cxnSpMk id="43" creationId="{1AC0A2C5-4B94-40F9-88E2-D3C10215517A}"/>
          </ac:cxnSpMkLst>
        </pc:cxnChg>
        <pc:cxnChg chg="del mod topLvl">
          <ac:chgData name="Disselhoff, Tim" userId="3b8b5473-7050-4f60-8279-e72cc8538d43" providerId="ADAL" clId="{952E53DB-5978-46BA-964C-5B55B87B6690}" dt="2021-08-16T12:30:59.412" v="11" actId="478"/>
          <ac:cxnSpMkLst>
            <pc:docMk/>
            <pc:sldMk cId="60889027" sldId="1366"/>
            <ac:cxnSpMk id="47" creationId="{06CA91AA-EB09-49B8-9788-D0010BD01138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7T08:28:38.378" v="6851" actId="47"/>
        <pc:sldMkLst>
          <pc:docMk/>
          <pc:sldMk cId="1020637792" sldId="1367"/>
        </pc:sldMkLst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" creationId="{1145D328-0F27-4F7A-A962-22E5F65A0985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" creationId="{D686AADE-66A6-4E7C-AF09-3A863BA83F00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" creationId="{ACBEA92A-3262-492F-9F9B-3CB34A403D6E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" creationId="{7A410961-94F8-4E29-B29C-A7E48CF17FB3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" creationId="{895CDFC1-9706-43CB-9B2F-9F9EEAE2B5AF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" creationId="{E0B4C474-5E86-4BB7-8B56-55F06BD89B63}"/>
          </ac:spMkLst>
        </pc:spChg>
        <pc:spChg chg="del mod topLvl">
          <ac:chgData name="Disselhoff, Tim" userId="3b8b5473-7050-4f60-8279-e72cc8538d43" providerId="ADAL" clId="{952E53DB-5978-46BA-964C-5B55B87B6690}" dt="2021-08-16T12:34:25.735" v="61" actId="478"/>
          <ac:spMkLst>
            <pc:docMk/>
            <pc:sldMk cId="1020637792" sldId="1367"/>
            <ac:spMk id="23" creationId="{408BECCE-877F-4106-8CD3-EA5A7448D33E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" creationId="{99709D34-AD93-49B2-8356-C74C011A224C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" creationId="{0CE05C00-EAF0-42F8-9758-BD26C1DE8593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6" creationId="{DD6F869B-4C4E-490E-BCC7-3A2F961C4265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7" creationId="{115917A3-F8B5-4C86-B38A-A646A98E9971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8" creationId="{9944332D-638D-4574-A2AD-76ABCAD5E4C6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9" creationId="{5CB61C07-8803-4F43-8D15-C878A5EC9B82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41" creationId="{8D95D1C6-20B9-4408-8B83-103C8C7CF7D4}"/>
          </ac:spMkLst>
        </pc:spChg>
        <pc:spChg chg="mod topLvl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42" creationId="{B5D8FFB3-E6A3-42FB-A328-4EF1E0D455B8}"/>
          </ac:spMkLst>
        </pc:spChg>
        <pc:spChg chg="del mod topLvl">
          <ac:chgData name="Disselhoff, Tim" userId="3b8b5473-7050-4f60-8279-e72cc8538d43" providerId="ADAL" clId="{952E53DB-5978-46BA-964C-5B55B87B6690}" dt="2021-08-16T12:34:15.939" v="60" actId="478"/>
          <ac:spMkLst>
            <pc:docMk/>
            <pc:sldMk cId="1020637792" sldId="1367"/>
            <ac:spMk id="45" creationId="{739428C7-FA84-42E3-AACC-E05367CCE6CE}"/>
          </ac:spMkLst>
        </pc:spChg>
        <pc:spChg chg="del mod topLvl">
          <ac:chgData name="Disselhoff, Tim" userId="3b8b5473-7050-4f60-8279-e72cc8538d43" providerId="ADAL" clId="{952E53DB-5978-46BA-964C-5B55B87B6690}" dt="2021-08-16T12:34:15.939" v="60" actId="478"/>
          <ac:spMkLst>
            <pc:docMk/>
            <pc:sldMk cId="1020637792" sldId="1367"/>
            <ac:spMk id="46" creationId="{17090EFF-ED48-4612-9A93-E4EE1B26E44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0" creationId="{DCDEF8B2-1A2E-48B1-BD2B-2A940731533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3" creationId="{B9AD16F6-4142-497E-A648-55BAEDB8BAD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4" creationId="{CFBA5598-0450-4E5D-9E63-FCF090A6B5A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5" creationId="{021EAF62-EECA-48A7-8FB7-CA74DF2AAF8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6" creationId="{449F8724-5F1E-4091-816E-599FB1D176D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7" creationId="{E32BB34B-F2C6-4353-9989-40DE0996F83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8" creationId="{52721F3D-1B60-41DA-B120-820AC45EEC8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59" creationId="{1774FD0C-9386-4128-B1CF-ACA4AFEA92A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0" creationId="{B6FC6F09-7AF1-4F46-B1FB-506993F2D7B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1" creationId="{BB82C286-7FBF-4769-8D2B-87479AF1DCE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2" creationId="{70F86F9C-960D-4093-A2DA-A28C11CF978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3" creationId="{5067A2A1-E5CB-4749-938C-18CB4A59FAC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4" creationId="{CCD0B07C-7517-4391-AC09-90477763AD6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5" creationId="{A6739107-3093-4120-B111-D4FF4EBCD9F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6" creationId="{3B4CBFF3-3A19-4242-8734-FAE178730A2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7" creationId="{E9127B21-B76A-4332-8510-10317279457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8" creationId="{91215EB7-00E0-42E0-947B-74290CB75DC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69" creationId="{39A2B32A-7AA8-4009-8A3C-23A797D2C4E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0" creationId="{9535DF27-FB07-4CB0-AF3B-490503D75AD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1" creationId="{1BDD9258-411F-4481-86B2-A51441F36D7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4" creationId="{BAB03FCF-50CC-418F-8EE1-13C7781142D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5" creationId="{666F1C4F-D6A5-447B-8A1F-5E447925134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6" creationId="{2481804A-0764-4786-BFDE-FA7D77ADEFA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7" creationId="{698DD01E-F566-463B-9B17-842AA50D8FA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8" creationId="{4B4C05B3-7A2B-4C29-A143-543F7E16388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79" creationId="{D039CDBF-7C7E-4DEA-883E-DB43A3B6081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0" creationId="{329457F3-E551-4286-BF41-17A0EA6DF3D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1" creationId="{A363C889-4C7C-471A-8CBF-0967181F8C5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2" creationId="{7F82C5DF-44F1-4A08-89E6-0EE25E930EA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3" creationId="{BED4F432-6B42-488D-B416-F18CF775312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4" creationId="{C8C406CE-34C6-47A1-BC5D-D9076F2971E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5" creationId="{F53EDB07-1B0D-4447-8475-1C439F48AFA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6" creationId="{AE2F5D04-F701-481D-B1A1-36523251719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7" creationId="{3764FC32-551C-4CD6-AD1A-78367674F9F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8" creationId="{603128CD-C56B-4867-9585-85DAEF2CB3B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89" creationId="{7E7A0C29-53E3-46DF-A439-65C07CBE759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0" creationId="{2B1E98CC-BFFA-45EA-B39B-D3E6A418B23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1" creationId="{200521A1-904A-4671-BAD3-D7F506AE56B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4" creationId="{7749BD14-692C-4FE1-B204-CB26CDA66E4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7" creationId="{85535ED3-61EB-4C87-97D3-7CEF93E2FC9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8" creationId="{2173BCE3-4FDC-4C33-B45C-071DB5FEE17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99" creationId="{95D6B551-F10C-4DFB-A9BA-788DBB43E96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0" creationId="{C1BE7907-2A32-4B97-AF59-4EB802FE7FD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1" creationId="{BC4FCD9D-FD6A-45EE-9090-AA7A077D0EC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2" creationId="{F9FC242C-065A-4CEB-A859-EF8264F26E0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3" creationId="{B46D82EA-C4FA-409B-BFC0-69D8A6A2EB2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4" creationId="{3EFCB747-B7D8-4363-BB3D-035A1C15440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5" creationId="{F4067F62-F1A0-46D2-8722-AD920E2E727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6" creationId="{49C0F0E4-1627-40D9-BA04-6D90EAFC0A8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7" creationId="{9BC955B6-B573-4B8D-86DF-8412CD9261D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8" creationId="{A72213D2-7304-4A88-B388-E328CAD1BEB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09" creationId="{F7EFA03C-E2C7-4D0B-B2D7-B884F953D26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0" creationId="{BF7336ED-3150-4706-82B8-59F3DCC4F8D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1" creationId="{21B023D4-7440-4A5C-B083-B7A0C5393CB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2" creationId="{894B1B8B-BA23-4CCB-85DD-2AABEDBADC4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3" creationId="{BD43A453-5378-4988-8F05-90EABC4F3C7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4" creationId="{C7A2776F-2C87-447B-9101-7DFAEC9F4BB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5" creationId="{56871B60-2A80-41C9-8B67-01D261B9B30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8" creationId="{34590D70-EE6A-42D8-AAAB-4193A44588B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19" creationId="{AE50CA02-5A99-4E1B-BB1C-3D1EF053A91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0" creationId="{E701A9EA-3A66-4579-A872-ECB6E9D9AFC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1" creationId="{67B90788-9928-4F7A-A306-974BE002002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2" creationId="{BF8F54D9-49A4-4FC9-8510-026902A743E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3" creationId="{AB70A77D-2024-4B32-97A6-9998E125B4F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4" creationId="{08DD050C-04DE-4749-BA59-703A1F61663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5" creationId="{396F87BC-91BF-42AD-BD30-71DCE5553C8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6" creationId="{F9CCE71D-90A0-4129-8E23-0D9ACE368AF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7" creationId="{E45BB45A-A965-4461-8BF3-2427E34DFA4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8" creationId="{91AAE5F0-BA9F-4259-B39C-F6C0F4227E8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29" creationId="{BDCAC196-1B90-4FBC-9BE6-AA57A5580A1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0" creationId="{94598471-BAD7-407A-BAE4-05401CA9448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1" creationId="{93A6457C-D2C6-44FE-AB37-DFAEF94439F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2" creationId="{F1690D64-BEA6-4AA8-AC05-86AB89CF0F1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3" creationId="{1C482038-49F4-44F5-BCFB-C66567EEA23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4" creationId="{7B662F96-F3A9-4841-AC68-D6C38224E6C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5" creationId="{B02273CB-4277-4761-BE60-2ED3EE18421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38" creationId="{AE463138-5739-496D-81C3-D002B94719D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1" creationId="{2B455008-B9BA-4162-89A6-37ED628D636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2" creationId="{A0CB229C-6ADB-44DE-AB7B-B87AD4F4DDC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3" creationId="{99B92B75-D257-47B8-AA67-C6CE76FAB63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4" creationId="{DD85DC6F-0CED-4373-8986-30D823C2081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5" creationId="{2A6584DA-1724-42D8-B362-749849A8CFF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6" creationId="{904190A9-7109-42B8-B794-C7589F6883B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7" creationId="{8BC09492-DA0C-406B-8A94-51964E4F332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8" creationId="{4D1EB64F-3A85-41B7-AD81-0BFF80097CD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49" creationId="{C9B6D151-5AC9-4E20-A1ED-32EAD78BACD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0" creationId="{B2084F1F-D139-425D-AD5C-7AEF34E175D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1" creationId="{924A7C37-124A-4A0C-9050-6D405458A84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2" creationId="{7413B115-9516-4EA1-A9FE-CB6C0D80BFE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3" creationId="{3AAE0CC1-11A8-4FD8-BA8D-CA73C6D345F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4" creationId="{C61818E7-BED0-4F6B-8087-F281DAC3793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5" creationId="{D15932E2-10E4-4EF5-870A-540FB29575C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6" creationId="{BAA4DD20-6AED-4135-A24A-AD94A46CA84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7" creationId="{5669E217-1AFA-4467-BFC8-386CABE1608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8" creationId="{FDDA1138-EE40-4932-801B-3505A99686B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59" creationId="{14BB09BA-EAA6-4C72-B221-0950FC4FB6D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2" creationId="{363FE1EC-3194-4613-BB5A-1BF98559918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3" creationId="{EEFE7B7B-F4F6-4A4C-90C7-D68840C9AC2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4" creationId="{3D6D805E-54C2-4C97-AADA-E9B0F58FB51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5" creationId="{D21DD822-33E6-466C-9815-BD32B87A430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6" creationId="{6D8B3619-11FD-4BB7-B0B7-7969CF07C8E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7" creationId="{54A01531-0955-4016-AF9C-94B5A29CFF6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8" creationId="{9ADE7672-D8FA-44B5-BB27-2674212198D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69" creationId="{259ECD59-BE15-4914-B789-34329741A7B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0" creationId="{20BB36F9-B6E8-4F30-89D0-1DB5EAE23F8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1" creationId="{62456BCB-8F28-447E-90F9-D8AC848DC01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2" creationId="{41E9DBEA-9895-43D8-BC5F-8C5BA51D8B5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3" creationId="{CDCAD6DC-62D5-439F-9891-D07CFD35295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4" creationId="{AB0D67AD-5666-48E5-B91C-DC9E28CB586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5" creationId="{78D6A7A4-BC84-40CF-893E-4F9505D274E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6" creationId="{73EEC402-F397-4009-8473-5240CCC353C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7" creationId="{05F6B419-5F5D-4FDC-8EB1-0DF10ED46DD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8" creationId="{617DC6B9-6942-4EE2-9A63-48FACEB7D86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79" creationId="{0CCF2E5D-6610-44F3-83A2-CB539C13610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0" creationId="{F30DAFF8-DF24-4CC6-862D-56085870AF0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3" creationId="{44D48579-F0DA-40F3-B9AB-6622EC8CCD8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4" creationId="{59E1BAD7-4299-4334-BB8F-A3CECA212A3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5" creationId="{6031C0F2-DD3A-4125-B5C1-E52C21FAC1C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6" creationId="{2F06DAF7-AD72-48CE-B4F7-C90FC2EE49D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7" creationId="{44F56B4B-9770-4944-A4D8-84BD83325C9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8" creationId="{86E6A151-6C20-4EC1-9D51-32CB7C39F7A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89" creationId="{1D5FA383-0A20-4C75-A44B-4DF479C6A1B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0" creationId="{4B98C931-334F-40E2-8488-13A0373AEBF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1" creationId="{D0B15C4C-6397-439F-9139-417261F4EDE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2" creationId="{C5303842-D418-4B64-BF06-9F81A9C541F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3" creationId="{2C7836DE-FE2F-4D3F-A53B-6DEA44887D4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4" creationId="{1C2A58E6-426F-424E-BDA1-40F8F769A61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5" creationId="{9F98AFE6-8F66-42F7-9D60-274C8A044E6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6" creationId="{1D64477E-57DA-499F-A3E9-40D2964E906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7" creationId="{239903F7-4F39-4A1B-BC08-4D8D1586835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8" creationId="{0A4EFE9E-627C-44FA-9A35-7E3DA25996A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199" creationId="{AE549482-B8E7-4B19-9EB3-2378AB20450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0" creationId="{EE6C0E54-09DC-4BC0-8B42-76D74C02944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1" creationId="{74F1F295-6451-4D8C-ACFE-3DED9CCA486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4" creationId="{EA58C5DE-9D67-46C0-A0ED-CC33080D8CC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5" creationId="{16D2EC95-E7B7-40DE-BD0D-2A069F4A053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6" creationId="{CB69B33E-8D40-46ED-9AFB-160167962FB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7" creationId="{82EE5733-1DC7-47C0-8546-B1AF0F69667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8" creationId="{B5243C77-12F9-45CA-9C93-C529A6D80EA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09" creationId="{48934C4C-E61B-4AEF-80D0-2EBEB660C2B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0" creationId="{B49DA630-0DEE-46CF-B1DF-CB96B63A7B3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1" creationId="{4913F365-19CA-463D-A4EE-DE2DD323834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2" creationId="{5526D7FA-3065-4B0A-A4D7-CFA5336AF56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3" creationId="{32DC1262-1F0A-44CA-9880-69F951C6F3A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4" creationId="{7BB28F55-9A41-43D6-812B-67F38B84B37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5" creationId="{125F94E2-E113-468B-BA5B-C905723E04F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6" creationId="{35850A50-942F-4597-85DE-6ECA4CBFB55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7" creationId="{129A7DC0-9E9B-4252-AD6D-B07331A3D2C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8" creationId="{0777627F-CEED-4F81-A922-3C84400E3E6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19" creationId="{D93AD2DF-FAC8-4AEF-AA00-D69B9248A77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0" creationId="{F24AE501-4F6B-4EA9-9B90-13826A47771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1" creationId="{B3EC0043-5837-4154-8945-A51C07610CA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2" creationId="{FAC35BDA-C607-49A5-B69B-C9222C102AB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5" creationId="{5F2ED505-D2DE-424F-8649-0023FE73476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6" creationId="{28FBCB7D-9D6E-4E23-BA71-E1FA0D32A73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7" creationId="{06E3655D-04E5-4443-A4AD-35ED96FF293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8" creationId="{B97AF97E-ABA5-447B-9B2C-0E5EB489B4E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29" creationId="{8F410454-B477-4174-8C69-0D14AA4FA0C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0" creationId="{0826EA5A-19CE-4548-8F57-467B79DF2EF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1" creationId="{A82A7994-DE7A-4938-9E4D-EAE939DE094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2" creationId="{0D29DC1E-923F-4918-97E4-951EE0EB60D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3" creationId="{BF86169B-FFE3-440E-AC59-8F598742FFF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4" creationId="{428F29FF-BBA3-4152-A490-4F6DAEADA98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5" creationId="{B0512254-43D7-40D5-BF1F-38B6F71F868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6" creationId="{D2DA3A35-270F-4CCE-BB80-686BD373316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7" creationId="{977EC5F8-3770-422A-A7FB-F75BB2CC410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8" creationId="{D8E87B50-532F-4236-8B11-65DFF11C6BA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39" creationId="{5F528908-CDF2-40C8-923E-C4B5E4EFF92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0" creationId="{EB633BB9-0ED8-4E6E-AEEC-18E390D45AD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1" creationId="{72E28AB9-8DA8-49F5-B9E4-B8A15184572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2" creationId="{A8981564-426B-4168-A565-A30FEFFCB65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3" creationId="{C68A0773-46D8-4147-B68C-4F2015F27BE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6" creationId="{7CEC4E5C-803A-4EC3-B54E-0575379E722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7" creationId="{FCA3AF92-0444-4767-91CA-18F43B8553F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8" creationId="{172BFFE6-66C8-4E46-99EB-05AC59480EC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49" creationId="{F2B711D3-BA23-4330-A5A4-3E899C7A792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0" creationId="{E7019F60-4BC4-4932-81A9-28A545A7373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1" creationId="{60FD6F88-53C2-415C-A028-60D39A01D06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2" creationId="{D96DDFD3-B76C-405B-B639-DE776CEAB8B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3" creationId="{D393D420-7AC0-4068-A675-E1E25C9AE2E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4" creationId="{429F3596-0D6A-4B57-B527-0E68FD88203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5" creationId="{1A8AA60F-6018-4437-BA67-A8F5090C43D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6" creationId="{0E804998-234F-4EA9-A675-8B715537155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7" creationId="{1925DACD-8015-4607-96A7-8146567EA33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8" creationId="{18DD1813-4DA0-473C-9754-74B8DDC91AF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59" creationId="{F64183AB-7FCC-423A-ACA8-61B03405D4D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0" creationId="{88A23712-6AA9-4ECE-9175-EC1A6B1EE5A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1" creationId="{4A26AF7F-6750-4427-9349-3FD2994ECDB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2" creationId="{D646EE59-0CF4-4428-AD83-27822A451A8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3" creationId="{90CCB0B9-F41F-4AD3-89EF-6C3F5B0B5D8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4" creationId="{F9126B0A-B3B2-4D06-8A77-E75714AB282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7" creationId="{ED9D659D-99C0-46FC-BBFB-75EE1C568A1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8" creationId="{ABA3781D-17E5-4C24-9BE9-6C068169647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69" creationId="{2EF73E0A-5B7A-4F48-8CEB-3B8B46CE993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0" creationId="{9CE6E499-616A-4EC5-BCEB-68AB025D4C6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1" creationId="{E786E6B6-1D40-4DFB-829C-088C12E4988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2" creationId="{12FBE122-B3E3-4039-A083-0371C68E3BD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3" creationId="{DF4C2245-893F-4062-83D8-0FB4868707C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4" creationId="{D370D2E0-0995-45E6-ACFE-663E7FA544A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5" creationId="{97E03C37-BA0C-434E-962A-C5D4A783A95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6" creationId="{AE8A3A23-6032-4E2D-930F-E7EED4E5C2B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7" creationId="{F7DED7F5-D7A5-49D2-9EDD-DB00F528484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8" creationId="{7D288892-4204-4800-9A11-9E35EB1A3D2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79" creationId="{1AD0CEA2-3FB4-4B8D-B940-6A258A90C48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0" creationId="{8C738806-211E-4614-A81B-EB259517A61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1" creationId="{D51B184C-DD45-4C99-993C-2883366E3F5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2" creationId="{7EB65D72-60F4-4DB2-8E13-8A5885EC014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3" creationId="{D7F601B9-AE17-4090-AE52-21CE218E2183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4" creationId="{3DD060F3-E1AB-4763-942B-632545D1D43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5" creationId="{43CFAD05-D64C-4411-82DA-0E72CEC37BB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8" creationId="{05E1CBDC-3049-4BC5-BD4D-CA08F694BCA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89" creationId="{557E4078-8DB1-4972-A8B0-2F894C2C903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0" creationId="{3D729086-323D-4CE3-A1B5-1DCE157FEF0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1" creationId="{38B14DE8-9DCC-406E-9A98-46DAC40C2EF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2" creationId="{EC59D072-92B5-4288-BACC-E0EF07EC7B6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3" creationId="{16150DCD-C77A-44ED-B47A-84C95DEE9DA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4" creationId="{94912203-D7B9-4F0C-89AE-1D3D7C6EF1F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5" creationId="{FF374C5C-5478-408E-B263-110F988784A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6" creationId="{98F2FC4E-2217-43C3-A229-8924ADC3353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7" creationId="{62D20C78-834B-462F-BAA3-D1B4EB2F33A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8" creationId="{B92B56F3-1C77-4D4E-92A0-5BFC06A954E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299" creationId="{44B26386-077D-4C11-BB37-F24A1C56B08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0" creationId="{A81A3E47-1D69-4A13-8A0A-93B5A932100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1" creationId="{28ED6D5D-C070-4E3E-8CC2-2073BA55FFB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2" creationId="{DE549091-2C30-4AC5-93AE-261B87D68B2D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3" creationId="{90930206-6FEC-4FD4-9C52-3455DD1F4CD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4" creationId="{1E68EA90-ED01-49F1-B286-51ED64BE4FC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5" creationId="{95EF0684-1674-4E47-A758-F90BC33A4914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08" creationId="{E269F92E-E908-4FE2-9E34-9800E67FE2C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1" creationId="{871D5881-E708-4052-B876-9B709BC2E47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2" creationId="{1DE20C1E-06A5-4A19-B0D6-4370CCB1AE5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3" creationId="{94CA5EAD-BDAD-41C8-A1B8-06957A4FDF3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4" creationId="{49BE8B7B-E76C-4BC7-818F-80CF905F4D5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5" creationId="{84B4AC8A-9862-4AA5-981C-52A52CE942A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6" creationId="{C68D6E5C-084C-4A43-9A03-CBE0B45243D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7" creationId="{50971EEF-3E57-44E4-B901-4F3CB0DC3CD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8" creationId="{464DA020-EA1B-40E9-A1B2-6BDFF412BCB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19" creationId="{13B00F47-F943-448E-8B47-0A12CA472ED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0" creationId="{86E45F8C-5723-492A-98AD-70D07432C36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1" creationId="{F3F6B270-5DEC-44E1-A46B-ABACBECFD0A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2" creationId="{B188DA2F-AB75-4010-8E46-8A7D32C53D1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3" creationId="{00AFBCBF-1C91-4478-BC83-C736B633923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4" creationId="{AA72D2EA-C57F-4999-A87B-F35DD5EC5A3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5" creationId="{13263BFB-7B6B-4FF1-A9E3-3AD002B2145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6" creationId="{E89F5BA9-A19C-4EEC-94B5-EC63347E207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7" creationId="{A1EB0A1E-9052-405B-AA16-DC7FEA23DEA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8" creationId="{AEDB19FB-CA19-4B64-A2EE-52083D919D71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29" creationId="{30BB4086-5A71-48FF-8ADE-34C52430DA9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2" creationId="{C38A7AE0-35FD-4746-89F7-C04CC6BB394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3" creationId="{D2076FB3-D03A-4B07-BE6D-73FFCD35C99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4" creationId="{0920DEBB-8A43-4EE9-A7E8-45185CA4E0C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5" creationId="{060F7C6C-D603-404E-A011-D790A1FFAB7A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6" creationId="{5017EA70-D09B-42AF-8F05-1E6043B9BFB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7" creationId="{ABB481F5-6482-49E1-9173-3D467D49C52B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8" creationId="{4EF5D306-4E5B-4FAC-BD1C-DA73E429139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39" creationId="{60538834-60D1-4B3A-85E9-88A3200FAB0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0" creationId="{1DF0BB94-CB46-49B3-BF4B-545EFBFB4FC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1" creationId="{201477A6-386D-4EF1-AEE7-D1B8F8EBB23C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2" creationId="{9BA77809-DEDD-446C-92AD-D6D4C8A951F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3" creationId="{E6522FF3-A37E-449E-A754-FCBD4441C84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4" creationId="{2953E4DF-4511-44F6-B862-D4C97EA2FAF6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5" creationId="{F62AB3EC-5C94-4E03-8E28-189ED022211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6" creationId="{8C75E997-0262-4932-A080-50144BBA948F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7" creationId="{3ECF79EF-7DF0-4D7C-88CA-094C0348F7B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8" creationId="{754190F0-F131-459F-BDF0-A0B4735CC602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49" creationId="{5D15F54F-B839-45FE-8664-5D55D39D7BD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0" creationId="{F39573C9-F7A5-49FC-A9D2-82FE734101AE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1" creationId="{C3CEC323-293D-4A3B-A41B-A875E2A8458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2" creationId="{7F643D42-333E-4294-A796-365DA3A3B427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3" creationId="{B67927C1-17A0-497C-8E80-71273FE5CB2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4" creationId="{F8F5FEE9-0B3A-433A-8143-8E8B2B3FEFC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5" creationId="{801E3919-1ACE-4D32-A4CA-5199DA505058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6" creationId="{5CF413E2-152A-4767-A7E6-2819D4514B85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7" creationId="{F07F0261-EBA3-43A6-9830-5FC74F488140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8" creationId="{7B614370-DB77-4BD1-8B0C-49927A54BAC9}"/>
          </ac:spMkLst>
        </pc:spChg>
        <pc:spChg chg="mod">
          <ac:chgData name="Disselhoff, Tim" userId="3b8b5473-7050-4f60-8279-e72cc8538d43" providerId="ADAL" clId="{952E53DB-5978-46BA-964C-5B55B87B6690}" dt="2021-08-16T12:34:13.582" v="59" actId="165"/>
          <ac:spMkLst>
            <pc:docMk/>
            <pc:sldMk cId="1020637792" sldId="1367"/>
            <ac:spMk id="359" creationId="{0D1D795A-FA8E-4A36-9545-25C5453AB9C2}"/>
          </ac:spMkLst>
        </pc:spChg>
        <pc:spChg chg="add mod">
          <ac:chgData name="Disselhoff, Tim" userId="3b8b5473-7050-4f60-8279-e72cc8538d43" providerId="ADAL" clId="{952E53DB-5978-46BA-964C-5B55B87B6690}" dt="2021-08-16T12:34:26.348" v="62"/>
          <ac:spMkLst>
            <pc:docMk/>
            <pc:sldMk cId="1020637792" sldId="1367"/>
            <ac:spMk id="361" creationId="{16E0B4BB-BCD8-4059-8127-026035E7E0B8}"/>
          </ac:spMkLst>
        </pc:spChg>
        <pc:grpChg chg="de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6" creationId="{BD5A6B46-F08C-4C91-8E49-0C8CDA090A0C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8" creationId="{51CB5670-EE3A-400D-AE59-99DA547646D2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9" creationId="{76BC0828-D448-4861-9806-96BBF27B3EE1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0" creationId="{D99F2DDE-F08B-4EB4-9B85-516A652FDCA6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4" creationId="{A43E4F5B-F11C-4A94-BE41-F00D5C23AEEE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5" creationId="{05478884-160C-419B-81A0-3951B4EA9DDF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6" creationId="{6569C144-B3E9-4C9F-9F9F-B30EEFF1135E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8" creationId="{D8D52534-E35E-4FE0-AF92-A6B5BD701188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9" creationId="{D4B3B856-3CB8-4EB4-A23F-750A185E3A28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0" creationId="{7DC786ED-E2F8-49AF-9F23-4F3C5463B66F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1" creationId="{47C52FC8-F5D0-44A7-BB42-9F77AD4FF51D}"/>
          </ac:grpSpMkLst>
        </pc:grpChg>
        <pc:grpChg chg="mod topLvl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40" creationId="{37AB0EBD-FC68-47BC-BCDE-00708884834E}"/>
          </ac:grpSpMkLst>
        </pc:grpChg>
        <pc:grpChg chg="del mod topLvl">
          <ac:chgData name="Disselhoff, Tim" userId="3b8b5473-7050-4f60-8279-e72cc8538d43" providerId="ADAL" clId="{952E53DB-5978-46BA-964C-5B55B87B6690}" dt="2021-08-16T12:34:15.939" v="60" actId="478"/>
          <ac:grpSpMkLst>
            <pc:docMk/>
            <pc:sldMk cId="1020637792" sldId="1367"/>
            <ac:grpSpMk id="44" creationId="{B2ECC5D3-6FA3-46D8-A448-B959DE1FA078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48" creationId="{49651962-3FF3-46CC-80D0-0B981798CA2B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49" creationId="{04CA5999-87C2-4CF9-B13B-A7134453DAD3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51" creationId="{2704957B-FCBB-4374-B776-B786D862A850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52" creationId="{F38AB6D7-C130-430A-889B-E54ED2BCE87D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72" creationId="{81F2FC5B-147B-46D2-89DC-B344F2BBB4E5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73" creationId="{236D008F-8EE7-45F0-B5F8-0C6458A34D49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92" creationId="{BEEC7DCF-0E88-4223-BF12-1ABE955E3A14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93" creationId="{2D742563-2A07-40D7-B998-DB702B3FD5B2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95" creationId="{795CA00F-DF54-4021-94BD-5EF86EBC881F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96" creationId="{F24AC082-7E46-44FA-88C0-97C074CE6381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16" creationId="{0AE7E91D-DE19-4D35-A0F1-F5A2113FBEE8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17" creationId="{6E715F7C-0177-4EC0-8494-01F0803A9568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36" creationId="{DBBF5FA3-0BA7-4A14-AC11-9AF8E8BD39D9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37" creationId="{13D138E2-B392-45D9-A24B-43AFF9831A42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39" creationId="{724D2B23-A098-470A-A77B-18CB02461DAB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40" creationId="{27280F92-46B0-4B0A-86D0-D2BC842C9F0B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60" creationId="{80AB31F1-2021-4181-BA74-399E2BFBDF8B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61" creationId="{489D2CC8-9BAF-49AF-A7B1-E88FC51134D0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81" creationId="{3080911A-A883-4C10-B9AF-597F85100F8D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182" creationId="{31F27DCB-D97E-484F-9441-5D1C933F555E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02" creationId="{BB44A379-3C60-46E3-9BFC-BBE183F774F1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03" creationId="{983772AF-EB7B-4DC2-AB89-4AF89F60FEC1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23" creationId="{2DA96181-499F-4ACF-8DDC-A65C694E5B17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24" creationId="{15744602-D56D-45C2-8573-97F9FD267A40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44" creationId="{48428891-A6D6-42D4-A0A5-79C60B1AB2A6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45" creationId="{E52E714F-5EE8-4FE8-BCB8-59DBD9CB26A0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65" creationId="{8711DBEB-140F-41FD-B9EB-0DDD39C6C447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66" creationId="{96B11A7B-A9B2-4331-90B5-4EE07782F658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86" creationId="{396F8AA0-BDF8-4DBA-84E9-223ED050BEEE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287" creationId="{5C6C42DA-9986-424D-BF29-5E09C4176482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06" creationId="{E992A2EC-308D-490C-A435-7473C9D1A488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07" creationId="{DE2A3E8E-F1A4-4588-8A15-313E0670F556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09" creationId="{1DEBCC30-2BDA-4BE0-9C34-9AF4B97961A7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10" creationId="{A6066DD2-4169-4D5D-82D1-65FEFBD30F93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30" creationId="{B2FD5241-7DF3-459E-A05B-A77433AF876A}"/>
          </ac:grpSpMkLst>
        </pc:grpChg>
        <pc:grpChg chg="mod">
          <ac:chgData name="Disselhoff, Tim" userId="3b8b5473-7050-4f60-8279-e72cc8538d43" providerId="ADAL" clId="{952E53DB-5978-46BA-964C-5B55B87B6690}" dt="2021-08-16T12:34:13.582" v="59" actId="165"/>
          <ac:grpSpMkLst>
            <pc:docMk/>
            <pc:sldMk cId="1020637792" sldId="1367"/>
            <ac:grpSpMk id="331" creationId="{0BF81806-FAB6-4BC8-A3A1-7B983AB59A96}"/>
          </ac:grpSpMkLst>
        </pc:grp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4" creationId="{419302A9-1EAB-44D0-9A8C-B8BA254A1FF4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5" creationId="{C5D31BB3-E7D4-49B3-AEA7-B234B176C68E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6" creationId="{C0A3CEBE-1BE0-470F-92DB-31D74BC42461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7" creationId="{22B18F9A-52CA-4DBD-ADFF-862B4FECC0FC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8" creationId="{E5D3A9AF-B414-41F3-98B9-3F23CF1707B9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29" creationId="{33F943F0-AF0A-4E4A-B68C-C6D31D1ECCD4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30" creationId="{DB2E3063-4C91-4F5A-AFC8-DF9C6DCB02FE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31" creationId="{C72C8E0F-29A8-4DB5-A5DE-011EB8D3185E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32" creationId="{5945F2F8-D599-4F60-A753-DAE1AB0C06C8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33" creationId="{21C550AD-1E26-4E15-9D9D-DB64E5CDB215}"/>
          </ac:cxnSpMkLst>
        </pc:cxnChg>
        <pc:cxnChg chg="mod topLvl">
          <ac:chgData name="Disselhoff, Tim" userId="3b8b5473-7050-4f60-8279-e72cc8538d43" providerId="ADAL" clId="{952E53DB-5978-46BA-964C-5B55B87B6690}" dt="2021-08-16T12:34:13.582" v="59" actId="165"/>
          <ac:cxnSpMkLst>
            <pc:docMk/>
            <pc:sldMk cId="1020637792" sldId="1367"/>
            <ac:cxnSpMk id="43" creationId="{1AC0A2C5-4B94-40F9-88E2-D3C10215517A}"/>
          </ac:cxnSpMkLst>
        </pc:cxnChg>
        <pc:cxnChg chg="del mod topLvl">
          <ac:chgData name="Disselhoff, Tim" userId="3b8b5473-7050-4f60-8279-e72cc8538d43" providerId="ADAL" clId="{952E53DB-5978-46BA-964C-5B55B87B6690}" dt="2021-08-16T12:34:15.939" v="60" actId="478"/>
          <ac:cxnSpMkLst>
            <pc:docMk/>
            <pc:sldMk cId="1020637792" sldId="1367"/>
            <ac:cxnSpMk id="47" creationId="{06CA91AA-EB09-49B8-9788-D0010BD01138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7T08:16:48.891" v="6743" actId="47"/>
        <pc:sldMkLst>
          <pc:docMk/>
          <pc:sldMk cId="44874521" sldId="1368"/>
        </pc:sldMkLst>
        <pc:spChg chg="mod ord">
          <ac:chgData name="Disselhoff, Tim" userId="3b8b5473-7050-4f60-8279-e72cc8538d43" providerId="ADAL" clId="{952E53DB-5978-46BA-964C-5B55B87B6690}" dt="2021-08-16T17:50:47.740" v="2197"/>
          <ac:spMkLst>
            <pc:docMk/>
            <pc:sldMk cId="44874521" sldId="1368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6T17:50:47.741" v="2199"/>
          <ac:spMkLst>
            <pc:docMk/>
            <pc:sldMk cId="44874521" sldId="1368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6T17:50:47.742" v="2201"/>
          <ac:spMkLst>
            <pc:docMk/>
            <pc:sldMk cId="44874521" sldId="1368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6T17:50:47.742" v="2203"/>
          <ac:spMkLst>
            <pc:docMk/>
            <pc:sldMk cId="44874521" sldId="1368"/>
            <ac:spMk id="5" creationId="{FFD85F28-C617-44C3-AFDF-58763606B422}"/>
          </ac:spMkLst>
        </pc:spChg>
        <pc:spChg chg="add del">
          <ac:chgData name="Disselhoff, Tim" userId="3b8b5473-7050-4f60-8279-e72cc8538d43" providerId="ADAL" clId="{952E53DB-5978-46BA-964C-5B55B87B6690}" dt="2021-08-16T12:50:04.498" v="420" actId="478"/>
          <ac:spMkLst>
            <pc:docMk/>
            <pc:sldMk cId="44874521" sldId="1368"/>
            <ac:spMk id="6" creationId="{32991056-5B67-461F-A556-3EAAB1ED1B9E}"/>
          </ac:spMkLst>
        </pc:spChg>
        <pc:spChg chg="mod ord">
          <ac:chgData name="Disselhoff, Tim" userId="3b8b5473-7050-4f60-8279-e72cc8538d43" providerId="ADAL" clId="{952E53DB-5978-46BA-964C-5B55B87B6690}" dt="2021-08-16T17:50:47.743" v="2205"/>
          <ac:spMkLst>
            <pc:docMk/>
            <pc:sldMk cId="44874521" sldId="1368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6T17:50:47.745" v="2213"/>
          <ac:spMkLst>
            <pc:docMk/>
            <pc:sldMk cId="44874521" sldId="1368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6T17:50:47.746" v="2215"/>
          <ac:spMkLst>
            <pc:docMk/>
            <pc:sldMk cId="44874521" sldId="1368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6T17:50:47.747" v="2217"/>
          <ac:spMkLst>
            <pc:docMk/>
            <pc:sldMk cId="44874521" sldId="1368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6T17:50:47.749" v="2225"/>
          <ac:spMkLst>
            <pc:docMk/>
            <pc:sldMk cId="44874521" sldId="1368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6T17:50:47.767" v="2279"/>
          <ac:spMkLst>
            <pc:docMk/>
            <pc:sldMk cId="44874521" sldId="1368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6T17:50:47.752" v="2233"/>
          <ac:spMkLst>
            <pc:docMk/>
            <pc:sldMk cId="44874521" sldId="1368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6T17:50:47.759" v="2255"/>
          <ac:spMkLst>
            <pc:docMk/>
            <pc:sldMk cId="44874521" sldId="1368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6T17:50:47.759" v="2257"/>
          <ac:spMkLst>
            <pc:docMk/>
            <pc:sldMk cId="44874521" sldId="1368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6T17:50:47.760" v="2259"/>
          <ac:spMkLst>
            <pc:docMk/>
            <pc:sldMk cId="44874521" sldId="1368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6T17:50:47.761" v="2261"/>
          <ac:spMkLst>
            <pc:docMk/>
            <pc:sldMk cId="44874521" sldId="1368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6T17:50:47.761" v="2263"/>
          <ac:spMkLst>
            <pc:docMk/>
            <pc:sldMk cId="44874521" sldId="1368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6T17:50:47.762" v="2265"/>
          <ac:spMkLst>
            <pc:docMk/>
            <pc:sldMk cId="44874521" sldId="1368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6T17:50:47.764" v="2269"/>
          <ac:spMkLst>
            <pc:docMk/>
            <pc:sldMk cId="44874521" sldId="1368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6T17:50:47.764" v="2271"/>
          <ac:spMkLst>
            <pc:docMk/>
            <pc:sldMk cId="44874521" sldId="1368"/>
            <ac:spMk id="42" creationId="{B5D8FFB3-E6A3-42FB-A328-4EF1E0D455B8}"/>
          </ac:spMkLst>
        </pc:spChg>
        <pc:spChg chg="add del mod ord">
          <ac:chgData name="Disselhoff, Tim" userId="3b8b5473-7050-4f60-8279-e72cc8538d43" providerId="ADAL" clId="{952E53DB-5978-46BA-964C-5B55B87B6690}" dt="2021-08-16T12:55:23.653" v="968" actId="478"/>
          <ac:spMkLst>
            <pc:docMk/>
            <pc:sldMk cId="44874521" sldId="1368"/>
            <ac:spMk id="44" creationId="{6F0D9DC0-536B-47AD-A561-096E06B7BBD6}"/>
          </ac:spMkLst>
        </pc:spChg>
        <pc:spChg chg="add del mod">
          <ac:chgData name="Disselhoff, Tim" userId="3b8b5473-7050-4f60-8279-e72cc8538d43" providerId="ADAL" clId="{952E53DB-5978-46BA-964C-5B55B87B6690}" dt="2021-08-16T12:53:48.688" v="872" actId="478"/>
          <ac:spMkLst>
            <pc:docMk/>
            <pc:sldMk cId="44874521" sldId="1368"/>
            <ac:spMk id="45" creationId="{6EECDF18-49A6-4E57-A2DC-C3FAED07BB9F}"/>
          </ac:spMkLst>
        </pc:spChg>
        <pc:spChg chg="add del mod ord">
          <ac:chgData name="Disselhoff, Tim" userId="3b8b5473-7050-4f60-8279-e72cc8538d43" providerId="ADAL" clId="{952E53DB-5978-46BA-964C-5B55B87B6690}" dt="2021-08-16T12:55:52.562" v="1076" actId="478"/>
          <ac:spMkLst>
            <pc:docMk/>
            <pc:sldMk cId="44874521" sldId="1368"/>
            <ac:spMk id="46" creationId="{49822DC2-6DD5-4D18-B508-9EABAC9716C9}"/>
          </ac:spMkLst>
        </pc:spChg>
        <pc:spChg chg="add del mod ord">
          <ac:chgData name="Disselhoff, Tim" userId="3b8b5473-7050-4f60-8279-e72cc8538d43" providerId="ADAL" clId="{952E53DB-5978-46BA-964C-5B55B87B6690}" dt="2021-08-16T18:52:49.038" v="4262" actId="1076"/>
          <ac:spMkLst>
            <pc:docMk/>
            <pc:sldMk cId="44874521" sldId="1368"/>
            <ac:spMk id="47" creationId="{5553C366-34D3-4C4D-8838-66A1AE2012A0}"/>
          </ac:spMkLst>
        </pc:spChg>
        <pc:spChg chg="add mod ord">
          <ac:chgData name="Disselhoff, Tim" userId="3b8b5473-7050-4f60-8279-e72cc8538d43" providerId="ADAL" clId="{952E53DB-5978-46BA-964C-5B55B87B6690}" dt="2021-08-16T18:52:29.744" v="4260" actId="208"/>
          <ac:spMkLst>
            <pc:docMk/>
            <pc:sldMk cId="44874521" sldId="1368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6T17:50:47.765" v="2275"/>
          <ac:spMkLst>
            <pc:docMk/>
            <pc:sldMk cId="44874521" sldId="1368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6T17:50:47.735" v="2193"/>
          <ac:spMkLst>
            <pc:docMk/>
            <pc:sldMk cId="44874521" sldId="1368"/>
            <ac:spMk id="361" creationId="{216FF5D1-F5EE-4B51-AD15-F796A02CE247}"/>
          </ac:spMkLst>
        </pc:spChg>
        <pc:spChg chg="add del mod ord">
          <ac:chgData name="Disselhoff, Tim" userId="3b8b5473-7050-4f60-8279-e72cc8538d43" providerId="ADAL" clId="{952E53DB-5978-46BA-964C-5B55B87B6690}" dt="2021-08-16T12:55:33.811" v="971" actId="478"/>
          <ac:spMkLst>
            <pc:docMk/>
            <pc:sldMk cId="44874521" sldId="1368"/>
            <ac:spMk id="362" creationId="{D4B982E1-BC30-4D5F-9021-91AFD5788885}"/>
          </ac:spMkLst>
        </pc:spChg>
        <pc:spChg chg="add mod ord">
          <ac:chgData name="Disselhoff, Tim" userId="3b8b5473-7050-4f60-8279-e72cc8538d43" providerId="ADAL" clId="{952E53DB-5978-46BA-964C-5B55B87B6690}" dt="2021-08-16T17:50:47.770" v="2287"/>
          <ac:spMkLst>
            <pc:docMk/>
            <pc:sldMk cId="44874521" sldId="1368"/>
            <ac:spMk id="363" creationId="{8C64AD55-B81D-452C-9459-62982C8F010C}"/>
          </ac:spMkLst>
        </pc:spChg>
        <pc:spChg chg="mod ord">
          <ac:chgData name="Disselhoff, Tim" userId="3b8b5473-7050-4f60-8279-e72cc8538d43" providerId="ADAL" clId="{952E53DB-5978-46BA-964C-5B55B87B6690}" dt="2021-08-16T17:50:47.766" v="2277"/>
          <ac:spMkLst>
            <pc:docMk/>
            <pc:sldMk cId="44874521" sldId="1368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6T17:50:53.542" v="2299"/>
          <ac:spMkLst>
            <pc:docMk/>
            <pc:sldMk cId="44874521" sldId="1368"/>
            <ac:spMk id="367" creationId="{DE91575A-3185-DE4E-BF38-E185B82E0FCB}"/>
          </ac:spMkLst>
        </pc:spChg>
        <pc:spChg chg="add del mod">
          <ac:chgData name="Disselhoff, Tim" userId="3b8b5473-7050-4f60-8279-e72cc8538d43" providerId="ADAL" clId="{952E53DB-5978-46BA-964C-5B55B87B6690}" dt="2021-08-16T12:56:28.908" v="1081" actId="478"/>
          <ac:spMkLst>
            <pc:docMk/>
            <pc:sldMk cId="44874521" sldId="1368"/>
            <ac:spMk id="381" creationId="{A95B9E79-1686-4DCD-AF3C-98F8E4545062}"/>
          </ac:spMkLst>
        </pc:spChg>
        <pc:spChg chg="add del mod">
          <ac:chgData name="Disselhoff, Tim" userId="3b8b5473-7050-4f60-8279-e72cc8538d43" providerId="ADAL" clId="{952E53DB-5978-46BA-964C-5B55B87B6690}" dt="2021-08-16T12:56:28.908" v="1081" actId="478"/>
          <ac:spMkLst>
            <pc:docMk/>
            <pc:sldMk cId="44874521" sldId="1368"/>
            <ac:spMk id="382" creationId="{62991FBF-90BF-4FAF-BD60-024C52198A49}"/>
          </ac:spMkLst>
        </pc:spChg>
        <pc:grpChg chg="mod ord">
          <ac:chgData name="Disselhoff, Tim" userId="3b8b5473-7050-4f60-8279-e72cc8538d43" providerId="ADAL" clId="{952E53DB-5978-46BA-964C-5B55B87B6690}" dt="2021-08-16T17:50:47.743" v="2207"/>
          <ac:grpSpMkLst>
            <pc:docMk/>
            <pc:sldMk cId="44874521" sldId="1368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6T17:50:47.744" v="2209"/>
          <ac:grpSpMkLst>
            <pc:docMk/>
            <pc:sldMk cId="44874521" sldId="1368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6T17:50:47.745" v="2211"/>
          <ac:grpSpMkLst>
            <pc:docMk/>
            <pc:sldMk cId="44874521" sldId="1368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6T17:50:47.747" v="2219"/>
          <ac:grpSpMkLst>
            <pc:docMk/>
            <pc:sldMk cId="44874521" sldId="1368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6T17:50:47.748" v="2221"/>
          <ac:grpSpMkLst>
            <pc:docMk/>
            <pc:sldMk cId="44874521" sldId="1368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6T17:50:47.749" v="2223"/>
          <ac:grpSpMkLst>
            <pc:docMk/>
            <pc:sldMk cId="44874521" sldId="1368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6T17:50:47.750" v="2227"/>
          <ac:grpSpMkLst>
            <pc:docMk/>
            <pc:sldMk cId="44874521" sldId="1368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6T17:50:47.751" v="2229"/>
          <ac:grpSpMkLst>
            <pc:docMk/>
            <pc:sldMk cId="44874521" sldId="1368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6T17:50:47.752" v="2231"/>
          <ac:grpSpMkLst>
            <pc:docMk/>
            <pc:sldMk cId="44874521" sldId="1368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6T17:50:47.767" v="2280"/>
          <ac:grpSpMkLst>
            <pc:docMk/>
            <pc:sldMk cId="44874521" sldId="1368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6T17:50:47.763" v="2267"/>
          <ac:grpSpMkLst>
            <pc:docMk/>
            <pc:sldMk cId="44874521" sldId="1368"/>
            <ac:grpSpMk id="40" creationId="{37AB0EBD-FC68-47BC-BCDE-00708884834E}"/>
          </ac:grpSpMkLst>
        </pc:grpChg>
        <pc:grpChg chg="mod">
          <ac:chgData name="Disselhoff, Tim" userId="3b8b5473-7050-4f60-8279-e72cc8538d43" providerId="ADAL" clId="{952E53DB-5978-46BA-964C-5B55B87B6690}" dt="2021-08-16T17:50:47.768" v="2281"/>
          <ac:grpSpMkLst>
            <pc:docMk/>
            <pc:sldMk cId="44874521" sldId="1368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6T17:50:47.779" v="2293"/>
          <ac:graphicFrameMkLst>
            <pc:docMk/>
            <pc:sldMk cId="44874521" sldId="1368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6T17:50:47.769" v="2285"/>
          <ac:picMkLst>
            <pc:docMk/>
            <pc:sldMk cId="44874521" sldId="1368"/>
            <ac:picMk id="379" creationId="{7100A991-7A62-4038-B790-C800CC86B1E6}"/>
          </ac:picMkLst>
        </pc:picChg>
        <pc:picChg chg="add mod ord">
          <ac:chgData name="Disselhoff, Tim" userId="3b8b5473-7050-4f60-8279-e72cc8538d43" providerId="ADAL" clId="{952E53DB-5978-46BA-964C-5B55B87B6690}" dt="2021-08-16T17:50:47.771" v="2291"/>
          <ac:picMkLst>
            <pc:docMk/>
            <pc:sldMk cId="44874521" sldId="1368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6T17:50:47.753" v="2235"/>
          <ac:cxnSpMkLst>
            <pc:docMk/>
            <pc:sldMk cId="44874521" sldId="1368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6T17:50:47.753" v="2237"/>
          <ac:cxnSpMkLst>
            <pc:docMk/>
            <pc:sldMk cId="44874521" sldId="1368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6T17:50:47.754" v="2239"/>
          <ac:cxnSpMkLst>
            <pc:docMk/>
            <pc:sldMk cId="44874521" sldId="1368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6T17:50:47.754" v="2241"/>
          <ac:cxnSpMkLst>
            <pc:docMk/>
            <pc:sldMk cId="44874521" sldId="1368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6T17:50:47.755" v="2243"/>
          <ac:cxnSpMkLst>
            <pc:docMk/>
            <pc:sldMk cId="44874521" sldId="1368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6T17:50:47.756" v="2245"/>
          <ac:cxnSpMkLst>
            <pc:docMk/>
            <pc:sldMk cId="44874521" sldId="1368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6T17:50:47.756" v="2247"/>
          <ac:cxnSpMkLst>
            <pc:docMk/>
            <pc:sldMk cId="44874521" sldId="1368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6T17:50:47.757" v="2249"/>
          <ac:cxnSpMkLst>
            <pc:docMk/>
            <pc:sldMk cId="44874521" sldId="1368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6T17:50:47.757" v="2251"/>
          <ac:cxnSpMkLst>
            <pc:docMk/>
            <pc:sldMk cId="44874521" sldId="1368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6T17:50:47.758" v="2253"/>
          <ac:cxnSpMkLst>
            <pc:docMk/>
            <pc:sldMk cId="44874521" sldId="1368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6T17:50:47.765" v="2273"/>
          <ac:cxnSpMkLst>
            <pc:docMk/>
            <pc:sldMk cId="44874521" sldId="1368"/>
            <ac:cxnSpMk id="43" creationId="{1AC0A2C5-4B94-40F9-88E2-D3C10215517A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7T08:13:13.517" v="6736" actId="47"/>
        <pc:sldMkLst>
          <pc:docMk/>
          <pc:sldMk cId="2189507063" sldId="1369"/>
        </pc:sldMkLst>
        <pc:spChg chg="add mod">
          <ac:chgData name="Disselhoff, Tim" userId="3b8b5473-7050-4f60-8279-e72cc8538d43" providerId="ADAL" clId="{952E53DB-5978-46BA-964C-5B55B87B6690}" dt="2021-08-16T13:00:39.547" v="1332" actId="207"/>
          <ac:spMkLst>
            <pc:docMk/>
            <pc:sldMk cId="2189507063" sldId="1369"/>
            <ac:spMk id="6" creationId="{617B87C8-AC4B-4E07-8077-BC73B51AA47D}"/>
          </ac:spMkLst>
        </pc:spChg>
        <pc:spChg chg="mod">
          <ac:chgData name="Disselhoff, Tim" userId="3b8b5473-7050-4f60-8279-e72cc8538d43" providerId="ADAL" clId="{952E53DB-5978-46BA-964C-5B55B87B6690}" dt="2021-08-16T12:56:40.128" v="1083" actId="14100"/>
          <ac:spMkLst>
            <pc:docMk/>
            <pc:sldMk cId="2189507063" sldId="1369"/>
            <ac:spMk id="47" creationId="{5553C366-34D3-4C4D-8838-66A1AE2012A0}"/>
          </ac:spMkLst>
        </pc:spChg>
        <pc:spChg chg="add del mod">
          <ac:chgData name="Disselhoff, Tim" userId="3b8b5473-7050-4f60-8279-e72cc8538d43" providerId="ADAL" clId="{952E53DB-5978-46BA-964C-5B55B87B6690}" dt="2021-08-16T12:57:37.135" v="1100" actId="478"/>
          <ac:spMkLst>
            <pc:docMk/>
            <pc:sldMk cId="2189507063" sldId="1369"/>
            <ac:spMk id="362" creationId="{245ECDD9-275C-4AF2-85C1-E4A7ABB07348}"/>
          </ac:spMkLst>
        </pc:spChg>
        <pc:spChg chg="mod">
          <ac:chgData name="Disselhoff, Tim" userId="3b8b5473-7050-4f60-8279-e72cc8538d43" providerId="ADAL" clId="{952E53DB-5978-46BA-964C-5B55B87B6690}" dt="2021-08-16T12:56:40.128" v="1083" actId="14100"/>
          <ac:spMkLst>
            <pc:docMk/>
            <pc:sldMk cId="2189507063" sldId="1369"/>
            <ac:spMk id="363" creationId="{8C64AD55-B81D-452C-9459-62982C8F010C}"/>
          </ac:spMkLst>
        </pc:spChg>
        <pc:spChg chg="add mod">
          <ac:chgData name="Disselhoff, Tim" userId="3b8b5473-7050-4f60-8279-e72cc8538d43" providerId="ADAL" clId="{952E53DB-5978-46BA-964C-5B55B87B6690}" dt="2021-08-16T12:59:17.671" v="1121" actId="571"/>
          <ac:spMkLst>
            <pc:docMk/>
            <pc:sldMk cId="2189507063" sldId="1369"/>
            <ac:spMk id="381" creationId="{A7231931-209F-42F1-A813-05AEA0E7EC4C}"/>
          </ac:spMkLst>
        </pc:spChg>
        <pc:spChg chg="add mod">
          <ac:chgData name="Disselhoff, Tim" userId="3b8b5473-7050-4f60-8279-e72cc8538d43" providerId="ADAL" clId="{952E53DB-5978-46BA-964C-5B55B87B6690}" dt="2021-08-16T12:59:17.671" v="1121" actId="571"/>
          <ac:spMkLst>
            <pc:docMk/>
            <pc:sldMk cId="2189507063" sldId="1369"/>
            <ac:spMk id="382" creationId="{42C3A3E5-3D51-4523-8A5D-BE2EC5427A15}"/>
          </ac:spMkLst>
        </pc:spChg>
        <pc:spChg chg="add mod">
          <ac:chgData name="Disselhoff, Tim" userId="3b8b5473-7050-4f60-8279-e72cc8538d43" providerId="ADAL" clId="{952E53DB-5978-46BA-964C-5B55B87B6690}" dt="2021-08-16T12:59:17.671" v="1121" actId="571"/>
          <ac:spMkLst>
            <pc:docMk/>
            <pc:sldMk cId="2189507063" sldId="1369"/>
            <ac:spMk id="383" creationId="{18724AD7-0EEE-48BC-BE8C-F53A4CE3ED84}"/>
          </ac:spMkLst>
        </pc:spChg>
      </pc:sldChg>
      <pc:sldChg chg="addSp new add del mod">
        <pc:chgData name="Disselhoff, Tim" userId="3b8b5473-7050-4f60-8279-e72cc8538d43" providerId="ADAL" clId="{952E53DB-5978-46BA-964C-5B55B87B6690}" dt="2021-08-17T08:13:13.517" v="6736" actId="47"/>
        <pc:sldMkLst>
          <pc:docMk/>
          <pc:sldMk cId="3174757964" sldId="1370"/>
        </pc:sldMkLst>
        <pc:spChg chg="add">
          <ac:chgData name="Disselhoff, Tim" userId="3b8b5473-7050-4f60-8279-e72cc8538d43" providerId="ADAL" clId="{952E53DB-5978-46BA-964C-5B55B87B6690}" dt="2021-08-16T13:46:58.888" v="1339" actId="11529"/>
          <ac:spMkLst>
            <pc:docMk/>
            <pc:sldMk cId="3174757964" sldId="1370"/>
            <ac:spMk id="6" creationId="{252A673E-7007-41B1-A019-99A0AC9C4408}"/>
          </ac:spMkLst>
        </pc:spChg>
      </pc:sldChg>
      <pc:sldChg chg="addSp delSp modSp add del mod">
        <pc:chgData name="Disselhoff, Tim" userId="3b8b5473-7050-4f60-8279-e72cc8538d43" providerId="ADAL" clId="{952E53DB-5978-46BA-964C-5B55B87B6690}" dt="2021-08-16T18:46:49.239" v="4166" actId="47"/>
        <pc:sldMkLst>
          <pc:docMk/>
          <pc:sldMk cId="4222619347" sldId="1371"/>
        </pc:sldMkLst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96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0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03" creationId="{DE91575A-3185-DE4E-BF38-E185B82E0FCB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08" creationId="{1419349C-1B3C-4499-96A3-EA2ED2A15445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09" creationId="{E2CA6613-B34E-449E-B8A6-B163FE1D51F6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10" creationId="{81BFF42D-EA25-4C9B-8992-B01CFC8108E5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11" creationId="{6B8B2A17-08C6-4E93-978A-B923D32902FC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12" creationId="{76EF5257-C97B-4B9D-96DB-DBCEA1D3CED6}"/>
          </ac:spMkLst>
        </pc:spChg>
        <pc:spChg chg="mod topLvl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15" creationId="{6C3C999F-094D-4374-B8D9-991B45D4881A}"/>
          </ac:spMkLst>
        </pc:spChg>
        <pc:spChg chg="mod topLvl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16" creationId="{8226A6D4-DC70-477B-97AC-F0278AADD6BD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17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17" creationId="{AF74C182-2BD9-409C-B5F0-7506A39DDCED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18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18" creationId="{C0DBCA61-8F39-499E-A316-68A14AFECE0B}"/>
          </ac:spMkLst>
        </pc:spChg>
        <pc:spChg chg="mod topLvl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19" creationId="{C71D2E33-B7A0-43BF-8CC6-B9B2DAE5F69E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0" creationId="{1387A79F-D920-4771-A7EC-4075F1444287}"/>
          </ac:spMkLst>
        </pc:spChg>
        <pc:spChg chg="del mod">
          <ac:chgData name="Disselhoff, Tim" userId="3b8b5473-7050-4f60-8279-e72cc8538d43" providerId="ADAL" clId="{952E53DB-5978-46BA-964C-5B55B87B6690}" dt="2021-08-16T13:47:49.620" v="1343" actId="478"/>
          <ac:spMkLst>
            <pc:docMk/>
            <pc:sldMk cId="4222619347" sldId="1371"/>
            <ac:spMk id="121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1" creationId="{D5D9FAC4-20BF-48F5-97CA-F06B52932416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22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2" creationId="{F6889D77-5012-400F-B65A-E9B96E10A4FF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3" creationId="{68352C37-A5C0-4A7E-B627-FC1F1089F579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24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4" creationId="{CA9C2358-00C8-4462-A27E-7A6BFA868868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25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5" creationId="{CAEBDC9C-9798-4F0A-8869-63FCE94EA6F6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27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7" creationId="{DA82A812-7EA9-4465-A8FC-36E46F83578C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28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28" creationId="{317FC3FF-4344-4488-B48F-DF261B49F009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41" creationId="{D9F489AA-F9FB-43AE-8C4A-A1160C6332E7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44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44" creationId="{08747D37-5627-4F68-9490-E413140492A5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45" creationId="{C471605E-BF16-4F11-A1CC-C23AD6C057BE}"/>
          </ac:spMkLst>
        </pc:spChg>
        <pc:spChg chg="mod topLvl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49" creationId="{1FFBF7AE-BBC5-4D10-A8B1-CB0F069BEF07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49" creationId="{7FA3F2B3-2136-40C2-A032-347215914C98}"/>
          </ac:spMkLst>
        </pc:spChg>
        <pc:spChg chg="mod">
          <ac:chgData name="Disselhoff, Tim" userId="3b8b5473-7050-4f60-8279-e72cc8538d43" providerId="ADAL" clId="{952E53DB-5978-46BA-964C-5B55B87B6690}" dt="2021-08-16T18:17:37.809" v="2798" actId="1035"/>
          <ac:spMkLst>
            <pc:docMk/>
            <pc:sldMk cId="4222619347" sldId="1371"/>
            <ac:spMk id="15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5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5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5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54" creationId="{7FA3F2B3-2136-40C2-A032-347215914C98}"/>
          </ac:spMkLst>
        </pc:spChg>
        <pc:spChg chg="mod">
          <ac:chgData name="Disselhoff, Tim" userId="3b8b5473-7050-4f60-8279-e72cc8538d43" providerId="ADAL" clId="{952E53DB-5978-46BA-964C-5B55B87B6690}" dt="2021-08-16T18:17:37.809" v="2798" actId="1035"/>
          <ac:spMkLst>
            <pc:docMk/>
            <pc:sldMk cId="4222619347" sldId="1371"/>
            <ac:spMk id="15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17:37.809" v="2798" actId="1035"/>
          <ac:spMkLst>
            <pc:docMk/>
            <pc:sldMk cId="4222619347" sldId="1371"/>
            <ac:spMk id="160" creationId="{64A57928-816B-4976-B585-A9C048606AEA}"/>
          </ac:spMkLst>
        </pc:spChg>
        <pc:spChg chg="mod">
          <ac:chgData name="Disselhoff, Tim" userId="3b8b5473-7050-4f60-8279-e72cc8538d43" providerId="ADAL" clId="{952E53DB-5978-46BA-964C-5B55B87B6690}" dt="2021-08-16T18:17:37.809" v="2798" actId="1035"/>
          <ac:spMkLst>
            <pc:docMk/>
            <pc:sldMk cId="4222619347" sldId="1371"/>
            <ac:spMk id="164" creationId="{4FA9A248-47BB-4844-AA4A-447F962FAD93}"/>
          </ac:spMkLst>
        </pc:spChg>
        <pc:spChg chg="mod">
          <ac:chgData name="Disselhoff, Tim" userId="3b8b5473-7050-4f60-8279-e72cc8538d43" providerId="ADAL" clId="{952E53DB-5978-46BA-964C-5B55B87B6690}" dt="2021-08-16T18:17:37.809" v="2798" actId="1035"/>
          <ac:spMkLst>
            <pc:docMk/>
            <pc:sldMk cId="4222619347" sldId="1371"/>
            <ac:spMk id="165" creationId="{03E15C81-8D8D-4A1C-8BF0-94417714253D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6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66" creationId="{6B318EBE-1110-417F-B8D8-8AD39CAE8EC0}"/>
          </ac:spMkLst>
        </pc:spChg>
        <pc:spChg chg="mod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67" creationId="{54CDE078-6264-4AC3-9F5F-46AB22E74939}"/>
          </ac:spMkLst>
        </pc:spChg>
        <pc:spChg chg="mod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68" creationId="{4BD08788-2802-423F-AAAC-2E6151CD44C2}"/>
          </ac:spMkLst>
        </pc:spChg>
        <pc:spChg chg="mod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69" creationId="{1127AF90-069F-437D-92CD-D946DD044BD9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7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7:55.671" v="2589" actId="165"/>
          <ac:spMkLst>
            <pc:docMk/>
            <pc:sldMk cId="4222619347" sldId="1371"/>
            <ac:spMk id="170" creationId="{C28A5F5C-4FBF-467C-A2A8-68959BCFEF3E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71" creationId="{DE91575A-3185-DE4E-BF38-E185B82E0FCB}"/>
          </ac:spMkLst>
        </pc:spChg>
        <pc:spChg chg="add del mod">
          <ac:chgData name="Disselhoff, Tim" userId="3b8b5473-7050-4f60-8279-e72cc8538d43" providerId="ADAL" clId="{952E53DB-5978-46BA-964C-5B55B87B6690}" dt="2021-08-16T18:08:09.857" v="2593"/>
          <ac:spMkLst>
            <pc:docMk/>
            <pc:sldMk cId="4222619347" sldId="1371"/>
            <ac:spMk id="171" creationId="{FFCA18B6-E5D7-4C9B-B13E-36D6115EF4AA}"/>
          </ac:spMkLst>
        </pc:spChg>
        <pc:spChg chg="add del mod">
          <ac:chgData name="Disselhoff, Tim" userId="3b8b5473-7050-4f60-8279-e72cc8538d43" providerId="ADAL" clId="{952E53DB-5978-46BA-964C-5B55B87B6690}" dt="2021-08-16T18:08:09.857" v="2593"/>
          <ac:spMkLst>
            <pc:docMk/>
            <pc:sldMk cId="4222619347" sldId="1371"/>
            <ac:spMk id="172" creationId="{43FC9FCC-AECF-4AAF-87E3-093DBF2F3864}"/>
          </ac:spMkLst>
        </pc:spChg>
        <pc:spChg chg="add del mod">
          <ac:chgData name="Disselhoff, Tim" userId="3b8b5473-7050-4f60-8279-e72cc8538d43" providerId="ADAL" clId="{952E53DB-5978-46BA-964C-5B55B87B6690}" dt="2021-08-16T18:08:09.857" v="2593"/>
          <ac:spMkLst>
            <pc:docMk/>
            <pc:sldMk cId="4222619347" sldId="1371"/>
            <ac:spMk id="173" creationId="{D36155F4-4C1B-46DC-8F60-0CA6B8B00166}"/>
          </ac:spMkLst>
        </pc:spChg>
        <pc:spChg chg="add del mod">
          <ac:chgData name="Disselhoff, Tim" userId="3b8b5473-7050-4f60-8279-e72cc8538d43" providerId="ADAL" clId="{952E53DB-5978-46BA-964C-5B55B87B6690}" dt="2021-08-16T18:08:09.857" v="2593"/>
          <ac:spMkLst>
            <pc:docMk/>
            <pc:sldMk cId="4222619347" sldId="1371"/>
            <ac:spMk id="174" creationId="{CECC991B-CF64-4D0E-857B-A8A8B575383E}"/>
          </ac:spMkLst>
        </pc:spChg>
        <pc:spChg chg="add del mod">
          <ac:chgData name="Disselhoff, Tim" userId="3b8b5473-7050-4f60-8279-e72cc8538d43" providerId="ADAL" clId="{952E53DB-5978-46BA-964C-5B55B87B6690}" dt="2021-08-16T18:08:09.857" v="2593"/>
          <ac:spMkLst>
            <pc:docMk/>
            <pc:sldMk cId="4222619347" sldId="1371"/>
            <ac:spMk id="175" creationId="{E022EA8C-5DEA-43F2-B684-26F94235ACCC}"/>
          </ac:spMkLst>
        </pc:spChg>
        <pc:spChg chg="del mod">
          <ac:chgData name="Disselhoff, Tim" userId="3b8b5473-7050-4f60-8279-e72cc8538d43" providerId="ADAL" clId="{952E53DB-5978-46BA-964C-5B55B87B6690}" dt="2021-08-16T18:08:44.799" v="2596" actId="478"/>
          <ac:spMkLst>
            <pc:docMk/>
            <pc:sldMk cId="4222619347" sldId="1371"/>
            <ac:spMk id="177" creationId="{04CB08D4-20BA-435C-A3CA-BAB1325836A2}"/>
          </ac:spMkLst>
        </pc:spChg>
        <pc:spChg chg="del mod">
          <ac:chgData name="Disselhoff, Tim" userId="3b8b5473-7050-4f60-8279-e72cc8538d43" providerId="ADAL" clId="{952E53DB-5978-46BA-964C-5B55B87B6690}" dt="2021-08-16T18:08:44.799" v="2596" actId="478"/>
          <ac:spMkLst>
            <pc:docMk/>
            <pc:sldMk cId="4222619347" sldId="1371"/>
            <ac:spMk id="178" creationId="{253206DF-3455-4C22-B080-1D3268AC7E3B}"/>
          </ac:spMkLst>
        </pc:spChg>
        <pc:spChg chg="del mod">
          <ac:chgData name="Disselhoff, Tim" userId="3b8b5473-7050-4f60-8279-e72cc8538d43" providerId="ADAL" clId="{952E53DB-5978-46BA-964C-5B55B87B6690}" dt="2021-08-16T18:08:44.799" v="2596" actId="478"/>
          <ac:spMkLst>
            <pc:docMk/>
            <pc:sldMk cId="4222619347" sldId="1371"/>
            <ac:spMk id="179" creationId="{2F4DD2FC-021E-4245-AE50-3F6204953AC0}"/>
          </ac:spMkLst>
        </pc:spChg>
        <pc:spChg chg="mod topLvl">
          <ac:chgData name="Disselhoff, Tim" userId="3b8b5473-7050-4f60-8279-e72cc8538d43" providerId="ADAL" clId="{952E53DB-5978-46BA-964C-5B55B87B6690}" dt="2021-08-16T18:08:48.807" v="2597" actId="478"/>
          <ac:spMkLst>
            <pc:docMk/>
            <pc:sldMk cId="4222619347" sldId="1371"/>
            <ac:spMk id="180" creationId="{BAD30046-7915-4EA7-A57E-8F590811842F}"/>
          </ac:spMkLst>
        </pc:spChg>
        <pc:spChg chg="del">
          <ac:chgData name="Disselhoff, Tim" userId="3b8b5473-7050-4f60-8279-e72cc8538d43" providerId="ADAL" clId="{952E53DB-5978-46BA-964C-5B55B87B6690}" dt="2021-08-16T13:47:46.139" v="1341" actId="478"/>
          <ac:spMkLst>
            <pc:docMk/>
            <pc:sldMk cId="4222619347" sldId="1371"/>
            <ac:spMk id="183" creationId="{00000000-0000-0000-0000-000000000000}"/>
          </ac:spMkLst>
        </pc:spChg>
        <pc:spChg chg="del mod topLvl">
          <ac:chgData name="Disselhoff, Tim" userId="3b8b5473-7050-4f60-8279-e72cc8538d43" providerId="ADAL" clId="{952E53DB-5978-46BA-964C-5B55B87B6690}" dt="2021-08-16T18:08:48.807" v="2597" actId="478"/>
          <ac:spMkLst>
            <pc:docMk/>
            <pc:sldMk cId="4222619347" sldId="1371"/>
            <ac:spMk id="183" creationId="{B4931009-A447-4B5B-BF78-313EBD8BC7E0}"/>
          </ac:spMkLst>
        </pc:spChg>
        <pc:spChg chg="add mod">
          <ac:chgData name="Disselhoff, Tim" userId="3b8b5473-7050-4f60-8279-e72cc8538d43" providerId="ADAL" clId="{952E53DB-5978-46BA-964C-5B55B87B6690}" dt="2021-08-16T18:08:31.801" v="2595" actId="1076"/>
          <ac:spMkLst>
            <pc:docMk/>
            <pc:sldMk cId="4222619347" sldId="1371"/>
            <ac:spMk id="184" creationId="{4FB4740E-9E56-403A-BB6B-1A4FEBF0A263}"/>
          </ac:spMkLst>
        </pc:spChg>
        <pc:spChg chg="add mod">
          <ac:chgData name="Disselhoff, Tim" userId="3b8b5473-7050-4f60-8279-e72cc8538d43" providerId="ADAL" clId="{952E53DB-5978-46BA-964C-5B55B87B6690}" dt="2021-08-16T18:09:06.051" v="2599" actId="255"/>
          <ac:spMkLst>
            <pc:docMk/>
            <pc:sldMk cId="4222619347" sldId="1371"/>
            <ac:spMk id="185" creationId="{00FEB538-A771-4509-9DAC-2B1895E62C5D}"/>
          </ac:spMkLst>
        </pc:spChg>
        <pc:spChg chg="add mod">
          <ac:chgData name="Disselhoff, Tim" userId="3b8b5473-7050-4f60-8279-e72cc8538d43" providerId="ADAL" clId="{952E53DB-5978-46BA-964C-5B55B87B6690}" dt="2021-08-16T18:08:31.801" v="2595" actId="1076"/>
          <ac:spMkLst>
            <pc:docMk/>
            <pc:sldMk cId="4222619347" sldId="1371"/>
            <ac:spMk id="186" creationId="{5FC45AA5-3669-46B6-9D0A-9D66303FCCE1}"/>
          </ac:spMkLst>
        </pc:spChg>
        <pc:spChg chg="add mod">
          <ac:chgData name="Disselhoff, Tim" userId="3b8b5473-7050-4f60-8279-e72cc8538d43" providerId="ADAL" clId="{952E53DB-5978-46BA-964C-5B55B87B6690}" dt="2021-08-16T18:08:31.801" v="2595" actId="1076"/>
          <ac:spMkLst>
            <pc:docMk/>
            <pc:sldMk cId="4222619347" sldId="1371"/>
            <ac:spMk id="187" creationId="{17243066-D39A-4763-AA3B-A1380B24C03F}"/>
          </ac:spMkLst>
        </pc:spChg>
        <pc:spChg chg="add mod">
          <ac:chgData name="Disselhoff, Tim" userId="3b8b5473-7050-4f60-8279-e72cc8538d43" providerId="ADAL" clId="{952E53DB-5978-46BA-964C-5B55B87B6690}" dt="2021-08-16T18:08:31.801" v="2595" actId="1076"/>
          <ac:spMkLst>
            <pc:docMk/>
            <pc:sldMk cId="4222619347" sldId="1371"/>
            <ac:spMk id="188" creationId="{53FCBFF9-F3E6-48E7-913D-0F8043B07B6E}"/>
          </ac:spMkLst>
        </pc:spChg>
        <pc:grpChg chg="add del mod">
          <ac:chgData name="Disselhoff, Tim" userId="3b8b5473-7050-4f60-8279-e72cc8538d43" providerId="ADAL" clId="{952E53DB-5978-46BA-964C-5B55B87B6690}" dt="2021-08-16T18:07:55.671" v="2589" actId="165"/>
          <ac:grpSpMkLst>
            <pc:docMk/>
            <pc:sldMk cId="4222619347" sldId="1371"/>
            <ac:grpSpMk id="106" creationId="{84BDF9AA-FBB8-40C6-8094-67FC49429961}"/>
          </ac:grpSpMkLst>
        </pc:grpChg>
        <pc:grpChg chg="mod topLvl">
          <ac:chgData name="Disselhoff, Tim" userId="3b8b5473-7050-4f60-8279-e72cc8538d43" providerId="ADAL" clId="{952E53DB-5978-46BA-964C-5B55B87B6690}" dt="2021-08-16T18:07:55.671" v="2589" actId="165"/>
          <ac:grpSpMkLst>
            <pc:docMk/>
            <pc:sldMk cId="4222619347" sldId="1371"/>
            <ac:grpSpMk id="107" creationId="{D21F3520-F761-494C-82F9-B46CF24B1EF4}"/>
          </ac:grpSpMkLst>
        </pc:grpChg>
        <pc:grpChg chg="mod topLvl">
          <ac:chgData name="Disselhoff, Tim" userId="3b8b5473-7050-4f60-8279-e72cc8538d43" providerId="ADAL" clId="{952E53DB-5978-46BA-964C-5B55B87B6690}" dt="2021-08-16T18:07:55.671" v="2589" actId="165"/>
          <ac:grpSpMkLst>
            <pc:docMk/>
            <pc:sldMk cId="4222619347" sldId="1371"/>
            <ac:grpSpMk id="113" creationId="{91239DD2-A7C1-45E5-97E2-4CD3D0E5CCBA}"/>
          </ac:grpSpMkLst>
        </pc:grpChg>
        <pc:grpChg chg="mod topLvl">
          <ac:chgData name="Disselhoff, Tim" userId="3b8b5473-7050-4f60-8279-e72cc8538d43" providerId="ADAL" clId="{952E53DB-5978-46BA-964C-5B55B87B6690}" dt="2021-08-16T18:07:55.671" v="2589" actId="165"/>
          <ac:grpSpMkLst>
            <pc:docMk/>
            <pc:sldMk cId="4222619347" sldId="1371"/>
            <ac:grpSpMk id="114" creationId="{B6652F22-D254-4E89-BE26-34B1035932B9}"/>
          </ac:grpSpMkLst>
        </pc:grpChg>
        <pc:grpChg chg="mod">
          <ac:chgData name="Disselhoff, Tim" userId="3b8b5473-7050-4f60-8279-e72cc8538d43" providerId="ADAL" clId="{952E53DB-5978-46BA-964C-5B55B87B6690}" dt="2021-08-16T18:17:37.809" v="2798" actId="1035"/>
          <ac:grpSpMkLst>
            <pc:docMk/>
            <pc:sldMk cId="4222619347" sldId="1371"/>
            <ac:grpSpMk id="163" creationId="{6C80F524-E51F-4F8C-B8E9-4DAC6CACD614}"/>
          </ac:grpSpMkLst>
        </pc:grpChg>
        <pc:grpChg chg="del">
          <ac:chgData name="Disselhoff, Tim" userId="3b8b5473-7050-4f60-8279-e72cc8538d43" providerId="ADAL" clId="{952E53DB-5978-46BA-964C-5B55B87B6690}" dt="2021-08-16T13:47:46.139" v="1341" actId="478"/>
          <ac:grpSpMkLst>
            <pc:docMk/>
            <pc:sldMk cId="4222619347" sldId="1371"/>
            <ac:grpSpMk id="167" creationId="{BA6A66C4-6846-1943-B1EE-DB85329D95BB}"/>
          </ac:grpSpMkLst>
        </pc:grpChg>
        <pc:grpChg chg="del">
          <ac:chgData name="Disselhoff, Tim" userId="3b8b5473-7050-4f60-8279-e72cc8538d43" providerId="ADAL" clId="{952E53DB-5978-46BA-964C-5B55B87B6690}" dt="2021-08-16T13:47:46.139" v="1341" actId="478"/>
          <ac:grpSpMkLst>
            <pc:docMk/>
            <pc:sldMk cId="4222619347" sldId="1371"/>
            <ac:grpSpMk id="172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3:47:46.139" v="1341" actId="478"/>
          <ac:grpSpMkLst>
            <pc:docMk/>
            <pc:sldMk cId="4222619347" sldId="1371"/>
            <ac:grpSpMk id="175" creationId="{00000000-0000-0000-0000-000000000000}"/>
          </ac:grpSpMkLst>
        </pc:grpChg>
        <pc:grpChg chg="add del mod">
          <ac:chgData name="Disselhoff, Tim" userId="3b8b5473-7050-4f60-8279-e72cc8538d43" providerId="ADAL" clId="{952E53DB-5978-46BA-964C-5B55B87B6690}" dt="2021-08-16T18:08:48.807" v="2597" actId="478"/>
          <ac:grpSpMkLst>
            <pc:docMk/>
            <pc:sldMk cId="4222619347" sldId="1371"/>
            <ac:grpSpMk id="176" creationId="{E5A269ED-B106-4127-B43D-D2EA58098905}"/>
          </ac:grpSpMkLst>
        </pc:grpChg>
        <pc:grpChg chg="del">
          <ac:chgData name="Disselhoff, Tim" userId="3b8b5473-7050-4f60-8279-e72cc8538d43" providerId="ADAL" clId="{952E53DB-5978-46BA-964C-5B55B87B6690}" dt="2021-08-16T13:47:46.139" v="1341" actId="478"/>
          <ac:grpSpMkLst>
            <pc:docMk/>
            <pc:sldMk cId="4222619347" sldId="1371"/>
            <ac:grpSpMk id="178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3:47:46.139" v="1341" actId="478"/>
          <ac:grpSpMkLst>
            <pc:docMk/>
            <pc:sldMk cId="4222619347" sldId="1371"/>
            <ac:grpSpMk id="184" creationId="{00000000-0000-0000-0000-000000000000}"/>
          </ac:grpSpMkLst>
        </pc:grpChg>
        <pc:cxnChg chg="mod">
          <ac:chgData name="Disselhoff, Tim" userId="3b8b5473-7050-4f60-8279-e72cc8538d43" providerId="ADAL" clId="{952E53DB-5978-46BA-964C-5B55B87B6690}" dt="2021-08-16T18:07:55.671" v="2589" actId="165"/>
          <ac:cxnSpMkLst>
            <pc:docMk/>
            <pc:sldMk cId="4222619347" sldId="1371"/>
            <ac:cxnSpMk id="151" creationId="{6DD77685-3EF4-4DAE-9869-DB72C2FFDADD}"/>
          </ac:cxnSpMkLst>
        </pc:cxnChg>
        <pc:cxnChg chg="mod">
          <ac:chgData name="Disselhoff, Tim" userId="3b8b5473-7050-4f60-8279-e72cc8538d43" providerId="ADAL" clId="{952E53DB-5978-46BA-964C-5B55B87B6690}" dt="2021-08-16T18:07:55.671" v="2589" actId="165"/>
          <ac:cxnSpMkLst>
            <pc:docMk/>
            <pc:sldMk cId="4222619347" sldId="1371"/>
            <ac:cxnSpMk id="152" creationId="{A11FCEFD-764F-4EA3-A27A-E19BA690FE07}"/>
          </ac:cxnSpMkLst>
        </pc:cxnChg>
        <pc:cxnChg chg="mod">
          <ac:chgData name="Disselhoff, Tim" userId="3b8b5473-7050-4f60-8279-e72cc8538d43" providerId="ADAL" clId="{952E53DB-5978-46BA-964C-5B55B87B6690}" dt="2021-08-16T18:07:55.671" v="2589" actId="165"/>
          <ac:cxnSpMkLst>
            <pc:docMk/>
            <pc:sldMk cId="4222619347" sldId="1371"/>
            <ac:cxnSpMk id="153" creationId="{44CBD93C-EB8A-405B-B891-6FD0099BBF6E}"/>
          </ac:cxnSpMkLst>
        </pc:cxnChg>
        <pc:cxnChg chg="mod">
          <ac:chgData name="Disselhoff, Tim" userId="3b8b5473-7050-4f60-8279-e72cc8538d43" providerId="ADAL" clId="{952E53DB-5978-46BA-964C-5B55B87B6690}" dt="2021-08-16T18:07:55.671" v="2589" actId="165"/>
          <ac:cxnSpMkLst>
            <pc:docMk/>
            <pc:sldMk cId="4222619347" sldId="1371"/>
            <ac:cxnSpMk id="154" creationId="{A14891E7-CB38-4904-8B97-AB332BB06EAC}"/>
          </ac:cxnSpMkLst>
        </pc:cxnChg>
        <pc:cxnChg chg="mod">
          <ac:chgData name="Disselhoff, Tim" userId="3b8b5473-7050-4f60-8279-e72cc8538d43" providerId="ADAL" clId="{952E53DB-5978-46BA-964C-5B55B87B6690}" dt="2021-08-16T18:07:55.671" v="2589" actId="165"/>
          <ac:cxnSpMkLst>
            <pc:docMk/>
            <pc:sldMk cId="4222619347" sldId="1371"/>
            <ac:cxnSpMk id="157" creationId="{5B93908D-4B2B-40CA-9C57-E9E23851F349}"/>
          </ac:cxnSpMkLst>
        </pc:cxnChg>
        <pc:cxnChg chg="mod">
          <ac:chgData name="Disselhoff, Tim" userId="3b8b5473-7050-4f60-8279-e72cc8538d43" providerId="ADAL" clId="{952E53DB-5978-46BA-964C-5B55B87B6690}" dt="2021-08-16T18:17:37.809" v="2798" actId="1035"/>
          <ac:cxnSpMkLst>
            <pc:docMk/>
            <pc:sldMk cId="4222619347" sldId="1371"/>
            <ac:cxnSpMk id="158" creationId="{00000000-0000-0000-0000-000000000000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6T18:48:39.470" v="4169" actId="47"/>
        <pc:sldMkLst>
          <pc:docMk/>
          <pc:sldMk cId="512127275" sldId="1372"/>
        </pc:sldMkLst>
        <pc:spChg chg="add mod">
          <ac:chgData name="Disselhoff, Tim" userId="3b8b5473-7050-4f60-8279-e72cc8538d43" providerId="ADAL" clId="{952E53DB-5978-46BA-964C-5B55B87B6690}" dt="2021-08-16T13:50:04.824" v="1548" actId="14100"/>
          <ac:spMkLst>
            <pc:docMk/>
            <pc:sldMk cId="512127275" sldId="1372"/>
            <ac:spMk id="4" creationId="{D7F0B78A-A484-4A2F-AAE6-0A8D490610CD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95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97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0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01" creationId="{DE91575A-3185-DE4E-BF38-E185B82E0FCB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2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29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4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5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37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8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3:48:34.867" v="1391" actId="478"/>
          <ac:spMkLst>
            <pc:docMk/>
            <pc:sldMk cId="512127275" sldId="1372"/>
            <ac:spMk id="182" creationId="{DE91575A-3185-DE4E-BF38-E185B82E0FCB}"/>
          </ac:spMkLst>
        </pc:spChg>
        <pc:grpChg chg="del">
          <ac:chgData name="Disselhoff, Tim" userId="3b8b5473-7050-4f60-8279-e72cc8538d43" providerId="ADAL" clId="{952E53DB-5978-46BA-964C-5B55B87B6690}" dt="2021-08-16T13:48:34.867" v="1391" actId="478"/>
          <ac:grpSpMkLst>
            <pc:docMk/>
            <pc:sldMk cId="512127275" sldId="1372"/>
            <ac:grpSpMk id="15" creationId="{D0D40451-B4D6-4DB8-BF00-CBAA8AC7D6DE}"/>
          </ac:grpSpMkLst>
        </pc:grpChg>
        <pc:grpChg chg="del">
          <ac:chgData name="Disselhoff, Tim" userId="3b8b5473-7050-4f60-8279-e72cc8538d43" providerId="ADAL" clId="{952E53DB-5978-46BA-964C-5B55B87B6690}" dt="2021-08-16T13:48:34.867" v="1391" actId="478"/>
          <ac:grpSpMkLst>
            <pc:docMk/>
            <pc:sldMk cId="512127275" sldId="1372"/>
            <ac:grpSpMk id="35" creationId="{D19E8030-BEB1-41C8-90F8-E4F59D9D25A9}"/>
          </ac:grpSpMkLst>
        </pc:grpChg>
        <pc:grpChg chg="del">
          <ac:chgData name="Disselhoff, Tim" userId="3b8b5473-7050-4f60-8279-e72cc8538d43" providerId="ADAL" clId="{952E53DB-5978-46BA-964C-5B55B87B6690}" dt="2021-08-16T13:48:34.867" v="1391" actId="478"/>
          <ac:grpSpMkLst>
            <pc:docMk/>
            <pc:sldMk cId="512127275" sldId="1372"/>
            <ac:grpSpMk id="74" creationId="{97D7C904-D2C7-451E-8517-2E956B9E664F}"/>
          </ac:grpSpMkLst>
        </pc:grpChg>
      </pc:sldChg>
      <pc:sldChg chg="add del">
        <pc:chgData name="Disselhoff, Tim" userId="3b8b5473-7050-4f60-8279-e72cc8538d43" providerId="ADAL" clId="{952E53DB-5978-46BA-964C-5B55B87B6690}" dt="2021-08-16T18:48:40.539" v="4170" actId="47"/>
        <pc:sldMkLst>
          <pc:docMk/>
          <pc:sldMk cId="4023595934" sldId="1373"/>
        </pc:sldMkLst>
      </pc:sldChg>
      <pc:sldChg chg="addSp delSp modSp add mod ord addCm delCm modCm">
        <pc:chgData name="Disselhoff, Tim" userId="3b8b5473-7050-4f60-8279-e72cc8538d43" providerId="ADAL" clId="{952E53DB-5978-46BA-964C-5B55B87B6690}" dt="2021-08-19T16:57:13.939" v="19833" actId="478"/>
        <pc:sldMkLst>
          <pc:docMk/>
          <pc:sldMk cId="2413811982" sldId="1374"/>
        </pc:sldMkLst>
        <pc:spChg chg="mod ord">
          <ac:chgData name="Disselhoff, Tim" userId="3b8b5473-7050-4f60-8279-e72cc8538d43" providerId="ADAL" clId="{952E53DB-5978-46BA-964C-5B55B87B6690}" dt="2021-08-18T09:02:24.781" v="8813"/>
          <ac:spMkLst>
            <pc:docMk/>
            <pc:sldMk cId="2413811982" sldId="1374"/>
            <ac:spMk id="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8T09:02:24.782" v="8815"/>
          <ac:spMkLst>
            <pc:docMk/>
            <pc:sldMk cId="2413811982" sldId="1374"/>
            <ac:spMk id="3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18T08:48:30.730" v="8613"/>
          <ac:spMkLst>
            <pc:docMk/>
            <pc:sldMk cId="2413811982" sldId="1374"/>
            <ac:spMk id="4" creationId="{96228DF4-280D-4208-B6E0-7FED33F8ED35}"/>
          </ac:spMkLst>
        </pc:spChg>
        <pc:spChg chg="mod ord">
          <ac:chgData name="Disselhoff, Tim" userId="3b8b5473-7050-4f60-8279-e72cc8538d43" providerId="ADAL" clId="{952E53DB-5978-46BA-964C-5B55B87B6690}" dt="2021-08-18T09:02:24.783" v="8817"/>
          <ac:spMkLst>
            <pc:docMk/>
            <pc:sldMk cId="2413811982" sldId="1374"/>
            <ac:spMk id="5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16T17:36:54.342" v="1972"/>
          <ac:spMkLst>
            <pc:docMk/>
            <pc:sldMk cId="2413811982" sldId="1374"/>
            <ac:spMk id="6" creationId="{1FBFF049-EC9A-4E66-9713-AF38621CD893}"/>
          </ac:spMkLst>
        </pc:spChg>
        <pc:spChg chg="add del mod modVis">
          <ac:chgData name="Disselhoff, Tim" userId="3b8b5473-7050-4f60-8279-e72cc8538d43" providerId="ADAL" clId="{952E53DB-5978-46BA-964C-5B55B87B6690}" dt="2021-08-18T08:48:31.330" v="8656"/>
          <ac:spMkLst>
            <pc:docMk/>
            <pc:sldMk cId="2413811982" sldId="1374"/>
            <ac:spMk id="6" creationId="{23BCC2C8-03D1-49C1-A262-B43DCF0CE8E8}"/>
          </ac:spMkLst>
        </pc:spChg>
        <pc:spChg chg="mod ord">
          <ac:chgData name="Disselhoff, Tim" userId="3b8b5473-7050-4f60-8279-e72cc8538d43" providerId="ADAL" clId="{952E53DB-5978-46BA-964C-5B55B87B6690}" dt="2021-08-18T09:02:24.785" v="8821"/>
          <ac:spMkLst>
            <pc:docMk/>
            <pc:sldMk cId="2413811982" sldId="1374"/>
            <ac:spMk id="10" creationId="{99AF477C-819D-4EC8-ABAC-E85411ED6544}"/>
          </ac:spMkLst>
        </pc:spChg>
        <pc:spChg chg="mod ord">
          <ac:chgData name="Disselhoff, Tim" userId="3b8b5473-7050-4f60-8279-e72cc8538d43" providerId="ADAL" clId="{952E53DB-5978-46BA-964C-5B55B87B6690}" dt="2021-08-18T09:02:24.786" v="8823"/>
          <ac:spMkLst>
            <pc:docMk/>
            <pc:sldMk cId="2413811982" sldId="1374"/>
            <ac:spMk id="1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6:56:32.341" v="19825" actId="113"/>
          <ac:spMkLst>
            <pc:docMk/>
            <pc:sldMk cId="2413811982" sldId="1374"/>
            <ac:spMk id="13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6:57:09.587" v="19832" actId="14100"/>
          <ac:spMkLst>
            <pc:docMk/>
            <pc:sldMk cId="2413811982" sldId="1374"/>
            <ac:spMk id="45" creationId="{7504F8A3-4888-4A0F-AF03-D75DAC352740}"/>
          </ac:spMkLst>
        </pc:spChg>
        <pc:spChg chg="mod ord">
          <ac:chgData name="Disselhoff, Tim" userId="3b8b5473-7050-4f60-8279-e72cc8538d43" providerId="ADAL" clId="{952E53DB-5978-46BA-964C-5B55B87B6690}" dt="2021-08-18T09:02:24.788" v="8827"/>
          <ac:spMkLst>
            <pc:docMk/>
            <pc:sldMk cId="2413811982" sldId="1374"/>
            <ac:spMk id="46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8T09:02:24.790" v="8831"/>
          <ac:spMkLst>
            <pc:docMk/>
            <pc:sldMk cId="2413811982" sldId="1374"/>
            <ac:spMk id="50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2:16:30.374" v="13242" actId="1036"/>
          <ac:spMkLst>
            <pc:docMk/>
            <pc:sldMk cId="2413811982" sldId="1374"/>
            <ac:spMk id="5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2:15:32.300" v="13217"/>
          <ac:spMkLst>
            <pc:docMk/>
            <pc:sldMk cId="2413811982" sldId="1374"/>
            <ac:spMk id="5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6:56:23.683" v="19822" actId="1076"/>
          <ac:spMkLst>
            <pc:docMk/>
            <pc:sldMk cId="2413811982" sldId="1374"/>
            <ac:spMk id="53" creationId="{0910892A-103A-450B-8821-5A33598C37FA}"/>
          </ac:spMkLst>
        </pc:spChg>
        <pc:spChg chg="mod ord">
          <ac:chgData name="Disselhoff, Tim" userId="3b8b5473-7050-4f60-8279-e72cc8538d43" providerId="ADAL" clId="{952E53DB-5978-46BA-964C-5B55B87B6690}" dt="2021-08-19T16:56:42.086" v="19826" actId="14100"/>
          <ac:spMkLst>
            <pc:docMk/>
            <pc:sldMk cId="2413811982" sldId="1374"/>
            <ac:spMk id="54" creationId="{326E8253-0E5F-4152-85DD-5EA7E576A403}"/>
          </ac:spMkLst>
        </pc:spChg>
        <pc:spChg chg="add mod ord">
          <ac:chgData name="Disselhoff, Tim" userId="3b8b5473-7050-4f60-8279-e72cc8538d43" providerId="ADAL" clId="{952E53DB-5978-46BA-964C-5B55B87B6690}" dt="2021-08-19T16:56:52.535" v="19828" actId="14100"/>
          <ac:spMkLst>
            <pc:docMk/>
            <pc:sldMk cId="2413811982" sldId="1374"/>
            <ac:spMk id="55" creationId="{36289569-B99B-41A8-8E92-20BE814C0071}"/>
          </ac:spMkLst>
        </pc:spChg>
        <pc:spChg chg="mod ord">
          <ac:chgData name="Disselhoff, Tim" userId="3b8b5473-7050-4f60-8279-e72cc8538d43" providerId="ADAL" clId="{952E53DB-5978-46BA-964C-5B55B87B6690}" dt="2021-08-18T09:02:24.797" v="8841"/>
          <ac:spMkLst>
            <pc:docMk/>
            <pc:sldMk cId="2413811982" sldId="1374"/>
            <ac:spMk id="56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8T16:30:06.104" v="11446" actId="20577"/>
          <ac:spMkLst>
            <pc:docMk/>
            <pc:sldMk cId="2413811982" sldId="1374"/>
            <ac:spMk id="57" creationId="{032DA3B0-62FE-4F4E-B071-20BA04E79277}"/>
          </ac:spMkLst>
        </pc:spChg>
        <pc:spChg chg="add del mod ord">
          <ac:chgData name="Disselhoff, Tim" userId="3b8b5473-7050-4f60-8279-e72cc8538d43" providerId="ADAL" clId="{952E53DB-5978-46BA-964C-5B55B87B6690}" dt="2021-08-18T09:02:40.729" v="8851" actId="478"/>
          <ac:spMkLst>
            <pc:docMk/>
            <pc:sldMk cId="2413811982" sldId="1374"/>
            <ac:spMk id="58" creationId="{235F3463-BCAA-426D-8E1C-96B234374A5F}"/>
          </ac:spMkLst>
        </pc:spChg>
        <pc:spChg chg="add del mod">
          <ac:chgData name="Disselhoff, Tim" userId="3b8b5473-7050-4f60-8279-e72cc8538d43" providerId="ADAL" clId="{952E53DB-5978-46BA-964C-5B55B87B6690}" dt="2021-08-18T16:28:36.531" v="11413"/>
          <ac:spMkLst>
            <pc:docMk/>
            <pc:sldMk cId="2413811982" sldId="1374"/>
            <ac:spMk id="58" creationId="{A5BE1B2A-AF74-4639-8677-926969817C64}"/>
          </ac:spMkLst>
        </pc:spChg>
        <pc:spChg chg="add del mod ord">
          <ac:chgData name="Disselhoff, Tim" userId="3b8b5473-7050-4f60-8279-e72cc8538d43" providerId="ADAL" clId="{952E53DB-5978-46BA-964C-5B55B87B6690}" dt="2021-08-19T12:16:43.629" v="13248" actId="478"/>
          <ac:spMkLst>
            <pc:docMk/>
            <pc:sldMk cId="2413811982" sldId="1374"/>
            <ac:spMk id="59" creationId="{B8F059EF-FE8B-49F0-8ABC-BE855DAFA285}"/>
          </ac:spMkLst>
        </pc:spChg>
        <pc:spChg chg="mod">
          <ac:chgData name="Disselhoff, Tim" userId="3b8b5473-7050-4f60-8279-e72cc8538d43" providerId="ADAL" clId="{952E53DB-5978-46BA-964C-5B55B87B6690}" dt="2021-08-19T12:14:46.921" v="13207"/>
          <ac:spMkLst>
            <pc:docMk/>
            <pc:sldMk cId="2413811982" sldId="1374"/>
            <ac:spMk id="60" creationId="{9F52594E-7EC2-428A-B96F-7930688F4DD5}"/>
          </ac:spMkLst>
        </pc:spChg>
        <pc:spChg chg="mod">
          <ac:chgData name="Disselhoff, Tim" userId="3b8b5473-7050-4f60-8279-e72cc8538d43" providerId="ADAL" clId="{952E53DB-5978-46BA-964C-5B55B87B6690}" dt="2021-08-19T12:14:46.921" v="13207"/>
          <ac:spMkLst>
            <pc:docMk/>
            <pc:sldMk cId="2413811982" sldId="1374"/>
            <ac:spMk id="61" creationId="{CB2C832D-DB7E-4462-8C6D-624F4981EB06}"/>
          </ac:spMkLst>
        </pc:spChg>
        <pc:spChg chg="mod">
          <ac:chgData name="Disselhoff, Tim" userId="3b8b5473-7050-4f60-8279-e72cc8538d43" providerId="ADAL" clId="{952E53DB-5978-46BA-964C-5B55B87B6690}" dt="2021-08-19T12:14:46.921" v="13207"/>
          <ac:spMkLst>
            <pc:docMk/>
            <pc:sldMk cId="2413811982" sldId="1374"/>
            <ac:spMk id="62" creationId="{2CA49813-DFDB-492D-ADBC-8BE264A02CCB}"/>
          </ac:spMkLst>
        </pc:spChg>
        <pc:spChg chg="add mod">
          <ac:chgData name="Disselhoff, Tim" userId="3b8b5473-7050-4f60-8279-e72cc8538d43" providerId="ADAL" clId="{952E53DB-5978-46BA-964C-5B55B87B6690}" dt="2021-08-19T12:16:40.459" v="13247" actId="207"/>
          <ac:spMkLst>
            <pc:docMk/>
            <pc:sldMk cId="2413811982" sldId="1374"/>
            <ac:spMk id="63" creationId="{8B54DB84-8C10-40C1-AB1E-A97B3BB45986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65" creationId="{2D61B050-6A9C-4475-8673-DE552969CCA3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66" creationId="{784E63E8-9FC2-4E5C-9483-FB7C67771F00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67" creationId="{55B137DD-34A8-47B5-AEC4-E302ED2DA80D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68" creationId="{2321AB7F-2F7B-4C63-9F09-95A77EAF7639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69" creationId="{5136C4ED-2BB3-4597-A685-BA01BF0C8E66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70" creationId="{2771B7B6-76A9-410C-9B94-705145418515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2" creationId="{3853EF97-DC8F-4006-AF63-D28D8778281F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3" creationId="{49968CE1-611B-4044-BBC5-5E579EAAA57E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4" creationId="{A6A2C639-1524-4D5B-A875-5C3CD790B56E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5" creationId="{209FF35B-5444-40A1-8713-A8E03C99AE6D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6" creationId="{E1B6419A-E0DE-4A3D-8EAB-4A0034D3043E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7" creationId="{4CD6F3B8-3042-45FB-867C-AD5BFD786272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8" creationId="{F678FD1E-6753-4990-B624-740171DF3654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89" creationId="{8B7E984C-27CA-41C3-B05C-7817809B919B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90" creationId="{506B2B39-7D30-4ECC-BC92-B7E7AC05A008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91" creationId="{8433F64D-642F-426B-A5D3-3C8D9E01DBF0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92" creationId="{9178E4B2-9DEF-4897-BF68-69EFA91DE6F3}"/>
          </ac:spMkLst>
        </pc:spChg>
        <pc:spChg chg="mod">
          <ac:chgData name="Disselhoff, Tim" userId="3b8b5473-7050-4f60-8279-e72cc8538d43" providerId="ADAL" clId="{952E53DB-5978-46BA-964C-5B55B87B6690}" dt="2021-08-19T12:14:46.918" v="13203"/>
          <ac:spMkLst>
            <pc:docMk/>
            <pc:sldMk cId="2413811982" sldId="1374"/>
            <ac:spMk id="93" creationId="{53E9670B-B6F3-4FBD-BEFA-8FC1D0EDFD72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94" creationId="{8882BADA-913A-45D7-829F-4F6AE16A1792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95" creationId="{72B9C850-D82A-4BC7-8921-8C5A772B7973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96" creationId="{0011887C-3596-4B59-871F-C0C00A15260C}"/>
          </ac:spMkLst>
        </pc:spChg>
        <pc:spChg chg="mod">
          <ac:chgData name="Disselhoff, Tim" userId="3b8b5473-7050-4f60-8279-e72cc8538d43" providerId="ADAL" clId="{952E53DB-5978-46BA-964C-5B55B87B6690}" dt="2021-08-19T12:16:34.915" v="13246" actId="1036"/>
          <ac:spMkLst>
            <pc:docMk/>
            <pc:sldMk cId="2413811982" sldId="1374"/>
            <ac:spMk id="97" creationId="{B18D6658-72CC-420F-BA12-BF5A3EF92393}"/>
          </ac:spMkLst>
        </pc:spChg>
        <pc:spChg chg="del mod ord">
          <ac:chgData name="Disselhoff, Tim" userId="3b8b5473-7050-4f60-8279-e72cc8538d43" providerId="ADAL" clId="{952E53DB-5978-46BA-964C-5B55B87B6690}" dt="2021-08-19T12:15:24.523" v="13209" actId="478"/>
          <ac:spMkLst>
            <pc:docMk/>
            <pc:sldMk cId="2413811982" sldId="1374"/>
            <ac:spMk id="98" creationId="{C9678588-ABD6-444E-9119-E131D0DE20C4}"/>
          </ac:spMkLst>
        </pc:spChg>
        <pc:spChg chg="mod ord">
          <ac:chgData name="Disselhoff, Tim" userId="3b8b5473-7050-4f60-8279-e72cc8538d43" providerId="ADAL" clId="{952E53DB-5978-46BA-964C-5B55B87B6690}" dt="2021-08-18T09:02:24.780" v="8811"/>
          <ac:spMkLst>
            <pc:docMk/>
            <pc:sldMk cId="2413811982" sldId="1374"/>
            <ac:spMk id="99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7:36:54.323" v="1934"/>
          <ac:spMkLst>
            <pc:docMk/>
            <pc:sldMk cId="2413811982" sldId="1374"/>
            <ac:spMk id="100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9T16:57:13.939" v="19833" actId="478"/>
          <ac:spMkLst>
            <pc:docMk/>
            <pc:sldMk cId="2413811982" sldId="1374"/>
            <ac:spMk id="101" creationId="{00000000-0000-0000-0000-000000000000}"/>
          </ac:spMkLst>
        </pc:spChg>
        <pc:grpChg chg="mod ord">
          <ac:chgData name="Disselhoff, Tim" userId="3b8b5473-7050-4f60-8279-e72cc8538d43" providerId="ADAL" clId="{952E53DB-5978-46BA-964C-5B55B87B6690}" dt="2021-08-18T09:02:24.789" v="8829"/>
          <ac:grpSpMkLst>
            <pc:docMk/>
            <pc:sldMk cId="2413811982" sldId="1374"/>
            <ac:grpSpMk id="47" creationId="{BA6A66C4-6846-1943-B1EE-DB85329D95BB}"/>
          </ac:grpSpMkLst>
        </pc:grpChg>
        <pc:grpChg chg="add mod">
          <ac:chgData name="Disselhoff, Tim" userId="3b8b5473-7050-4f60-8279-e72cc8538d43" providerId="ADAL" clId="{952E53DB-5978-46BA-964C-5B55B87B6690}" dt="2021-08-19T12:16:40.459" v="13247" actId="207"/>
          <ac:grpSpMkLst>
            <pc:docMk/>
            <pc:sldMk cId="2413811982" sldId="1374"/>
            <ac:grpSpMk id="58" creationId="{2288B3BC-96CD-475C-B1E3-F93D182017C4}"/>
          </ac:grpSpMkLst>
        </pc:grpChg>
        <pc:grpChg chg="add mod">
          <ac:chgData name="Disselhoff, Tim" userId="3b8b5473-7050-4f60-8279-e72cc8538d43" providerId="ADAL" clId="{952E53DB-5978-46BA-964C-5B55B87B6690}" dt="2021-08-19T12:16:40.459" v="13247" actId="207"/>
          <ac:grpSpMkLst>
            <pc:docMk/>
            <pc:sldMk cId="2413811982" sldId="1374"/>
            <ac:grpSpMk id="64" creationId="{3E69E54D-4A44-4C31-967C-8E4681D8357C}"/>
          </ac:grpSpMkLst>
        </pc:grpChg>
        <pc:grpChg chg="del mod">
          <ac:chgData name="Disselhoff, Tim" userId="3b8b5473-7050-4f60-8279-e72cc8538d43" providerId="ADAL" clId="{952E53DB-5978-46BA-964C-5B55B87B6690}" dt="2021-08-19T12:14:25.998" v="13187" actId="478"/>
          <ac:grpSpMkLst>
            <pc:docMk/>
            <pc:sldMk cId="2413811982" sldId="1374"/>
            <ac:grpSpMk id="71" creationId="{F4C6FCED-2309-4DC8-9B83-B766C9325111}"/>
          </ac:grpSpMkLst>
        </pc:grpChg>
        <pc:grpChg chg="del mod">
          <ac:chgData name="Disselhoff, Tim" userId="3b8b5473-7050-4f60-8279-e72cc8538d43" providerId="ADAL" clId="{952E53DB-5978-46BA-964C-5B55B87B6690}" dt="2021-08-19T12:16:13.164" v="13224" actId="478"/>
          <ac:grpSpMkLst>
            <pc:docMk/>
            <pc:sldMk cId="2413811982" sldId="1374"/>
            <ac:grpSpMk id="81" creationId="{1D941A96-6ADF-4064-9F11-4FFD36D9EE5B}"/>
          </ac:grpSpMkLst>
        </pc:grpChg>
        <pc:graphicFrameChg chg="mod">
          <ac:chgData name="Disselhoff, Tim" userId="3b8b5473-7050-4f60-8279-e72cc8538d43" providerId="ADAL" clId="{952E53DB-5978-46BA-964C-5B55B87B6690}" dt="2021-08-18T09:02:24.815" v="8849"/>
          <ac:graphicFrameMkLst>
            <pc:docMk/>
            <pc:sldMk cId="2413811982" sldId="1374"/>
            <ac:graphicFrameMk id="8" creationId="{00000000-0000-0000-0000-000000000000}"/>
          </ac:graphicFrameMkLst>
        </pc:graphicFrameChg>
        <pc:picChg chg="del mod ord">
          <ac:chgData name="Disselhoff, Tim" userId="3b8b5473-7050-4f60-8279-e72cc8538d43" providerId="ADAL" clId="{952E53DB-5978-46BA-964C-5B55B87B6690}" dt="2021-08-16T17:39:11.755" v="2051" actId="478"/>
          <ac:picMkLst>
            <pc:docMk/>
            <pc:sldMk cId="2413811982" sldId="1374"/>
            <ac:picMk id="4" creationId="{D24AB93F-97A1-4056-8E92-A4C1819E4FB0}"/>
          </ac:picMkLst>
        </pc:picChg>
        <pc:picChg chg="del mod ord">
          <ac:chgData name="Disselhoff, Tim" userId="3b8b5473-7050-4f60-8279-e72cc8538d43" providerId="ADAL" clId="{952E53DB-5978-46BA-964C-5B55B87B6690}" dt="2021-08-18T09:02:26.549" v="8850" actId="478"/>
          <ac:picMkLst>
            <pc:docMk/>
            <pc:sldMk cId="2413811982" sldId="1374"/>
            <ac:picMk id="9" creationId="{00000000-0000-0000-0000-000000000000}"/>
          </ac:picMkLst>
        </pc:picChg>
        <pc:picChg chg="add mod ord modCrop">
          <ac:chgData name="Disselhoff, Tim" userId="3b8b5473-7050-4f60-8279-e72cc8538d43" providerId="ADAL" clId="{952E53DB-5978-46BA-964C-5B55B87B6690}" dt="2021-08-18T09:02:24.769" v="8799"/>
          <ac:picMkLst>
            <pc:docMk/>
            <pc:sldMk cId="2413811982" sldId="1374"/>
            <ac:picMk id="12" creationId="{8352FB3B-69C2-48B4-AEFE-F914D2F14787}"/>
          </ac:picMkLst>
        </pc:picChg>
      </pc:sldChg>
      <pc:sldChg chg="addSp delSp modSp new add del mod ord">
        <pc:chgData name="Disselhoff, Tim" userId="3b8b5473-7050-4f60-8279-e72cc8538d43" providerId="ADAL" clId="{952E53DB-5978-46BA-964C-5B55B87B6690}" dt="2021-08-19T16:39:21.726" v="19782" actId="47"/>
        <pc:sldMkLst>
          <pc:docMk/>
          <pc:sldMk cId="2365139855" sldId="1375"/>
        </pc:sldMkLst>
        <pc:spChg chg="del">
          <ac:chgData name="Disselhoff, Tim" userId="3b8b5473-7050-4f60-8279-e72cc8538d43" providerId="ADAL" clId="{952E53DB-5978-46BA-964C-5B55B87B6690}" dt="2021-08-16T17:39:15.825" v="2052" actId="478"/>
          <ac:spMkLst>
            <pc:docMk/>
            <pc:sldMk cId="2365139855" sldId="1375"/>
            <ac:spMk id="6" creationId="{21321A09-2F41-4931-A1AC-8B0E216BF29E}"/>
          </ac:spMkLst>
        </pc:spChg>
        <pc:spChg chg="add mod">
          <ac:chgData name="Disselhoff, Tim" userId="3b8b5473-7050-4f60-8279-e72cc8538d43" providerId="ADAL" clId="{952E53DB-5978-46BA-964C-5B55B87B6690}" dt="2021-08-16T17:40:11.391" v="2175"/>
          <ac:spMkLst>
            <pc:docMk/>
            <pc:sldMk cId="2365139855" sldId="1375"/>
            <ac:spMk id="8" creationId="{279CB5AF-745F-4237-A75F-C45906174986}"/>
          </ac:spMkLst>
        </pc:spChg>
        <pc:spChg chg="add mod">
          <ac:chgData name="Disselhoff, Tim" userId="3b8b5473-7050-4f60-8279-e72cc8538d43" providerId="ADAL" clId="{952E53DB-5978-46BA-964C-5B55B87B6690}" dt="2021-08-16T17:40:11.389" v="2169"/>
          <ac:spMkLst>
            <pc:docMk/>
            <pc:sldMk cId="2365139855" sldId="1375"/>
            <ac:spMk id="9" creationId="{0F235C34-5FD4-4ED8-BECF-3DD084A79CE6}"/>
          </ac:spMkLst>
        </pc:spChg>
        <pc:spChg chg="add mod">
          <ac:chgData name="Disselhoff, Tim" userId="3b8b5473-7050-4f60-8279-e72cc8538d43" providerId="ADAL" clId="{952E53DB-5978-46BA-964C-5B55B87B6690}" dt="2021-08-16T18:50:22.725" v="4245" actId="20577"/>
          <ac:spMkLst>
            <pc:docMk/>
            <pc:sldMk cId="2365139855" sldId="1375"/>
            <ac:spMk id="10" creationId="{BCFB1131-2B64-4F7E-B864-433AD30FCF07}"/>
          </ac:spMkLst>
        </pc:spChg>
        <pc:picChg chg="add mod">
          <ac:chgData name="Disselhoff, Tim" userId="3b8b5473-7050-4f60-8279-e72cc8538d43" providerId="ADAL" clId="{952E53DB-5978-46BA-964C-5B55B87B6690}" dt="2021-08-16T18:50:02.028" v="4181" actId="1076"/>
          <ac:picMkLst>
            <pc:docMk/>
            <pc:sldMk cId="2365139855" sldId="1375"/>
            <ac:picMk id="7" creationId="{73E50A59-9ECE-42ED-BE92-A365C46DC1AC}"/>
          </ac:picMkLst>
        </pc:picChg>
      </pc:sldChg>
      <pc:sldChg chg="modSp add del mod modNotes">
        <pc:chgData name="Disselhoff, Tim" userId="3b8b5473-7050-4f60-8279-e72cc8538d43" providerId="ADAL" clId="{952E53DB-5978-46BA-964C-5B55B87B6690}" dt="2021-08-16T19:09:44.446" v="4304" actId="47"/>
        <pc:sldMkLst>
          <pc:docMk/>
          <pc:sldMk cId="2166552634" sldId="1376"/>
        </pc:sldMkLst>
        <pc:spChg chg="mod">
          <ac:chgData name="Disselhoff, Tim" userId="3b8b5473-7050-4f60-8279-e72cc8538d43" providerId="ADAL" clId="{952E53DB-5978-46BA-964C-5B55B87B6690}" dt="2021-08-16T18:04:21.163" v="2431" actId="790"/>
          <ac:spMkLst>
            <pc:docMk/>
            <pc:sldMk cId="2166552634" sldId="1376"/>
            <ac:spMk id="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68" v="2432" actId="790"/>
          <ac:spMkLst>
            <pc:docMk/>
            <pc:sldMk cId="2166552634" sldId="1376"/>
            <ac:spMk id="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99" v="2437" actId="790"/>
          <ac:spMkLst>
            <pc:docMk/>
            <pc:sldMk cId="2166552634" sldId="1376"/>
            <ac:spMk id="1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89" v="2434" actId="790"/>
          <ac:spMkLst>
            <pc:docMk/>
            <pc:sldMk cId="2166552634" sldId="1376"/>
            <ac:spMk id="1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92" v="2435" actId="790"/>
          <ac:spMkLst>
            <pc:docMk/>
            <pc:sldMk cId="2166552634" sldId="1376"/>
            <ac:spMk id="1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95" v="2436" actId="790"/>
          <ac:spMkLst>
            <pc:docMk/>
            <pc:sldMk cId="2166552634" sldId="1376"/>
            <ac:spMk id="14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202" v="2438" actId="790"/>
          <ac:spMkLst>
            <pc:docMk/>
            <pc:sldMk cId="2166552634" sldId="1376"/>
            <ac:spMk id="1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205" v="2439" actId="790"/>
          <ac:spMkLst>
            <pc:docMk/>
            <pc:sldMk cId="2166552634" sldId="1376"/>
            <ac:spMk id="1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208" v="2440" actId="790"/>
          <ac:spMkLst>
            <pc:docMk/>
            <pc:sldMk cId="2166552634" sldId="1376"/>
            <ac:spMk id="17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04:21.185" v="2433" actId="790"/>
          <ac:spMkLst>
            <pc:docMk/>
            <pc:sldMk cId="2166552634" sldId="1376"/>
            <ac:spMk id="37" creationId="{00000000-0000-0000-0000-000000000000}"/>
          </ac:spMkLst>
        </pc:spChg>
      </pc:sldChg>
      <pc:sldChg chg="modSp add del mod modNotes">
        <pc:chgData name="Disselhoff, Tim" userId="3b8b5473-7050-4f60-8279-e72cc8538d43" providerId="ADAL" clId="{952E53DB-5978-46BA-964C-5B55B87B6690}" dt="2021-08-16T19:09:44.446" v="4304" actId="47"/>
        <pc:sldMkLst>
          <pc:docMk/>
          <pc:sldMk cId="260630853" sldId="1377"/>
        </pc:sldMkLst>
        <pc:spChg chg="mod">
          <ac:chgData name="Disselhoff, Tim" userId="3b8b5473-7050-4f60-8279-e72cc8538d43" providerId="ADAL" clId="{952E53DB-5978-46BA-964C-5B55B87B6690}" dt="2021-08-16T18:04:55.916" v="2447" actId="790"/>
          <ac:spMkLst>
            <pc:docMk/>
            <pc:sldMk cId="260630853" sldId="1377"/>
            <ac:spMk id="3" creationId="{9C075216-13E6-4489-9986-CF27B18AF3ED}"/>
          </ac:spMkLst>
        </pc:spChg>
        <pc:spChg chg="mod">
          <ac:chgData name="Disselhoff, Tim" userId="3b8b5473-7050-4f60-8279-e72cc8538d43" providerId="ADAL" clId="{952E53DB-5978-46BA-964C-5B55B87B6690}" dt="2021-08-16T18:04:56.048" v="2478" actId="790"/>
          <ac:spMkLst>
            <pc:docMk/>
            <pc:sldMk cId="260630853" sldId="1377"/>
            <ac:spMk id="35" creationId="{D27005D2-73EF-4BAE-96F7-FE7285217F41}"/>
          </ac:spMkLst>
        </pc:spChg>
        <pc:spChg chg="mod">
          <ac:chgData name="Disselhoff, Tim" userId="3b8b5473-7050-4f60-8279-e72cc8538d43" providerId="ADAL" clId="{952E53DB-5978-46BA-964C-5B55B87B6690}" dt="2021-08-16T18:04:55.948" v="2448" actId="790"/>
          <ac:spMkLst>
            <pc:docMk/>
            <pc:sldMk cId="260630853" sldId="1377"/>
            <ac:spMk id="41" creationId="{3D2B2390-3FDA-4D1B-B822-A6ABB0F600E7}"/>
          </ac:spMkLst>
        </pc:spChg>
        <pc:spChg chg="mod">
          <ac:chgData name="Disselhoff, Tim" userId="3b8b5473-7050-4f60-8279-e72cc8538d43" providerId="ADAL" clId="{952E53DB-5978-46BA-964C-5B55B87B6690}" dt="2021-08-16T18:04:55.958" v="2449" actId="790"/>
          <ac:spMkLst>
            <pc:docMk/>
            <pc:sldMk cId="260630853" sldId="1377"/>
            <ac:spMk id="42" creationId="{42671341-22E9-4A37-8E58-852D9C81D5AA}"/>
          </ac:spMkLst>
        </pc:spChg>
        <pc:spChg chg="mod">
          <ac:chgData name="Disselhoff, Tim" userId="3b8b5473-7050-4f60-8279-e72cc8538d43" providerId="ADAL" clId="{952E53DB-5978-46BA-964C-5B55B87B6690}" dt="2021-08-16T18:04:55.958" v="2450" actId="790"/>
          <ac:spMkLst>
            <pc:docMk/>
            <pc:sldMk cId="260630853" sldId="1377"/>
            <ac:spMk id="43" creationId="{C0AAFE0C-8015-4685-97DF-C3803293EE51}"/>
          </ac:spMkLst>
        </pc:spChg>
        <pc:spChg chg="mod">
          <ac:chgData name="Disselhoff, Tim" userId="3b8b5473-7050-4f60-8279-e72cc8538d43" providerId="ADAL" clId="{952E53DB-5978-46BA-964C-5B55B87B6690}" dt="2021-08-16T18:04:55.958" v="2451" actId="790"/>
          <ac:spMkLst>
            <pc:docMk/>
            <pc:sldMk cId="260630853" sldId="1377"/>
            <ac:spMk id="44" creationId="{673DD155-7E43-4BD5-94D4-BD92FF8C5FB7}"/>
          </ac:spMkLst>
        </pc:spChg>
        <pc:spChg chg="mod">
          <ac:chgData name="Disselhoff, Tim" userId="3b8b5473-7050-4f60-8279-e72cc8538d43" providerId="ADAL" clId="{952E53DB-5978-46BA-964C-5B55B87B6690}" dt="2021-08-16T18:04:55.958" v="2452" actId="790"/>
          <ac:spMkLst>
            <pc:docMk/>
            <pc:sldMk cId="260630853" sldId="1377"/>
            <ac:spMk id="45" creationId="{28C8DA03-D75B-4C31-BBD8-7C786D0D6F67}"/>
          </ac:spMkLst>
        </pc:spChg>
        <pc:spChg chg="mod">
          <ac:chgData name="Disselhoff, Tim" userId="3b8b5473-7050-4f60-8279-e72cc8538d43" providerId="ADAL" clId="{952E53DB-5978-46BA-964C-5B55B87B6690}" dt="2021-08-16T18:04:55.975" v="2453" actId="790"/>
          <ac:spMkLst>
            <pc:docMk/>
            <pc:sldMk cId="260630853" sldId="1377"/>
            <ac:spMk id="46" creationId="{B1137AB4-79AA-408C-B526-A05DFCDA81BC}"/>
          </ac:spMkLst>
        </pc:spChg>
        <pc:spChg chg="mod">
          <ac:chgData name="Disselhoff, Tim" userId="3b8b5473-7050-4f60-8279-e72cc8538d43" providerId="ADAL" clId="{952E53DB-5978-46BA-964C-5B55B87B6690}" dt="2021-08-16T18:04:55.975" v="2454" actId="790"/>
          <ac:spMkLst>
            <pc:docMk/>
            <pc:sldMk cId="260630853" sldId="1377"/>
            <ac:spMk id="48" creationId="{43CA98C9-9C83-477F-8855-EB20C6FA2CD4}"/>
          </ac:spMkLst>
        </pc:spChg>
        <pc:spChg chg="mod">
          <ac:chgData name="Disselhoff, Tim" userId="3b8b5473-7050-4f60-8279-e72cc8538d43" providerId="ADAL" clId="{952E53DB-5978-46BA-964C-5B55B87B6690}" dt="2021-08-16T18:04:55.975" v="2455" actId="790"/>
          <ac:spMkLst>
            <pc:docMk/>
            <pc:sldMk cId="260630853" sldId="1377"/>
            <ac:spMk id="49" creationId="{A15802E2-0FAA-4D1E-B61A-757B9CA2616D}"/>
          </ac:spMkLst>
        </pc:spChg>
        <pc:spChg chg="mod">
          <ac:chgData name="Disselhoff, Tim" userId="3b8b5473-7050-4f60-8279-e72cc8538d43" providerId="ADAL" clId="{952E53DB-5978-46BA-964C-5B55B87B6690}" dt="2021-08-16T18:04:55.975" v="2456" actId="790"/>
          <ac:spMkLst>
            <pc:docMk/>
            <pc:sldMk cId="260630853" sldId="1377"/>
            <ac:spMk id="52" creationId="{A37D605E-19D9-45C7-AD40-89E032189BAF}"/>
          </ac:spMkLst>
        </pc:spChg>
        <pc:spChg chg="mod">
          <ac:chgData name="Disselhoff, Tim" userId="3b8b5473-7050-4f60-8279-e72cc8538d43" providerId="ADAL" clId="{952E53DB-5978-46BA-964C-5B55B87B6690}" dt="2021-08-16T18:04:55.975" v="2457" actId="790"/>
          <ac:spMkLst>
            <pc:docMk/>
            <pc:sldMk cId="260630853" sldId="1377"/>
            <ac:spMk id="54" creationId="{27910DF8-27C3-412A-AFE8-EA971A57B0AB}"/>
          </ac:spMkLst>
        </pc:spChg>
        <pc:spChg chg="mod">
          <ac:chgData name="Disselhoff, Tim" userId="3b8b5473-7050-4f60-8279-e72cc8538d43" providerId="ADAL" clId="{952E53DB-5978-46BA-964C-5B55B87B6690}" dt="2021-08-16T18:04:56.032" v="2476" actId="790"/>
          <ac:spMkLst>
            <pc:docMk/>
            <pc:sldMk cId="260630853" sldId="1377"/>
            <ac:spMk id="66" creationId="{3F86F8EE-AEA6-43C0-ABF6-D65204E799C2}"/>
          </ac:spMkLst>
        </pc:spChg>
        <pc:spChg chg="mod">
          <ac:chgData name="Disselhoff, Tim" userId="3b8b5473-7050-4f60-8279-e72cc8538d43" providerId="ADAL" clId="{952E53DB-5978-46BA-964C-5B55B87B6690}" dt="2021-08-16T18:04:56.048" v="2477" actId="790"/>
          <ac:spMkLst>
            <pc:docMk/>
            <pc:sldMk cId="260630853" sldId="1377"/>
            <ac:spMk id="71" creationId="{AEF3EB23-35B2-43D8-B171-A4C4E89E9BC0}"/>
          </ac:spMkLst>
        </pc:spChg>
        <pc:graphicFrameChg chg="modGraphic">
          <ac:chgData name="Disselhoff, Tim" userId="3b8b5473-7050-4f60-8279-e72cc8538d43" providerId="ADAL" clId="{952E53DB-5978-46BA-964C-5B55B87B6690}" dt="2021-08-16T18:04:56.032" v="2475" actId="790"/>
          <ac:graphicFrameMkLst>
            <pc:docMk/>
            <pc:sldMk cId="260630853" sldId="1377"/>
            <ac:graphicFrameMk id="55" creationId="{D00A8DDA-BEC2-4228-AA98-BB1AB118D985}"/>
          </ac:graphicFrameMkLst>
        </pc:graphicFrameChg>
      </pc:sldChg>
      <pc:sldChg chg="addSp delSp modSp add del mod modNotes">
        <pc:chgData name="Disselhoff, Tim" userId="3b8b5473-7050-4f60-8279-e72cc8538d43" providerId="ADAL" clId="{952E53DB-5978-46BA-964C-5B55B87B6690}" dt="2021-08-16T19:09:44.446" v="4304" actId="47"/>
        <pc:sldMkLst>
          <pc:docMk/>
          <pc:sldMk cId="3791577442" sldId="1378"/>
        </pc:sldMkLst>
        <pc:spChg chg="mod">
          <ac:chgData name="Disselhoff, Tim" userId="3b8b5473-7050-4f60-8279-e72cc8538d43" providerId="ADAL" clId="{952E53DB-5978-46BA-964C-5B55B87B6690}" dt="2021-08-16T18:05:56.872" v="2513" actId="790"/>
          <ac:spMkLst>
            <pc:docMk/>
            <pc:sldMk cId="3791577442" sldId="1378"/>
            <ac:spMk id="2" creationId="{4AFCD8A2-C900-4946-8B50-12E7652EE270}"/>
          </ac:spMkLst>
        </pc:spChg>
        <pc:spChg chg="del">
          <ac:chgData name="Disselhoff, Tim" userId="3b8b5473-7050-4f60-8279-e72cc8538d43" providerId="ADAL" clId="{952E53DB-5978-46BA-964C-5B55B87B6690}" dt="2021-08-16T18:05:56.279" v="2485"/>
          <ac:spMkLst>
            <pc:docMk/>
            <pc:sldMk cId="3791577442" sldId="1378"/>
            <ac:spMk id="2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05:56.279" v="2487"/>
          <ac:spMkLst>
            <pc:docMk/>
            <pc:sldMk cId="3791577442" sldId="1378"/>
            <ac:spMk id="2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05:56.285" v="2503"/>
          <ac:spMkLst>
            <pc:docMk/>
            <pc:sldMk cId="3791577442" sldId="1378"/>
            <ac:spMk id="38" creationId="{6EAB6FC0-DE6E-4824-BD1B-16D95D649639}"/>
          </ac:spMkLst>
        </pc:spChg>
        <pc:spChg chg="mod topLvl">
          <ac:chgData name="Disselhoff, Tim" userId="3b8b5473-7050-4f60-8279-e72cc8538d43" providerId="ADAL" clId="{952E53DB-5978-46BA-964C-5B55B87B6690}" dt="2021-08-16T18:05:56.874" v="2514" actId="790"/>
          <ac:spMkLst>
            <pc:docMk/>
            <pc:sldMk cId="3791577442" sldId="1378"/>
            <ac:spMk id="40" creationId="{EF6EBCB1-9F38-4C62-A260-750AD37E87FB}"/>
          </ac:spMkLst>
        </pc:spChg>
        <pc:spChg chg="mod topLvl">
          <ac:chgData name="Disselhoff, Tim" userId="3b8b5473-7050-4f60-8279-e72cc8538d43" providerId="ADAL" clId="{952E53DB-5978-46BA-964C-5B55B87B6690}" dt="2021-08-16T18:05:56.875" v="2515" actId="790"/>
          <ac:spMkLst>
            <pc:docMk/>
            <pc:sldMk cId="3791577442" sldId="1378"/>
            <ac:spMk id="41" creationId="{BF2CA3D5-2C48-4EC5-B9FE-C2BB43EA7095}"/>
          </ac:spMkLst>
        </pc:spChg>
        <pc:spChg chg="mod topLvl">
          <ac:chgData name="Disselhoff, Tim" userId="3b8b5473-7050-4f60-8279-e72cc8538d43" providerId="ADAL" clId="{952E53DB-5978-46BA-964C-5B55B87B6690}" dt="2021-08-16T18:05:56.876" v="2516" actId="790"/>
          <ac:spMkLst>
            <pc:docMk/>
            <pc:sldMk cId="3791577442" sldId="1378"/>
            <ac:spMk id="42" creationId="{FF0FFD63-8702-41E6-A984-CA6862A35FA5}"/>
          </ac:spMkLst>
        </pc:spChg>
        <pc:spChg chg="mod topLvl">
          <ac:chgData name="Disselhoff, Tim" userId="3b8b5473-7050-4f60-8279-e72cc8538d43" providerId="ADAL" clId="{952E53DB-5978-46BA-964C-5B55B87B6690}" dt="2021-08-16T18:05:56.877" v="2517" actId="790"/>
          <ac:spMkLst>
            <pc:docMk/>
            <pc:sldMk cId="3791577442" sldId="1378"/>
            <ac:spMk id="43" creationId="{EF4CF47B-3AD6-4F57-9EF0-1202437BE59C}"/>
          </ac:spMkLst>
        </pc:spChg>
        <pc:spChg chg="mod topLvl">
          <ac:chgData name="Disselhoff, Tim" userId="3b8b5473-7050-4f60-8279-e72cc8538d43" providerId="ADAL" clId="{952E53DB-5978-46BA-964C-5B55B87B6690}" dt="2021-08-16T18:05:56.904" v="2518" actId="790"/>
          <ac:spMkLst>
            <pc:docMk/>
            <pc:sldMk cId="3791577442" sldId="1378"/>
            <ac:spMk id="44" creationId="{765B7632-CAAB-4129-B573-96E58747CAC1}"/>
          </ac:spMkLst>
        </pc:spChg>
        <pc:spChg chg="mod topLvl">
          <ac:chgData name="Disselhoff, Tim" userId="3b8b5473-7050-4f60-8279-e72cc8538d43" providerId="ADAL" clId="{952E53DB-5978-46BA-964C-5B55B87B6690}" dt="2021-08-16T18:05:56.954" v="2535" actId="790"/>
          <ac:spMkLst>
            <pc:docMk/>
            <pc:sldMk cId="3791577442" sldId="1378"/>
            <ac:spMk id="49" creationId="{DA617F61-55AD-45B3-B266-FCBF9FEED4AC}"/>
          </ac:spMkLst>
        </pc:spChg>
        <pc:spChg chg="mod">
          <ac:chgData name="Disselhoff, Tim" userId="3b8b5473-7050-4f60-8279-e72cc8538d43" providerId="ADAL" clId="{952E53DB-5978-46BA-964C-5B55B87B6690}" dt="2021-08-16T18:05:56.941" v="2531" actId="790"/>
          <ac:spMkLst>
            <pc:docMk/>
            <pc:sldMk cId="3791577442" sldId="1378"/>
            <ac:spMk id="51" creationId="{730CF610-0FDD-46F9-9F17-38939A54A9FC}"/>
          </ac:spMkLst>
        </pc:spChg>
        <pc:spChg chg="mod">
          <ac:chgData name="Disselhoff, Tim" userId="3b8b5473-7050-4f60-8279-e72cc8538d43" providerId="ADAL" clId="{952E53DB-5978-46BA-964C-5B55B87B6690}" dt="2021-08-16T18:05:56.952" v="2534" actId="790"/>
          <ac:spMkLst>
            <pc:docMk/>
            <pc:sldMk cId="3791577442" sldId="1378"/>
            <ac:spMk id="57" creationId="{F0307346-28FD-4D4A-9018-B2FA05B48C7C}"/>
          </ac:spMkLst>
        </pc:spChg>
        <pc:spChg chg="mod">
          <ac:chgData name="Disselhoff, Tim" userId="3b8b5473-7050-4f60-8279-e72cc8538d43" providerId="ADAL" clId="{952E53DB-5978-46BA-964C-5B55B87B6690}" dt="2021-08-16T18:05:56.942" v="2532" actId="790"/>
          <ac:spMkLst>
            <pc:docMk/>
            <pc:sldMk cId="3791577442" sldId="1378"/>
            <ac:spMk id="58" creationId="{D8B6156C-FE51-4289-A8E7-C30F2D927C32}"/>
          </ac:spMkLst>
        </pc:spChg>
        <pc:spChg chg="mod">
          <ac:chgData name="Disselhoff, Tim" userId="3b8b5473-7050-4f60-8279-e72cc8538d43" providerId="ADAL" clId="{952E53DB-5978-46BA-964C-5B55B87B6690}" dt="2021-08-16T18:05:56.944" v="2533" actId="790"/>
          <ac:spMkLst>
            <pc:docMk/>
            <pc:sldMk cId="3791577442" sldId="1378"/>
            <ac:spMk id="59" creationId="{18A88427-89B0-4BD3-A2E8-2D3A41BDD30D}"/>
          </ac:spMkLst>
        </pc:spChg>
        <pc:spChg chg="mod">
          <ac:chgData name="Disselhoff, Tim" userId="3b8b5473-7050-4f60-8279-e72cc8538d43" providerId="ADAL" clId="{952E53DB-5978-46BA-964C-5B55B87B6690}" dt="2021-08-16T18:05:56.939" v="2529" actId="790"/>
          <ac:spMkLst>
            <pc:docMk/>
            <pc:sldMk cId="3791577442" sldId="1378"/>
            <ac:spMk id="64" creationId="{A782AC39-719F-4621-A38E-5BB7EA42D8C1}"/>
          </ac:spMkLst>
        </pc:spChg>
        <pc:spChg chg="mod">
          <ac:chgData name="Disselhoff, Tim" userId="3b8b5473-7050-4f60-8279-e72cc8538d43" providerId="ADAL" clId="{952E53DB-5978-46BA-964C-5B55B87B6690}" dt="2021-08-16T18:05:56.940" v="2530" actId="790"/>
          <ac:spMkLst>
            <pc:docMk/>
            <pc:sldMk cId="3791577442" sldId="1378"/>
            <ac:spMk id="65" creationId="{01484650-1D8B-4220-B516-0242909218D9}"/>
          </ac:spMkLst>
        </pc:spChg>
        <pc:spChg chg="mod">
          <ac:chgData name="Disselhoff, Tim" userId="3b8b5473-7050-4f60-8279-e72cc8538d43" providerId="ADAL" clId="{952E53DB-5978-46BA-964C-5B55B87B6690}" dt="2021-08-16T18:05:56.930" v="2527" actId="790"/>
          <ac:spMkLst>
            <pc:docMk/>
            <pc:sldMk cId="3791577442" sldId="1378"/>
            <ac:spMk id="66" creationId="{5D6E8DA6-269D-47BC-8A0E-0518EAEE4165}"/>
          </ac:spMkLst>
        </pc:spChg>
        <pc:spChg chg="mod">
          <ac:chgData name="Disselhoff, Tim" userId="3b8b5473-7050-4f60-8279-e72cc8538d43" providerId="ADAL" clId="{952E53DB-5978-46BA-964C-5B55B87B6690}" dt="2021-08-16T18:05:56.931" v="2528" actId="790"/>
          <ac:spMkLst>
            <pc:docMk/>
            <pc:sldMk cId="3791577442" sldId="1378"/>
            <ac:spMk id="67" creationId="{7B50EC30-17E9-4731-9D38-38B4016284EE}"/>
          </ac:spMkLst>
        </pc:spChg>
        <pc:spChg chg="mod">
          <ac:chgData name="Disselhoff, Tim" userId="3b8b5473-7050-4f60-8279-e72cc8538d43" providerId="ADAL" clId="{952E53DB-5978-46BA-964C-5B55B87B6690}" dt="2021-08-16T18:05:56.918" v="2523" actId="790"/>
          <ac:spMkLst>
            <pc:docMk/>
            <pc:sldMk cId="3791577442" sldId="1378"/>
            <ac:spMk id="69" creationId="{8F62C2C6-CC8D-4A6C-A3F1-061B1D55F050}"/>
          </ac:spMkLst>
        </pc:spChg>
        <pc:spChg chg="mod">
          <ac:chgData name="Disselhoff, Tim" userId="3b8b5473-7050-4f60-8279-e72cc8538d43" providerId="ADAL" clId="{952E53DB-5978-46BA-964C-5B55B87B6690}" dt="2021-08-16T18:05:56.929" v="2526" actId="790"/>
          <ac:spMkLst>
            <pc:docMk/>
            <pc:sldMk cId="3791577442" sldId="1378"/>
            <ac:spMk id="71" creationId="{33EA206A-5FE6-4679-B274-1FB944C736AA}"/>
          </ac:spMkLst>
        </pc:spChg>
        <pc:spChg chg="mod">
          <ac:chgData name="Disselhoff, Tim" userId="3b8b5473-7050-4f60-8279-e72cc8538d43" providerId="ADAL" clId="{952E53DB-5978-46BA-964C-5B55B87B6690}" dt="2021-08-16T18:05:56.919" v="2524" actId="790"/>
          <ac:spMkLst>
            <pc:docMk/>
            <pc:sldMk cId="3791577442" sldId="1378"/>
            <ac:spMk id="72" creationId="{851A0E5E-2021-41FC-89DF-BE83E169C7F4}"/>
          </ac:spMkLst>
        </pc:spChg>
        <pc:spChg chg="mod">
          <ac:chgData name="Disselhoff, Tim" userId="3b8b5473-7050-4f60-8279-e72cc8538d43" providerId="ADAL" clId="{952E53DB-5978-46BA-964C-5B55B87B6690}" dt="2021-08-16T18:05:56.920" v="2525" actId="790"/>
          <ac:spMkLst>
            <pc:docMk/>
            <pc:sldMk cId="3791577442" sldId="1378"/>
            <ac:spMk id="73" creationId="{71FD48B0-4E3F-4BEE-8463-6ED776AD154A}"/>
          </ac:spMkLst>
        </pc:spChg>
        <pc:spChg chg="mod">
          <ac:chgData name="Disselhoff, Tim" userId="3b8b5473-7050-4f60-8279-e72cc8538d43" providerId="ADAL" clId="{952E53DB-5978-46BA-964C-5B55B87B6690}" dt="2021-08-16T18:05:56.908" v="2521" actId="790"/>
          <ac:spMkLst>
            <pc:docMk/>
            <pc:sldMk cId="3791577442" sldId="1378"/>
            <ac:spMk id="76" creationId="{3BCA7E0A-D5C2-4B3D-B913-41903A68CFD3}"/>
          </ac:spMkLst>
        </pc:spChg>
        <pc:spChg chg="mod">
          <ac:chgData name="Disselhoff, Tim" userId="3b8b5473-7050-4f60-8279-e72cc8538d43" providerId="ADAL" clId="{952E53DB-5978-46BA-964C-5B55B87B6690}" dt="2021-08-16T18:05:56.917" v="2522" actId="790"/>
          <ac:spMkLst>
            <pc:docMk/>
            <pc:sldMk cId="3791577442" sldId="1378"/>
            <ac:spMk id="77" creationId="{E0D1E282-7A83-4EF2-9F62-FB91AE956756}"/>
          </ac:spMkLst>
        </pc:spChg>
        <pc:spChg chg="mod">
          <ac:chgData name="Disselhoff, Tim" userId="3b8b5473-7050-4f60-8279-e72cc8538d43" providerId="ADAL" clId="{952E53DB-5978-46BA-964C-5B55B87B6690}" dt="2021-08-16T18:05:56.905" v="2519" actId="790"/>
          <ac:spMkLst>
            <pc:docMk/>
            <pc:sldMk cId="3791577442" sldId="1378"/>
            <ac:spMk id="78" creationId="{73E0AF76-21C1-43E0-A337-EE7194B16E1F}"/>
          </ac:spMkLst>
        </pc:spChg>
        <pc:spChg chg="mod">
          <ac:chgData name="Disselhoff, Tim" userId="3b8b5473-7050-4f60-8279-e72cc8538d43" providerId="ADAL" clId="{952E53DB-5978-46BA-964C-5B55B87B6690}" dt="2021-08-16T18:05:56.907" v="2520" actId="790"/>
          <ac:spMkLst>
            <pc:docMk/>
            <pc:sldMk cId="3791577442" sldId="1378"/>
            <ac:spMk id="79" creationId="{C369106A-6A47-4BF1-80FF-110FB90472BB}"/>
          </ac:spMkLst>
        </pc:spChg>
        <pc:spChg chg="del">
          <ac:chgData name="Disselhoff, Tim" userId="3b8b5473-7050-4f60-8279-e72cc8538d43" providerId="ADAL" clId="{952E53DB-5978-46BA-964C-5B55B87B6690}" dt="2021-08-16T18:05:56.280" v="2489"/>
          <ac:spMkLst>
            <pc:docMk/>
            <pc:sldMk cId="3791577442" sldId="1378"/>
            <ac:spMk id="13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05:56.281" v="2491"/>
          <ac:spMkLst>
            <pc:docMk/>
            <pc:sldMk cId="3791577442" sldId="1378"/>
            <ac:spMk id="13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05:56.282" v="2493"/>
          <ac:spMkLst>
            <pc:docMk/>
            <pc:sldMk cId="3791577442" sldId="1378"/>
            <ac:spMk id="164" creationId="{00000000-0000-0000-0000-000000000000}"/>
          </ac:spMkLst>
        </pc:spChg>
        <pc:grpChg chg="del">
          <ac:chgData name="Disselhoff, Tim" userId="3b8b5473-7050-4f60-8279-e72cc8538d43" providerId="ADAL" clId="{952E53DB-5978-46BA-964C-5B55B87B6690}" dt="2021-08-16T18:05:56.282" v="2495"/>
          <ac:grpSpMkLst>
            <pc:docMk/>
            <pc:sldMk cId="3791577442" sldId="1378"/>
            <ac:grpSpMk id="18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8:05:56.283" v="2497"/>
          <ac:grpSpMkLst>
            <pc:docMk/>
            <pc:sldMk cId="3791577442" sldId="1378"/>
            <ac:grpSpMk id="19" creationId="{00000000-0000-0000-0000-000000000000}"/>
          </ac:grpSpMkLst>
        </pc:grpChg>
        <pc:grpChg chg="add del 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39" creationId="{D18DBC36-1B7A-4A17-A445-564326D41EF0}"/>
          </ac:grpSpMkLst>
        </pc:grpChg>
        <pc:grpChg chg="mod topLvl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45" creationId="{7633D7A0-26FB-4A7D-A630-3DD9C8828F96}"/>
          </ac:grpSpMkLst>
        </pc:grpChg>
        <pc:grpChg chg="mod topLvl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46" creationId="{E82BB469-03AF-45E6-85EF-890EB6E37203}"/>
          </ac:grpSpMkLst>
        </pc:grpChg>
        <pc:grpChg chg="mod topLvl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47" creationId="{EA7C6A84-12C6-4E1D-B3B6-EAD8F845BB99}"/>
          </ac:grpSpMkLst>
        </pc:grpChg>
        <pc:grpChg chg="mod topLvl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48" creationId="{18BB6457-6E58-49FA-BB8B-17B5F68E6E59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52" creationId="{ED6F4D11-622A-4647-A572-0AE9FF120115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56" creationId="{1C98A416-0CBD-4993-9AEC-47422BCB5B00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62" creationId="{2A209BB1-4735-40DF-8D92-65EE18C75036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63" creationId="{79993A08-9D68-4545-BE94-FD77A1E62E0E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70" creationId="{64CD33F3-790A-41A5-8EF8-DB3B0365E2C1}"/>
          </ac:grpSpMkLst>
        </pc:grpChg>
        <pc:grpChg chg="mod">
          <ac:chgData name="Disselhoff, Tim" userId="3b8b5473-7050-4f60-8279-e72cc8538d43" providerId="ADAL" clId="{952E53DB-5978-46BA-964C-5B55B87B6690}" dt="2021-08-16T18:05:56.467" v="2511"/>
          <ac:grpSpMkLst>
            <pc:docMk/>
            <pc:sldMk cId="3791577442" sldId="1378"/>
            <ac:grpSpMk id="74" creationId="{F186CB95-58A1-46F8-82A1-353308605B88}"/>
          </ac:grpSpMkLst>
        </pc:grpChg>
        <pc:grpChg chg="del">
          <ac:chgData name="Disselhoff, Tim" userId="3b8b5473-7050-4f60-8279-e72cc8538d43" providerId="ADAL" clId="{952E53DB-5978-46BA-964C-5B55B87B6690}" dt="2021-08-16T18:05:56.285" v="2501"/>
          <ac:grpSpMkLst>
            <pc:docMk/>
            <pc:sldMk cId="3791577442" sldId="1378"/>
            <ac:grpSpMk id="224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8:05:56.284" v="2499"/>
          <ac:grpSpMkLst>
            <pc:docMk/>
            <pc:sldMk cId="3791577442" sldId="1378"/>
            <ac:grpSpMk id="225" creationId="{00000000-0000-0000-0000-000000000000}"/>
          </ac:grpSpMkLst>
        </pc:grpChg>
        <pc:cxnChg chg="mod">
          <ac:chgData name="Disselhoff, Tim" userId="3b8b5473-7050-4f60-8279-e72cc8538d43" providerId="ADAL" clId="{952E53DB-5978-46BA-964C-5B55B87B6690}" dt="2021-08-16T18:05:56.282" v="2494" actId="478"/>
          <ac:cxnSpMkLst>
            <pc:docMk/>
            <pc:sldMk cId="3791577442" sldId="1378"/>
            <ac:cxnSpMk id="26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6T18:05:56.467" v="2511"/>
          <ac:cxnSpMkLst>
            <pc:docMk/>
            <pc:sldMk cId="3791577442" sldId="1378"/>
            <ac:cxnSpMk id="50" creationId="{84ECAF22-A457-484C-B844-91B0E8B47A39}"/>
          </ac:cxnSpMkLst>
        </pc:cxnChg>
        <pc:cxnChg chg="mod">
          <ac:chgData name="Disselhoff, Tim" userId="3b8b5473-7050-4f60-8279-e72cc8538d43" providerId="ADAL" clId="{952E53DB-5978-46BA-964C-5B55B87B6690}" dt="2021-08-16T18:05:56.467" v="2511"/>
          <ac:cxnSpMkLst>
            <pc:docMk/>
            <pc:sldMk cId="3791577442" sldId="1378"/>
            <ac:cxnSpMk id="60" creationId="{C970CE1D-3094-45EC-A89B-537D389E1E62}"/>
          </ac:cxnSpMkLst>
        </pc:cxnChg>
        <pc:cxnChg chg="mod">
          <ac:chgData name="Disselhoff, Tim" userId="3b8b5473-7050-4f60-8279-e72cc8538d43" providerId="ADAL" clId="{952E53DB-5978-46BA-964C-5B55B87B6690}" dt="2021-08-16T18:05:56.467" v="2511"/>
          <ac:cxnSpMkLst>
            <pc:docMk/>
            <pc:sldMk cId="3791577442" sldId="1378"/>
            <ac:cxnSpMk id="68" creationId="{4B371F01-2E25-4BA0-A514-714633236051}"/>
          </ac:cxnSpMkLst>
        </pc:cxnChg>
        <pc:cxnChg chg="mod">
          <ac:chgData name="Disselhoff, Tim" userId="3b8b5473-7050-4f60-8279-e72cc8538d43" providerId="ADAL" clId="{952E53DB-5978-46BA-964C-5B55B87B6690}" dt="2021-08-16T18:05:56.467" v="2511"/>
          <ac:cxnSpMkLst>
            <pc:docMk/>
            <pc:sldMk cId="3791577442" sldId="1378"/>
            <ac:cxnSpMk id="75" creationId="{8EBA7A13-04FE-45C4-9B53-20A3F93265A0}"/>
          </ac:cxnSpMkLst>
        </pc:cxnChg>
        <pc:cxnChg chg="mod">
          <ac:chgData name="Disselhoff, Tim" userId="3b8b5473-7050-4f60-8279-e72cc8538d43" providerId="ADAL" clId="{952E53DB-5978-46BA-964C-5B55B87B6690}" dt="2021-08-16T18:05:56.283" v="2496" actId="478"/>
          <ac:cxnSpMkLst>
            <pc:docMk/>
            <pc:sldMk cId="3791577442" sldId="1378"/>
            <ac:cxnSpMk id="149" creationId="{00000000-0000-0000-0000-000000000000}"/>
          </ac:cxnSpMkLst>
        </pc:cxnChg>
      </pc:sldChg>
      <pc:sldChg chg="addSp delSp modSp add del mod modNotes">
        <pc:chgData name="Disselhoff, Tim" userId="3b8b5473-7050-4f60-8279-e72cc8538d43" providerId="ADAL" clId="{952E53DB-5978-46BA-964C-5B55B87B6690}" dt="2021-08-16T19:09:44.446" v="4304" actId="47"/>
        <pc:sldMkLst>
          <pc:docMk/>
          <pc:sldMk cId="803547252" sldId="1379"/>
        </pc:sldMkLst>
        <pc:spChg chg="mod">
          <ac:chgData name="Disselhoff, Tim" userId="3b8b5473-7050-4f60-8279-e72cc8538d43" providerId="ADAL" clId="{952E53DB-5978-46BA-964C-5B55B87B6690}" dt="2021-08-16T18:06:10.727" v="2552" actId="790"/>
          <ac:spMkLst>
            <pc:docMk/>
            <pc:sldMk cId="803547252" sldId="1379"/>
            <ac:spMk id="2" creationId="{9CDF1F80-B95E-2D49-8684-0713E092E188}"/>
          </ac:spMkLst>
        </pc:spChg>
        <pc:spChg chg="del">
          <ac:chgData name="Disselhoff, Tim" userId="3b8b5473-7050-4f60-8279-e72cc8538d43" providerId="ADAL" clId="{952E53DB-5978-46BA-964C-5B55B87B6690}" dt="2021-08-16T18:06:10.391" v="2544"/>
          <ac:spMkLst>
            <pc:docMk/>
            <pc:sldMk cId="803547252" sldId="1379"/>
            <ac:spMk id="40" creationId="{0261E46D-0F96-4E6A-B7C7-E845321E32C5}"/>
          </ac:spMkLst>
        </pc:spChg>
        <pc:spChg chg="mod topLvl">
          <ac:chgData name="Disselhoff, Tim" userId="3b8b5473-7050-4f60-8279-e72cc8538d43" providerId="ADAL" clId="{952E53DB-5978-46BA-964C-5B55B87B6690}" dt="2021-08-16T18:06:10.780" v="2580" actId="790"/>
          <ac:spMkLst>
            <pc:docMk/>
            <pc:sldMk cId="803547252" sldId="1379"/>
            <ac:spMk id="43" creationId="{AF2C9A5F-6356-4D2A-8111-D14486B0CA23}"/>
          </ac:spMkLst>
        </pc:spChg>
        <pc:spChg chg="mod">
          <ac:chgData name="Disselhoff, Tim" userId="3b8b5473-7050-4f60-8279-e72cc8538d43" providerId="ADAL" clId="{952E53DB-5978-46BA-964C-5B55B87B6690}" dt="2021-08-16T18:06:10.734" v="2558" actId="790"/>
          <ac:spMkLst>
            <pc:docMk/>
            <pc:sldMk cId="803547252" sldId="1379"/>
            <ac:spMk id="45" creationId="{EFBC2F5E-DF7A-47C3-853B-8EC50897BA8B}"/>
          </ac:spMkLst>
        </pc:spChg>
        <pc:spChg chg="mod">
          <ac:chgData name="Disselhoff, Tim" userId="3b8b5473-7050-4f60-8279-e72cc8538d43" providerId="ADAL" clId="{952E53DB-5978-46BA-964C-5B55B87B6690}" dt="2021-08-16T18:06:10.735" v="2559" actId="790"/>
          <ac:spMkLst>
            <pc:docMk/>
            <pc:sldMk cId="803547252" sldId="1379"/>
            <ac:spMk id="46" creationId="{9BE5D5D9-E9CB-4BAB-BC69-E7C0CA4EB7B9}"/>
          </ac:spMkLst>
        </pc:spChg>
        <pc:spChg chg="mod">
          <ac:chgData name="Disselhoff, Tim" userId="3b8b5473-7050-4f60-8279-e72cc8538d43" providerId="ADAL" clId="{952E53DB-5978-46BA-964C-5B55B87B6690}" dt="2021-08-16T18:06:10.736" v="2560" actId="790"/>
          <ac:spMkLst>
            <pc:docMk/>
            <pc:sldMk cId="803547252" sldId="1379"/>
            <ac:spMk id="47" creationId="{1363AF93-A2B2-4EDB-B0E2-FFA30E6DA425}"/>
          </ac:spMkLst>
        </pc:spChg>
        <pc:spChg chg="mod">
          <ac:chgData name="Disselhoff, Tim" userId="3b8b5473-7050-4f60-8279-e72cc8538d43" providerId="ADAL" clId="{952E53DB-5978-46BA-964C-5B55B87B6690}" dt="2021-08-16T18:06:10.736" v="2561" actId="790"/>
          <ac:spMkLst>
            <pc:docMk/>
            <pc:sldMk cId="803547252" sldId="1379"/>
            <ac:spMk id="48" creationId="{9329E45B-3DD5-4C52-9A36-D6AF52FC5295}"/>
          </ac:spMkLst>
        </pc:spChg>
        <pc:spChg chg="mod">
          <ac:chgData name="Disselhoff, Tim" userId="3b8b5473-7050-4f60-8279-e72cc8538d43" providerId="ADAL" clId="{952E53DB-5978-46BA-964C-5B55B87B6690}" dt="2021-08-16T18:06:10.737" v="2562" actId="790"/>
          <ac:spMkLst>
            <pc:docMk/>
            <pc:sldMk cId="803547252" sldId="1379"/>
            <ac:spMk id="49" creationId="{47B150EA-9413-4CA4-A2DA-005A5791031A}"/>
          </ac:spMkLst>
        </pc:spChg>
        <pc:spChg chg="mod">
          <ac:chgData name="Disselhoff, Tim" userId="3b8b5473-7050-4f60-8279-e72cc8538d43" providerId="ADAL" clId="{952E53DB-5978-46BA-964C-5B55B87B6690}" dt="2021-08-16T18:06:10.751" v="2563" actId="790"/>
          <ac:spMkLst>
            <pc:docMk/>
            <pc:sldMk cId="803547252" sldId="1379"/>
            <ac:spMk id="52" creationId="{859F9034-83D6-420D-8C81-4D73CF55F01C}"/>
          </ac:spMkLst>
        </pc:spChg>
        <pc:spChg chg="mod">
          <ac:chgData name="Disselhoff, Tim" userId="3b8b5473-7050-4f60-8279-e72cc8538d43" providerId="ADAL" clId="{952E53DB-5978-46BA-964C-5B55B87B6690}" dt="2021-08-16T18:06:10.754" v="2564" actId="790"/>
          <ac:spMkLst>
            <pc:docMk/>
            <pc:sldMk cId="803547252" sldId="1379"/>
            <ac:spMk id="53" creationId="{7626E1B5-3092-413F-93BB-D8E2AB763538}"/>
          </ac:spMkLst>
        </pc:spChg>
        <pc:spChg chg="mod">
          <ac:chgData name="Disselhoff, Tim" userId="3b8b5473-7050-4f60-8279-e72cc8538d43" providerId="ADAL" clId="{952E53DB-5978-46BA-964C-5B55B87B6690}" dt="2021-08-16T18:06:10.758" v="2565" actId="790"/>
          <ac:spMkLst>
            <pc:docMk/>
            <pc:sldMk cId="803547252" sldId="1379"/>
            <ac:spMk id="54" creationId="{8AD1BEF2-14B7-4FCC-90F1-E0A01CFDF1D3}"/>
          </ac:spMkLst>
        </pc:spChg>
        <pc:spChg chg="mod">
          <ac:chgData name="Disselhoff, Tim" userId="3b8b5473-7050-4f60-8279-e72cc8538d43" providerId="ADAL" clId="{952E53DB-5978-46BA-964C-5B55B87B6690}" dt="2021-08-16T18:06:10.761" v="2566" actId="790"/>
          <ac:spMkLst>
            <pc:docMk/>
            <pc:sldMk cId="803547252" sldId="1379"/>
            <ac:spMk id="55" creationId="{D597BE0C-C867-4B9D-AAC4-2808B318745F}"/>
          </ac:spMkLst>
        </pc:spChg>
        <pc:spChg chg="mod">
          <ac:chgData name="Disselhoff, Tim" userId="3b8b5473-7050-4f60-8279-e72cc8538d43" providerId="ADAL" clId="{952E53DB-5978-46BA-964C-5B55B87B6690}" dt="2021-08-16T18:06:10.765" v="2567" actId="790"/>
          <ac:spMkLst>
            <pc:docMk/>
            <pc:sldMk cId="803547252" sldId="1379"/>
            <ac:spMk id="56" creationId="{AA85279F-BFDC-4EE5-947E-77FFC1CC82ED}"/>
          </ac:spMkLst>
        </pc:spChg>
        <pc:spChg chg="mod">
          <ac:chgData name="Disselhoff, Tim" userId="3b8b5473-7050-4f60-8279-e72cc8538d43" providerId="ADAL" clId="{952E53DB-5978-46BA-964C-5B55B87B6690}" dt="2021-08-16T18:06:10.766" v="2568" actId="790"/>
          <ac:spMkLst>
            <pc:docMk/>
            <pc:sldMk cId="803547252" sldId="1379"/>
            <ac:spMk id="57" creationId="{CF979891-1FE8-43C7-820F-0A49506E2E68}"/>
          </ac:spMkLst>
        </pc:spChg>
        <pc:spChg chg="mod">
          <ac:chgData name="Disselhoff, Tim" userId="3b8b5473-7050-4f60-8279-e72cc8538d43" providerId="ADAL" clId="{952E53DB-5978-46BA-964C-5B55B87B6690}" dt="2021-08-16T18:06:10.767" v="2569" actId="790"/>
          <ac:spMkLst>
            <pc:docMk/>
            <pc:sldMk cId="803547252" sldId="1379"/>
            <ac:spMk id="58" creationId="{5551E523-4C69-4BEC-BA09-6B8C87EC52DE}"/>
          </ac:spMkLst>
        </pc:spChg>
        <pc:spChg chg="mod">
          <ac:chgData name="Disselhoff, Tim" userId="3b8b5473-7050-4f60-8279-e72cc8538d43" providerId="ADAL" clId="{952E53DB-5978-46BA-964C-5B55B87B6690}" dt="2021-08-16T18:06:10.768" v="2570" actId="790"/>
          <ac:spMkLst>
            <pc:docMk/>
            <pc:sldMk cId="803547252" sldId="1379"/>
            <ac:spMk id="59" creationId="{AF3E2A65-5DEF-4090-8968-DB3716708CDA}"/>
          </ac:spMkLst>
        </pc:spChg>
        <pc:spChg chg="mod">
          <ac:chgData name="Disselhoff, Tim" userId="3b8b5473-7050-4f60-8279-e72cc8538d43" providerId="ADAL" clId="{952E53DB-5978-46BA-964C-5B55B87B6690}" dt="2021-08-16T18:06:10.769" v="2571" actId="790"/>
          <ac:spMkLst>
            <pc:docMk/>
            <pc:sldMk cId="803547252" sldId="1379"/>
            <ac:spMk id="60" creationId="{37B3934E-C259-4F30-A1FE-0AB13833808C}"/>
          </ac:spMkLst>
        </pc:spChg>
        <pc:spChg chg="mod">
          <ac:chgData name="Disselhoff, Tim" userId="3b8b5473-7050-4f60-8279-e72cc8538d43" providerId="ADAL" clId="{952E53DB-5978-46BA-964C-5B55B87B6690}" dt="2021-08-16T18:06:10.770" v="2572" actId="790"/>
          <ac:spMkLst>
            <pc:docMk/>
            <pc:sldMk cId="803547252" sldId="1379"/>
            <ac:spMk id="61" creationId="{925C1443-A6C8-4EE4-8721-E5748F32D171}"/>
          </ac:spMkLst>
        </pc:spChg>
        <pc:spChg chg="mod">
          <ac:chgData name="Disselhoff, Tim" userId="3b8b5473-7050-4f60-8279-e72cc8538d43" providerId="ADAL" clId="{952E53DB-5978-46BA-964C-5B55B87B6690}" dt="2021-08-16T18:06:10.771" v="2573" actId="790"/>
          <ac:spMkLst>
            <pc:docMk/>
            <pc:sldMk cId="803547252" sldId="1379"/>
            <ac:spMk id="62" creationId="{EA1253CA-F98C-459C-BB34-3C4EAF3327FB}"/>
          </ac:spMkLst>
        </pc:spChg>
        <pc:spChg chg="mod">
          <ac:chgData name="Disselhoff, Tim" userId="3b8b5473-7050-4f60-8279-e72cc8538d43" providerId="ADAL" clId="{952E53DB-5978-46BA-964C-5B55B87B6690}" dt="2021-08-16T18:06:10.773" v="2574" actId="790"/>
          <ac:spMkLst>
            <pc:docMk/>
            <pc:sldMk cId="803547252" sldId="1379"/>
            <ac:spMk id="63" creationId="{B2DDC9D2-0D3F-49BF-84D4-11C1364CD4B2}"/>
          </ac:spMkLst>
        </pc:spChg>
        <pc:spChg chg="mod">
          <ac:chgData name="Disselhoff, Tim" userId="3b8b5473-7050-4f60-8279-e72cc8538d43" providerId="ADAL" clId="{952E53DB-5978-46BA-964C-5B55B87B6690}" dt="2021-08-16T18:06:10.774" v="2575" actId="790"/>
          <ac:spMkLst>
            <pc:docMk/>
            <pc:sldMk cId="803547252" sldId="1379"/>
            <ac:spMk id="64" creationId="{3D30D574-43EF-4A99-91A7-9FA1B8580CA8}"/>
          </ac:spMkLst>
        </pc:spChg>
        <pc:spChg chg="mod">
          <ac:chgData name="Disselhoff, Tim" userId="3b8b5473-7050-4f60-8279-e72cc8538d43" providerId="ADAL" clId="{952E53DB-5978-46BA-964C-5B55B87B6690}" dt="2021-08-16T18:06:10.775" v="2576" actId="790"/>
          <ac:spMkLst>
            <pc:docMk/>
            <pc:sldMk cId="803547252" sldId="1379"/>
            <ac:spMk id="65" creationId="{E27BD14D-C471-4B52-ACEF-07DA88C42240}"/>
          </ac:spMkLst>
        </pc:spChg>
        <pc:spChg chg="mod">
          <ac:chgData name="Disselhoff, Tim" userId="3b8b5473-7050-4f60-8279-e72cc8538d43" providerId="ADAL" clId="{952E53DB-5978-46BA-964C-5B55B87B6690}" dt="2021-08-16T18:06:10.776" v="2577" actId="790"/>
          <ac:spMkLst>
            <pc:docMk/>
            <pc:sldMk cId="803547252" sldId="1379"/>
            <ac:spMk id="66" creationId="{8AD02D11-602B-468C-BA97-81FD6056E687}"/>
          </ac:spMkLst>
        </pc:spChg>
        <pc:spChg chg="mod">
          <ac:chgData name="Disselhoff, Tim" userId="3b8b5473-7050-4f60-8279-e72cc8538d43" providerId="ADAL" clId="{952E53DB-5978-46BA-964C-5B55B87B6690}" dt="2021-08-16T18:06:10.778" v="2578" actId="790"/>
          <ac:spMkLst>
            <pc:docMk/>
            <pc:sldMk cId="803547252" sldId="1379"/>
            <ac:spMk id="67" creationId="{7F6DB94A-76F1-4DEC-AC6B-90B73D38D816}"/>
          </ac:spMkLst>
        </pc:spChg>
        <pc:spChg chg="mod">
          <ac:chgData name="Disselhoff, Tim" userId="3b8b5473-7050-4f60-8279-e72cc8538d43" providerId="ADAL" clId="{952E53DB-5978-46BA-964C-5B55B87B6690}" dt="2021-08-16T18:06:10.778" v="2579" actId="790"/>
          <ac:spMkLst>
            <pc:docMk/>
            <pc:sldMk cId="803547252" sldId="1379"/>
            <ac:spMk id="68" creationId="{8FC85022-7D68-444E-873A-F4376FA23E91}"/>
          </ac:spMkLst>
        </pc:spChg>
        <pc:spChg chg="mod">
          <ac:chgData name="Disselhoff, Tim" userId="3b8b5473-7050-4f60-8279-e72cc8538d43" providerId="ADAL" clId="{952E53DB-5978-46BA-964C-5B55B87B6690}" dt="2021-08-16T18:06:10.729" v="2553" actId="790"/>
          <ac:spMkLst>
            <pc:docMk/>
            <pc:sldMk cId="803547252" sldId="1379"/>
            <ac:spMk id="74" creationId="{6C0BD68F-F8D8-4D9B-8ED0-29219793588F}"/>
          </ac:spMkLst>
        </pc:spChg>
        <pc:spChg chg="mod">
          <ac:chgData name="Disselhoff, Tim" userId="3b8b5473-7050-4f60-8279-e72cc8538d43" providerId="ADAL" clId="{952E53DB-5978-46BA-964C-5B55B87B6690}" dt="2021-08-16T18:06:10.730" v="2554" actId="790"/>
          <ac:spMkLst>
            <pc:docMk/>
            <pc:sldMk cId="803547252" sldId="1379"/>
            <ac:spMk id="75" creationId="{6ECB899B-BF5B-4E9D-89B2-B30EF1D5C9C7}"/>
          </ac:spMkLst>
        </pc:spChg>
        <pc:spChg chg="mod">
          <ac:chgData name="Disselhoff, Tim" userId="3b8b5473-7050-4f60-8279-e72cc8538d43" providerId="ADAL" clId="{952E53DB-5978-46BA-964C-5B55B87B6690}" dt="2021-08-16T18:06:10.731" v="2555" actId="790"/>
          <ac:spMkLst>
            <pc:docMk/>
            <pc:sldMk cId="803547252" sldId="1379"/>
            <ac:spMk id="76" creationId="{2C45CCE8-5703-4C41-A45D-C5C2170E7964}"/>
          </ac:spMkLst>
        </pc:spChg>
        <pc:spChg chg="mod">
          <ac:chgData name="Disselhoff, Tim" userId="3b8b5473-7050-4f60-8279-e72cc8538d43" providerId="ADAL" clId="{952E53DB-5978-46BA-964C-5B55B87B6690}" dt="2021-08-16T18:06:10.732" v="2556" actId="790"/>
          <ac:spMkLst>
            <pc:docMk/>
            <pc:sldMk cId="803547252" sldId="1379"/>
            <ac:spMk id="77" creationId="{7F65CEFA-BB3B-4EC6-968A-77C57A01610F}"/>
          </ac:spMkLst>
        </pc:spChg>
        <pc:spChg chg="mod">
          <ac:chgData name="Disselhoff, Tim" userId="3b8b5473-7050-4f60-8279-e72cc8538d43" providerId="ADAL" clId="{952E53DB-5978-46BA-964C-5B55B87B6690}" dt="2021-08-16T18:06:10.733" v="2557" actId="790"/>
          <ac:spMkLst>
            <pc:docMk/>
            <pc:sldMk cId="803547252" sldId="1379"/>
            <ac:spMk id="78" creationId="{5F4108D8-D1B8-4896-98C6-5172DF441BEC}"/>
          </ac:spMkLst>
        </pc:spChg>
        <pc:grpChg chg="del">
          <ac:chgData name="Disselhoff, Tim" userId="3b8b5473-7050-4f60-8279-e72cc8538d43" providerId="ADAL" clId="{952E53DB-5978-46BA-964C-5B55B87B6690}" dt="2021-08-16T18:06:10.390" v="2542"/>
          <ac:grpSpMkLst>
            <pc:docMk/>
            <pc:sldMk cId="803547252" sldId="1379"/>
            <ac:grpSpMk id="4" creationId="{DBBA0420-00AE-4C9D-9421-C654167D6F66}"/>
          </ac:grpSpMkLst>
        </pc:grpChg>
        <pc:grpChg chg="add del mod">
          <ac:chgData name="Disselhoff, Tim" userId="3b8b5473-7050-4f60-8279-e72cc8538d43" providerId="ADAL" clId="{952E53DB-5978-46BA-964C-5B55B87B6690}" dt="2021-08-16T18:06:10.415" v="2550"/>
          <ac:grpSpMkLst>
            <pc:docMk/>
            <pc:sldMk cId="803547252" sldId="1379"/>
            <ac:grpSpMk id="41" creationId="{DC74D81D-BD9A-4CAA-9E7A-406A69659B23}"/>
          </ac:grpSpMkLst>
        </pc:grpChg>
        <pc:grpChg chg="mod topLvl">
          <ac:chgData name="Disselhoff, Tim" userId="3b8b5473-7050-4f60-8279-e72cc8538d43" providerId="ADAL" clId="{952E53DB-5978-46BA-964C-5B55B87B6690}" dt="2021-08-16T18:06:10.415" v="2550"/>
          <ac:grpSpMkLst>
            <pc:docMk/>
            <pc:sldMk cId="803547252" sldId="1379"/>
            <ac:grpSpMk id="42" creationId="{57B8094F-0955-4A95-96B3-0E0245C5D87F}"/>
          </ac:grpSpMkLst>
        </pc:grpChg>
        <pc:grpChg chg="mod">
          <ac:chgData name="Disselhoff, Tim" userId="3b8b5473-7050-4f60-8279-e72cc8538d43" providerId="ADAL" clId="{952E53DB-5978-46BA-964C-5B55B87B6690}" dt="2021-08-16T18:06:10.415" v="2550"/>
          <ac:grpSpMkLst>
            <pc:docMk/>
            <pc:sldMk cId="803547252" sldId="1379"/>
            <ac:grpSpMk id="44" creationId="{FB4EA070-8E72-431A-894F-FF1537FFEF54}"/>
          </ac:grpSpMkLst>
        </pc:grpChg>
        <pc:grpChg chg="mod">
          <ac:chgData name="Disselhoff, Tim" userId="3b8b5473-7050-4f60-8279-e72cc8538d43" providerId="ADAL" clId="{952E53DB-5978-46BA-964C-5B55B87B6690}" dt="2021-08-16T18:06:10.415" v="2550"/>
          <ac:grpSpMkLst>
            <pc:docMk/>
            <pc:sldMk cId="803547252" sldId="1379"/>
            <ac:grpSpMk id="50" creationId="{91B81E0C-218E-4608-9212-EC30C2AE0975}"/>
          </ac:grpSpMkLst>
        </pc:grpChg>
        <pc:grpChg chg="mod">
          <ac:chgData name="Disselhoff, Tim" userId="3b8b5473-7050-4f60-8279-e72cc8538d43" providerId="ADAL" clId="{952E53DB-5978-46BA-964C-5B55B87B6690}" dt="2021-08-16T18:06:10.415" v="2550"/>
          <ac:grpSpMkLst>
            <pc:docMk/>
            <pc:sldMk cId="803547252" sldId="1379"/>
            <ac:grpSpMk id="51" creationId="{33E92A8F-4D0D-475F-83B0-B2481F8DE751}"/>
          </ac:grpSpMkLst>
        </pc:grpChg>
        <pc:cxnChg chg="mod">
          <ac:chgData name="Disselhoff, Tim" userId="3b8b5473-7050-4f60-8279-e72cc8538d43" providerId="ADAL" clId="{952E53DB-5978-46BA-964C-5B55B87B6690}" dt="2021-08-16T18:06:10.415" v="2550"/>
          <ac:cxnSpMkLst>
            <pc:docMk/>
            <pc:sldMk cId="803547252" sldId="1379"/>
            <ac:cxnSpMk id="69" creationId="{83A93A0F-4435-4642-B5BD-AB04AFF65081}"/>
          </ac:cxnSpMkLst>
        </pc:cxnChg>
        <pc:cxnChg chg="mod">
          <ac:chgData name="Disselhoff, Tim" userId="3b8b5473-7050-4f60-8279-e72cc8538d43" providerId="ADAL" clId="{952E53DB-5978-46BA-964C-5B55B87B6690}" dt="2021-08-16T18:06:10.415" v="2550"/>
          <ac:cxnSpMkLst>
            <pc:docMk/>
            <pc:sldMk cId="803547252" sldId="1379"/>
            <ac:cxnSpMk id="70" creationId="{0477F67E-10CF-4603-A8E6-62F0A73064AD}"/>
          </ac:cxnSpMkLst>
        </pc:cxnChg>
        <pc:cxnChg chg="mod">
          <ac:chgData name="Disselhoff, Tim" userId="3b8b5473-7050-4f60-8279-e72cc8538d43" providerId="ADAL" clId="{952E53DB-5978-46BA-964C-5B55B87B6690}" dt="2021-08-16T18:06:10.415" v="2550"/>
          <ac:cxnSpMkLst>
            <pc:docMk/>
            <pc:sldMk cId="803547252" sldId="1379"/>
            <ac:cxnSpMk id="71" creationId="{12B90815-F556-4B32-8373-4F8F7F1F924A}"/>
          </ac:cxnSpMkLst>
        </pc:cxnChg>
        <pc:cxnChg chg="mod">
          <ac:chgData name="Disselhoff, Tim" userId="3b8b5473-7050-4f60-8279-e72cc8538d43" providerId="ADAL" clId="{952E53DB-5978-46BA-964C-5B55B87B6690}" dt="2021-08-16T18:06:10.415" v="2550"/>
          <ac:cxnSpMkLst>
            <pc:docMk/>
            <pc:sldMk cId="803547252" sldId="1379"/>
            <ac:cxnSpMk id="72" creationId="{488198A0-98AA-4EC0-9D1E-C8DB4A81F3DD}"/>
          </ac:cxnSpMkLst>
        </pc:cxnChg>
        <pc:cxnChg chg="mod">
          <ac:chgData name="Disselhoff, Tim" userId="3b8b5473-7050-4f60-8279-e72cc8538d43" providerId="ADAL" clId="{952E53DB-5978-46BA-964C-5B55B87B6690}" dt="2021-08-16T18:06:10.415" v="2550"/>
          <ac:cxnSpMkLst>
            <pc:docMk/>
            <pc:sldMk cId="803547252" sldId="1379"/>
            <ac:cxnSpMk id="73" creationId="{11146AE4-5F03-4689-9949-80C22561537B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6T18:46:58.195" v="4167" actId="47"/>
        <pc:sldMkLst>
          <pc:docMk/>
          <pc:sldMk cId="3334837168" sldId="1380"/>
        </pc:sldMkLst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95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96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97" creationId="{2FE41CDF-44BD-D742-B250-ACB134D777AC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0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01" creationId="{DE91575A-3185-DE4E-BF38-E185B82E0FCB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0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03" creationId="{DE91575A-3185-DE4E-BF38-E185B82E0FCB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17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18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42.021" v="2602" actId="478"/>
          <ac:spMkLst>
            <pc:docMk/>
            <pc:sldMk cId="3334837168" sldId="1380"/>
            <ac:spMk id="12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4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5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7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8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29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4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5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37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44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49" creationId="{7FA3F2B3-2136-40C2-A032-347215914C98}"/>
          </ac:spMkLst>
        </pc:spChg>
        <pc:spChg chg="del">
          <ac:chgData name="Disselhoff, Tim" userId="3b8b5473-7050-4f60-8279-e72cc8538d43" providerId="ADAL" clId="{952E53DB-5978-46BA-964C-5B55B87B6690}" dt="2021-08-16T18:10:42.021" v="2602" actId="478"/>
          <ac:spMkLst>
            <pc:docMk/>
            <pc:sldMk cId="3334837168" sldId="1380"/>
            <ac:spMk id="15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42.021" v="2602" actId="478"/>
          <ac:spMkLst>
            <pc:docMk/>
            <pc:sldMk cId="3334837168" sldId="1380"/>
            <ac:spMk id="15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5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54" creationId="{7FA3F2B3-2136-40C2-A032-347215914C98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8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0:38.081" v="2601" actId="478"/>
          <ac:spMkLst>
            <pc:docMk/>
            <pc:sldMk cId="3334837168" sldId="1380"/>
            <ac:spMk id="182" creationId="{DE91575A-3185-DE4E-BF38-E185B82E0FCB}"/>
          </ac:spMkLst>
        </pc:spChg>
        <pc:spChg chg="del">
          <ac:chgData name="Disselhoff, Tim" userId="3b8b5473-7050-4f60-8279-e72cc8538d43" providerId="ADAL" clId="{952E53DB-5978-46BA-964C-5B55B87B6690}" dt="2021-08-16T18:10:42.021" v="2602" actId="478"/>
          <ac:spMkLst>
            <pc:docMk/>
            <pc:sldMk cId="3334837168" sldId="1380"/>
            <ac:spMk id="18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10:48.479" v="2603"/>
          <ac:spMkLst>
            <pc:docMk/>
            <pc:sldMk cId="3334837168" sldId="1380"/>
            <ac:spMk id="197" creationId="{33B4A255-A42A-47E5-BBF8-450FEC78C35C}"/>
          </ac:spMkLst>
        </pc:spChg>
        <pc:spChg chg="mod">
          <ac:chgData name="Disselhoff, Tim" userId="3b8b5473-7050-4f60-8279-e72cc8538d43" providerId="ADAL" clId="{952E53DB-5978-46BA-964C-5B55B87B6690}" dt="2021-08-16T18:15:59.077" v="2779" actId="208"/>
          <ac:spMkLst>
            <pc:docMk/>
            <pc:sldMk cId="3334837168" sldId="1380"/>
            <ac:spMk id="198" creationId="{4FD3C07C-4B78-484D-9648-55078F5DE087}"/>
          </ac:spMkLst>
        </pc:spChg>
        <pc:spChg chg="mod">
          <ac:chgData name="Disselhoff, Tim" userId="3b8b5473-7050-4f60-8279-e72cc8538d43" providerId="ADAL" clId="{952E53DB-5978-46BA-964C-5B55B87B6690}" dt="2021-08-16T18:15:45.758" v="2777" actId="208"/>
          <ac:spMkLst>
            <pc:docMk/>
            <pc:sldMk cId="3334837168" sldId="1380"/>
            <ac:spMk id="199" creationId="{2CBD80C7-DE19-41BB-9401-273E837E419D}"/>
          </ac:spMkLst>
        </pc:spChg>
        <pc:spChg chg="mod">
          <ac:chgData name="Disselhoff, Tim" userId="3b8b5473-7050-4f60-8279-e72cc8538d43" providerId="ADAL" clId="{952E53DB-5978-46BA-964C-5B55B87B6690}" dt="2021-08-16T18:15:50.279" v="2778" actId="208"/>
          <ac:spMkLst>
            <pc:docMk/>
            <pc:sldMk cId="3334837168" sldId="1380"/>
            <ac:spMk id="200" creationId="{A53386E8-9D04-4401-84C1-CE8DB86499D4}"/>
          </ac:spMkLst>
        </pc:spChg>
        <pc:spChg chg="mod">
          <ac:chgData name="Disselhoff, Tim" userId="3b8b5473-7050-4f60-8279-e72cc8538d43" providerId="ADAL" clId="{952E53DB-5978-46BA-964C-5B55B87B6690}" dt="2021-08-16T18:16:05.430" v="2780" actId="208"/>
          <ac:spMkLst>
            <pc:docMk/>
            <pc:sldMk cId="3334837168" sldId="1380"/>
            <ac:spMk id="201" creationId="{60153D2B-67A4-4BD9-9702-351AD78AD926}"/>
          </ac:spMkLst>
        </pc:spChg>
        <pc:spChg chg="add mod">
          <ac:chgData name="Disselhoff, Tim" userId="3b8b5473-7050-4f60-8279-e72cc8538d43" providerId="ADAL" clId="{952E53DB-5978-46BA-964C-5B55B87B6690}" dt="2021-08-16T18:12:34.047" v="2659" actId="207"/>
          <ac:spMkLst>
            <pc:docMk/>
            <pc:sldMk cId="3334837168" sldId="1380"/>
            <ac:spMk id="202" creationId="{02218789-BB2C-4DF6-8226-EB9DB14783D6}"/>
          </ac:spMkLst>
        </pc:spChg>
        <pc:spChg chg="add mod">
          <ac:chgData name="Disselhoff, Tim" userId="3b8b5473-7050-4f60-8279-e72cc8538d43" providerId="ADAL" clId="{952E53DB-5978-46BA-964C-5B55B87B6690}" dt="2021-08-16T18:12:50.366" v="2660" actId="207"/>
          <ac:spMkLst>
            <pc:docMk/>
            <pc:sldMk cId="3334837168" sldId="1380"/>
            <ac:spMk id="203" creationId="{574A566D-36B0-4C0D-8434-34E020E4CD2C}"/>
          </ac:spMkLst>
        </pc:spChg>
        <pc:spChg chg="add mod">
          <ac:chgData name="Disselhoff, Tim" userId="3b8b5473-7050-4f60-8279-e72cc8538d43" providerId="ADAL" clId="{952E53DB-5978-46BA-964C-5B55B87B6690}" dt="2021-08-16T18:12:34.047" v="2659" actId="207"/>
          <ac:spMkLst>
            <pc:docMk/>
            <pc:sldMk cId="3334837168" sldId="1380"/>
            <ac:spMk id="204" creationId="{C87EE9CE-0A39-42B6-9AE6-CFFD383404CE}"/>
          </ac:spMkLst>
        </pc:spChg>
        <pc:spChg chg="add mod">
          <ac:chgData name="Disselhoff, Tim" userId="3b8b5473-7050-4f60-8279-e72cc8538d43" providerId="ADAL" clId="{952E53DB-5978-46BA-964C-5B55B87B6690}" dt="2021-08-16T18:12:50.366" v="2660" actId="207"/>
          <ac:spMkLst>
            <pc:docMk/>
            <pc:sldMk cId="3334837168" sldId="1380"/>
            <ac:spMk id="205" creationId="{E1792963-3546-4BFD-8D1A-BA34CA47745D}"/>
          </ac:spMkLst>
        </pc:spChg>
        <pc:spChg chg="add mod">
          <ac:chgData name="Disselhoff, Tim" userId="3b8b5473-7050-4f60-8279-e72cc8538d43" providerId="ADAL" clId="{952E53DB-5978-46BA-964C-5B55B87B6690}" dt="2021-08-16T18:12:34.047" v="2659" actId="207"/>
          <ac:spMkLst>
            <pc:docMk/>
            <pc:sldMk cId="3334837168" sldId="1380"/>
            <ac:spMk id="206" creationId="{4B3C7CAF-5C5E-47C4-8C7B-72CDF41A670A}"/>
          </ac:spMkLst>
        </pc:spChg>
        <pc:spChg chg="add mod">
          <ac:chgData name="Disselhoff, Tim" userId="3b8b5473-7050-4f60-8279-e72cc8538d43" providerId="ADAL" clId="{952E53DB-5978-46BA-964C-5B55B87B6690}" dt="2021-08-16T18:14:23.172" v="2737" actId="1036"/>
          <ac:spMkLst>
            <pc:docMk/>
            <pc:sldMk cId="3334837168" sldId="1380"/>
            <ac:spMk id="214" creationId="{1DB6B88C-ECB5-4448-BD58-2C51BDCEE0A5}"/>
          </ac:spMkLst>
        </pc:spChg>
        <pc:spChg chg="add mod">
          <ac:chgData name="Disselhoff, Tim" userId="3b8b5473-7050-4f60-8279-e72cc8538d43" providerId="ADAL" clId="{952E53DB-5978-46BA-964C-5B55B87B6690}" dt="2021-08-16T18:14:23.172" v="2737" actId="1036"/>
          <ac:spMkLst>
            <pc:docMk/>
            <pc:sldMk cId="3334837168" sldId="1380"/>
            <ac:spMk id="215" creationId="{75ECADE8-3103-4B20-BA19-0554069258A4}"/>
          </ac:spMkLst>
        </pc:spChg>
        <pc:spChg chg="add mod">
          <ac:chgData name="Disselhoff, Tim" userId="3b8b5473-7050-4f60-8279-e72cc8538d43" providerId="ADAL" clId="{952E53DB-5978-46BA-964C-5B55B87B6690}" dt="2021-08-16T18:14:23.172" v="2737" actId="1036"/>
          <ac:spMkLst>
            <pc:docMk/>
            <pc:sldMk cId="3334837168" sldId="1380"/>
            <ac:spMk id="216" creationId="{06935711-88E4-4E58-B4C9-4F9FF8B6A7E7}"/>
          </ac:spMkLst>
        </pc:spChg>
        <pc:spChg chg="add mod">
          <ac:chgData name="Disselhoff, Tim" userId="3b8b5473-7050-4f60-8279-e72cc8538d43" providerId="ADAL" clId="{952E53DB-5978-46BA-964C-5B55B87B6690}" dt="2021-08-16T18:13:48.121" v="2685" actId="20577"/>
          <ac:spMkLst>
            <pc:docMk/>
            <pc:sldMk cId="3334837168" sldId="1380"/>
            <ac:spMk id="217" creationId="{3D0E0F0B-E0A5-4F35-8CFB-F5AB6D6FB554}"/>
          </ac:spMkLst>
        </pc:spChg>
        <pc:spChg chg="add mod">
          <ac:chgData name="Disselhoff, Tim" userId="3b8b5473-7050-4f60-8279-e72cc8538d43" providerId="ADAL" clId="{952E53DB-5978-46BA-964C-5B55B87B6690}" dt="2021-08-16T18:14:33.043" v="2748" actId="20577"/>
          <ac:spMkLst>
            <pc:docMk/>
            <pc:sldMk cId="3334837168" sldId="1380"/>
            <ac:spMk id="218" creationId="{C1EA8D65-1C1C-4350-95E1-07A4491AF15C}"/>
          </ac:spMkLst>
        </pc:spChg>
        <pc:spChg chg="add mod">
          <ac:chgData name="Disselhoff, Tim" userId="3b8b5473-7050-4f60-8279-e72cc8538d43" providerId="ADAL" clId="{952E53DB-5978-46BA-964C-5B55B87B6690}" dt="2021-08-16T18:13:07.487" v="2664" actId="2085"/>
          <ac:spMkLst>
            <pc:docMk/>
            <pc:sldMk cId="3334837168" sldId="1380"/>
            <ac:spMk id="219" creationId="{612E6978-B709-42D8-8CD5-F3BCD1823BB7}"/>
          </ac:spMkLst>
        </pc:spChg>
        <pc:spChg chg="add mod">
          <ac:chgData name="Disselhoff, Tim" userId="3b8b5473-7050-4f60-8279-e72cc8538d43" providerId="ADAL" clId="{952E53DB-5978-46BA-964C-5B55B87B6690}" dt="2021-08-16T18:13:03.614" v="2662" actId="2085"/>
          <ac:spMkLst>
            <pc:docMk/>
            <pc:sldMk cId="3334837168" sldId="1380"/>
            <ac:spMk id="220" creationId="{79D99FC4-2BB4-4A2B-A602-A02534502757}"/>
          </ac:spMkLst>
        </pc:spChg>
        <pc:spChg chg="add mod">
          <ac:chgData name="Disselhoff, Tim" userId="3b8b5473-7050-4f60-8279-e72cc8538d43" providerId="ADAL" clId="{952E53DB-5978-46BA-964C-5B55B87B6690}" dt="2021-08-16T18:13:03.614" v="2662" actId="2085"/>
          <ac:spMkLst>
            <pc:docMk/>
            <pc:sldMk cId="3334837168" sldId="1380"/>
            <ac:spMk id="221" creationId="{37EAA3E6-6BE1-40A3-8060-8D29D7DBFF0D}"/>
          </ac:spMkLst>
        </pc:spChg>
        <pc:spChg chg="add mod">
          <ac:chgData name="Disselhoff, Tim" userId="3b8b5473-7050-4f60-8279-e72cc8538d43" providerId="ADAL" clId="{952E53DB-5978-46BA-964C-5B55B87B6690}" dt="2021-08-16T18:13:17.410" v="2666" actId="2085"/>
          <ac:spMkLst>
            <pc:docMk/>
            <pc:sldMk cId="3334837168" sldId="1380"/>
            <ac:spMk id="222" creationId="{6937BBB2-D5AC-41C3-82A5-0890C473968F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3" creationId="{BFBCB5A5-39A8-4236-BC5B-3C14B0BA4F91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4" creationId="{D98D5A41-238D-4413-BE01-EA3E4623F576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5" creationId="{87899F73-EF16-4BA8-A77B-D37333E2060A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6" creationId="{4608056B-4104-4663-94D5-07B238D0A2C6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7" creationId="{7FEDA1E9-9025-4222-8B3E-007DABE933E3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8" creationId="{341DB174-C2B6-4609-9BEA-1A41A014DFF6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29" creationId="{F2AE54A5-748B-45B5-8772-7F29C09500DB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30" creationId="{71248B5A-4534-4A22-B526-3476100187D4}"/>
          </ac:spMkLst>
        </pc:spChg>
        <pc:spChg chg="add mod">
          <ac:chgData name="Disselhoff, Tim" userId="3b8b5473-7050-4f60-8279-e72cc8538d43" providerId="ADAL" clId="{952E53DB-5978-46BA-964C-5B55B87B6690}" dt="2021-08-16T18:16:15.238" v="2782" actId="208"/>
          <ac:spMkLst>
            <pc:docMk/>
            <pc:sldMk cId="3334837168" sldId="1380"/>
            <ac:spMk id="231" creationId="{CC251BAF-13A4-4ECA-A47E-A0853474ED72}"/>
          </ac:spMkLst>
        </pc:spChg>
        <pc:spChg chg="add mod">
          <ac:chgData name="Disselhoff, Tim" userId="3b8b5473-7050-4f60-8279-e72cc8538d43" providerId="ADAL" clId="{952E53DB-5978-46BA-964C-5B55B87B6690}" dt="2021-08-16T18:12:50.366" v="2660" actId="207"/>
          <ac:spMkLst>
            <pc:docMk/>
            <pc:sldMk cId="3334837168" sldId="1380"/>
            <ac:spMk id="232" creationId="{2EF3E5C7-1C8A-47E8-8105-E633AC406B0F}"/>
          </ac:spMkLst>
        </pc:spChg>
        <pc:spChg chg="add mod">
          <ac:chgData name="Disselhoff, Tim" userId="3b8b5473-7050-4f60-8279-e72cc8538d43" providerId="ADAL" clId="{952E53DB-5978-46BA-964C-5B55B87B6690}" dt="2021-08-16T18:14:18.391" v="2730" actId="20577"/>
          <ac:spMkLst>
            <pc:docMk/>
            <pc:sldMk cId="3334837168" sldId="1380"/>
            <ac:spMk id="233" creationId="{3F6ADF69-A80C-40A4-9F54-E20D16DB37A7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34" creationId="{79689C16-F7F3-40E8-A4C1-FE04F684773C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35" creationId="{730850F4-D928-4CB3-B21A-178A5EF20BFE}"/>
          </ac:spMkLst>
        </pc:spChg>
        <pc:spChg chg="add mod">
          <ac:chgData name="Disselhoff, Tim" userId="3b8b5473-7050-4f60-8279-e72cc8538d43" providerId="ADAL" clId="{952E53DB-5978-46BA-964C-5B55B87B6690}" dt="2021-08-16T18:11:58.828" v="2656" actId="1037"/>
          <ac:spMkLst>
            <pc:docMk/>
            <pc:sldMk cId="3334837168" sldId="1380"/>
            <ac:spMk id="236" creationId="{47E1E454-6BC6-4FE5-A45F-0AAE081AFE7A}"/>
          </ac:spMkLst>
        </pc:spChg>
        <pc:spChg chg="add mod">
          <ac:chgData name="Disselhoff, Tim" userId="3b8b5473-7050-4f60-8279-e72cc8538d43" providerId="ADAL" clId="{952E53DB-5978-46BA-964C-5B55B87B6690}" dt="2021-08-16T18:14:51.032" v="2776" actId="20577"/>
          <ac:spMkLst>
            <pc:docMk/>
            <pc:sldMk cId="3334837168" sldId="1380"/>
            <ac:spMk id="238" creationId="{79A881F8-AF5B-4B1F-8158-3E93D8E8147B}"/>
          </ac:spMkLst>
        </pc:spChg>
        <pc:grpChg chg="del">
          <ac:chgData name="Disselhoff, Tim" userId="3b8b5473-7050-4f60-8279-e72cc8538d43" providerId="ADAL" clId="{952E53DB-5978-46BA-964C-5B55B87B6690}" dt="2021-08-16T18:10:38.081" v="2601" actId="478"/>
          <ac:grpSpMkLst>
            <pc:docMk/>
            <pc:sldMk cId="3334837168" sldId="1380"/>
            <ac:grpSpMk id="15" creationId="{D0D40451-B4D6-4DB8-BF00-CBAA8AC7D6DE}"/>
          </ac:grpSpMkLst>
        </pc:grpChg>
        <pc:grpChg chg="del">
          <ac:chgData name="Disselhoff, Tim" userId="3b8b5473-7050-4f60-8279-e72cc8538d43" providerId="ADAL" clId="{952E53DB-5978-46BA-964C-5B55B87B6690}" dt="2021-08-16T18:10:38.081" v="2601" actId="478"/>
          <ac:grpSpMkLst>
            <pc:docMk/>
            <pc:sldMk cId="3334837168" sldId="1380"/>
            <ac:grpSpMk id="35" creationId="{D19E8030-BEB1-41C8-90F8-E4F59D9D25A9}"/>
          </ac:grpSpMkLst>
        </pc:grpChg>
        <pc:grpChg chg="del">
          <ac:chgData name="Disselhoff, Tim" userId="3b8b5473-7050-4f60-8279-e72cc8538d43" providerId="ADAL" clId="{952E53DB-5978-46BA-964C-5B55B87B6690}" dt="2021-08-16T18:10:38.081" v="2601" actId="478"/>
          <ac:grpSpMkLst>
            <pc:docMk/>
            <pc:sldMk cId="3334837168" sldId="1380"/>
            <ac:grpSpMk id="74" creationId="{97D7C904-D2C7-451E-8517-2E956B9E664F}"/>
          </ac:grpSpMkLst>
        </pc:grpChg>
        <pc:grpChg chg="add mod">
          <ac:chgData name="Disselhoff, Tim" userId="3b8b5473-7050-4f60-8279-e72cc8538d43" providerId="ADAL" clId="{952E53DB-5978-46BA-964C-5B55B87B6690}" dt="2021-08-16T18:11:58.828" v="2656" actId="1037"/>
          <ac:grpSpMkLst>
            <pc:docMk/>
            <pc:sldMk cId="3334837168" sldId="1380"/>
            <ac:grpSpMk id="157" creationId="{FC2AF88E-1B69-45F8-8E85-6207ADFDF830}"/>
          </ac:grpSpMkLst>
        </pc:grpChg>
        <pc:grpChg chg="mod">
          <ac:chgData name="Disselhoff, Tim" userId="3b8b5473-7050-4f60-8279-e72cc8538d43" providerId="ADAL" clId="{952E53DB-5978-46BA-964C-5B55B87B6690}" dt="2021-08-16T18:11:58.828" v="2656" actId="1037"/>
          <ac:grpSpMkLst>
            <pc:docMk/>
            <pc:sldMk cId="3334837168" sldId="1380"/>
            <ac:grpSpMk id="167" creationId="{BA6A66C4-6846-1943-B1EE-DB85329D95BB}"/>
          </ac:grpSpMkLst>
        </pc:grpChg>
        <pc:grpChg chg="del">
          <ac:chgData name="Disselhoff, Tim" userId="3b8b5473-7050-4f60-8279-e72cc8538d43" providerId="ADAL" clId="{952E53DB-5978-46BA-964C-5B55B87B6690}" dt="2021-08-16T18:10:38.081" v="2601" actId="478"/>
          <ac:grpSpMkLst>
            <pc:docMk/>
            <pc:sldMk cId="3334837168" sldId="1380"/>
            <ac:grpSpMk id="184" creationId="{00000000-0000-0000-0000-000000000000}"/>
          </ac:grpSpMkLst>
        </pc:grpChg>
        <pc:grpChg chg="add mod">
          <ac:chgData name="Disselhoff, Tim" userId="3b8b5473-7050-4f60-8279-e72cc8538d43" providerId="ADAL" clId="{952E53DB-5978-46BA-964C-5B55B87B6690}" dt="2021-08-16T18:11:58.828" v="2656" actId="1037"/>
          <ac:grpSpMkLst>
            <pc:docMk/>
            <pc:sldMk cId="3334837168" sldId="1380"/>
            <ac:grpSpMk id="207" creationId="{BE75C26D-288F-4048-BAF5-13CDAB244A66}"/>
          </ac:grpSpMkLst>
        </pc:grpChg>
        <pc:grpChg chg="add mod">
          <ac:chgData name="Disselhoff, Tim" userId="3b8b5473-7050-4f60-8279-e72cc8538d43" providerId="ADAL" clId="{952E53DB-5978-46BA-964C-5B55B87B6690}" dt="2021-08-16T18:11:58.828" v="2656" actId="1037"/>
          <ac:grpSpMkLst>
            <pc:docMk/>
            <pc:sldMk cId="3334837168" sldId="1380"/>
            <ac:grpSpMk id="211" creationId="{9089C857-37A3-4736-929C-6D0D47610D60}"/>
          </ac:grpSpMkLst>
        </pc:grpChg>
        <pc:cxnChg chg="mod">
          <ac:chgData name="Disselhoff, Tim" userId="3b8b5473-7050-4f60-8279-e72cc8538d43" providerId="ADAL" clId="{952E53DB-5978-46BA-964C-5B55B87B6690}" dt="2021-08-16T18:10:48.479" v="2603"/>
          <ac:cxnSpMkLst>
            <pc:docMk/>
            <pc:sldMk cId="3334837168" sldId="1380"/>
            <ac:cxnSpMk id="208" creationId="{71F48747-AE2E-45BD-9F8C-8099EA6125E0}"/>
          </ac:cxnSpMkLst>
        </pc:cxnChg>
        <pc:cxnChg chg="mod">
          <ac:chgData name="Disselhoff, Tim" userId="3b8b5473-7050-4f60-8279-e72cc8538d43" providerId="ADAL" clId="{952E53DB-5978-46BA-964C-5B55B87B6690}" dt="2021-08-16T18:10:48.479" v="2603"/>
          <ac:cxnSpMkLst>
            <pc:docMk/>
            <pc:sldMk cId="3334837168" sldId="1380"/>
            <ac:cxnSpMk id="209" creationId="{2CBEF1FD-75A0-43E4-8BC3-0E04C7EB86FD}"/>
          </ac:cxnSpMkLst>
        </pc:cxnChg>
        <pc:cxnChg chg="mod">
          <ac:chgData name="Disselhoff, Tim" userId="3b8b5473-7050-4f60-8279-e72cc8538d43" providerId="ADAL" clId="{952E53DB-5978-46BA-964C-5B55B87B6690}" dt="2021-08-16T18:10:48.479" v="2603"/>
          <ac:cxnSpMkLst>
            <pc:docMk/>
            <pc:sldMk cId="3334837168" sldId="1380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6T18:10:48.479" v="2603"/>
          <ac:cxnSpMkLst>
            <pc:docMk/>
            <pc:sldMk cId="3334837168" sldId="1380"/>
            <ac:cxnSpMk id="212" creationId="{097C9AE1-C019-4ECF-9A3D-A604F9CA8C15}"/>
          </ac:cxnSpMkLst>
        </pc:cxnChg>
        <pc:cxnChg chg="mod">
          <ac:chgData name="Disselhoff, Tim" userId="3b8b5473-7050-4f60-8279-e72cc8538d43" providerId="ADAL" clId="{952E53DB-5978-46BA-964C-5B55B87B6690}" dt="2021-08-16T18:10:48.479" v="2603"/>
          <ac:cxnSpMkLst>
            <pc:docMk/>
            <pc:sldMk cId="3334837168" sldId="1380"/>
            <ac:cxnSpMk id="213" creationId="{CC355E85-2FD9-401F-AF69-354C5EE8C0EE}"/>
          </ac:cxnSpMkLst>
        </pc:cxnChg>
        <pc:cxnChg chg="add mod">
          <ac:chgData name="Disselhoff, Tim" userId="3b8b5473-7050-4f60-8279-e72cc8538d43" providerId="ADAL" clId="{952E53DB-5978-46BA-964C-5B55B87B6690}" dt="2021-08-16T18:11:58.828" v="2656" actId="1037"/>
          <ac:cxnSpMkLst>
            <pc:docMk/>
            <pc:sldMk cId="3334837168" sldId="1380"/>
            <ac:cxnSpMk id="237" creationId="{F0AD7F1F-DECA-4AA0-953E-372CA19338A9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6T18:46:59.221" v="4168" actId="47"/>
        <pc:sldMkLst>
          <pc:docMk/>
          <pc:sldMk cId="1313356505" sldId="1381"/>
        </pc:sldMkLst>
        <pc:spChg chg="mod">
          <ac:chgData name="Disselhoff, Tim" userId="3b8b5473-7050-4f60-8279-e72cc8538d43" providerId="ADAL" clId="{952E53DB-5978-46BA-964C-5B55B87B6690}" dt="2021-08-16T18:16:59.996" v="2785" actId="14100"/>
          <ac:spMkLst>
            <pc:docMk/>
            <pc:sldMk cId="1313356505" sldId="1381"/>
            <ac:spMk id="2" creationId="{C1A246C2-7891-4153-8173-AB72BCCBDA20}"/>
          </ac:spMkLst>
        </pc:spChg>
        <pc:spChg chg="add mod">
          <ac:chgData name="Disselhoff, Tim" userId="3b8b5473-7050-4f60-8279-e72cc8538d43" providerId="ADAL" clId="{952E53DB-5978-46BA-964C-5B55B87B6690}" dt="2021-08-16T18:17:43.855" v="2800"/>
          <ac:spMkLst>
            <pc:docMk/>
            <pc:sldMk cId="1313356505" sldId="1381"/>
            <ac:spMk id="87" creationId="{3C57EA3E-85CE-4D5E-A634-A5972252D8CF}"/>
          </ac:spMkLst>
        </pc:spChg>
        <pc:spChg chg="add mod">
          <ac:chgData name="Disselhoff, Tim" userId="3b8b5473-7050-4f60-8279-e72cc8538d43" providerId="ADAL" clId="{952E53DB-5978-46BA-964C-5B55B87B6690}" dt="2021-08-16T18:17:43.855" v="2800"/>
          <ac:spMkLst>
            <pc:docMk/>
            <pc:sldMk cId="1313356505" sldId="1381"/>
            <ac:spMk id="89" creationId="{D6AE5CCB-8313-432D-A342-41DD081CB5C9}"/>
          </ac:spMkLst>
        </pc:spChg>
        <pc:spChg chg="add mod">
          <ac:chgData name="Disselhoff, Tim" userId="3b8b5473-7050-4f60-8279-e72cc8538d43" providerId="ADAL" clId="{952E53DB-5978-46BA-964C-5B55B87B6690}" dt="2021-08-16T18:17:43.855" v="2800"/>
          <ac:spMkLst>
            <pc:docMk/>
            <pc:sldMk cId="1313356505" sldId="1381"/>
            <ac:spMk id="90" creationId="{5528DDFD-7443-4D6F-8EA5-F06D17B686C9}"/>
          </ac:spMkLst>
        </pc:spChg>
        <pc:spChg chg="mod">
          <ac:chgData name="Disselhoff, Tim" userId="3b8b5473-7050-4f60-8279-e72cc8538d43" providerId="ADAL" clId="{952E53DB-5978-46BA-964C-5B55B87B6690}" dt="2021-08-16T18:17:43.855" v="2800"/>
          <ac:spMkLst>
            <pc:docMk/>
            <pc:sldMk cId="1313356505" sldId="1381"/>
            <ac:spMk id="92" creationId="{78AA75F8-080E-4971-8449-EC6CB97BF448}"/>
          </ac:spMkLst>
        </pc:spChg>
        <pc:spChg chg="mod">
          <ac:chgData name="Disselhoff, Tim" userId="3b8b5473-7050-4f60-8279-e72cc8538d43" providerId="ADAL" clId="{952E53DB-5978-46BA-964C-5B55B87B6690}" dt="2021-08-16T18:17:43.855" v="2800"/>
          <ac:spMkLst>
            <pc:docMk/>
            <pc:sldMk cId="1313356505" sldId="1381"/>
            <ac:spMk id="93" creationId="{BC120912-A5F2-49D4-B673-ADF6CBD9E9EA}"/>
          </ac:spMkLst>
        </pc:spChg>
        <pc:spChg chg="del">
          <ac:chgData name="Disselhoff, Tim" userId="3b8b5473-7050-4f60-8279-e72cc8538d43" providerId="ADAL" clId="{952E53DB-5978-46BA-964C-5B55B87B6690}" dt="2021-08-16T18:17:43.323" v="2799" actId="478"/>
          <ac:spMkLst>
            <pc:docMk/>
            <pc:sldMk cId="1313356505" sldId="1381"/>
            <ac:spMk id="15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16:53.934" v="2784" actId="1076"/>
          <ac:spMkLst>
            <pc:docMk/>
            <pc:sldMk cId="1313356505" sldId="1381"/>
            <ac:spMk id="155" creationId="{2ECA1871-D577-4B91-8CD6-CAB2A51B7ACA}"/>
          </ac:spMkLst>
        </pc:spChg>
        <pc:spChg chg="del">
          <ac:chgData name="Disselhoff, Tim" userId="3b8b5473-7050-4f60-8279-e72cc8538d43" providerId="ADAL" clId="{952E53DB-5978-46BA-964C-5B55B87B6690}" dt="2021-08-16T18:17:46.912" v="2801" actId="478"/>
          <ac:spMkLst>
            <pc:docMk/>
            <pc:sldMk cId="1313356505" sldId="1381"/>
            <ac:spMk id="159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17:43.323" v="2799" actId="478"/>
          <ac:spMkLst>
            <pc:docMk/>
            <pc:sldMk cId="1313356505" sldId="1381"/>
            <ac:spMk id="160" creationId="{64A57928-816B-4976-B585-A9C048606AEA}"/>
          </ac:spMkLst>
        </pc:spChg>
        <pc:spChg chg="del">
          <ac:chgData name="Disselhoff, Tim" userId="3b8b5473-7050-4f60-8279-e72cc8538d43" providerId="ADAL" clId="{952E53DB-5978-46BA-964C-5B55B87B6690}" dt="2021-08-16T18:41:49.363" v="3534" actId="478"/>
          <ac:spMkLst>
            <pc:docMk/>
            <pc:sldMk cId="1313356505" sldId="1381"/>
            <ac:spMk id="238" creationId="{79A881F8-AF5B-4B1F-8158-3E93D8E8147B}"/>
          </ac:spMkLst>
        </pc:spChg>
        <pc:grpChg chg="add mod">
          <ac:chgData name="Disselhoff, Tim" userId="3b8b5473-7050-4f60-8279-e72cc8538d43" providerId="ADAL" clId="{952E53DB-5978-46BA-964C-5B55B87B6690}" dt="2021-08-16T18:17:43.855" v="2800"/>
          <ac:grpSpMkLst>
            <pc:docMk/>
            <pc:sldMk cId="1313356505" sldId="1381"/>
            <ac:grpSpMk id="91" creationId="{F5381916-3B69-4B7C-B12D-7382BF2E17F3}"/>
          </ac:grpSpMkLst>
        </pc:grpChg>
        <pc:grpChg chg="del">
          <ac:chgData name="Disselhoff, Tim" userId="3b8b5473-7050-4f60-8279-e72cc8538d43" providerId="ADAL" clId="{952E53DB-5978-46BA-964C-5B55B87B6690}" dt="2021-08-16T18:17:43.323" v="2799" actId="478"/>
          <ac:grpSpMkLst>
            <pc:docMk/>
            <pc:sldMk cId="1313356505" sldId="1381"/>
            <ac:grpSpMk id="163" creationId="{6C80F524-E51F-4F8C-B8E9-4DAC6CACD614}"/>
          </ac:grpSpMkLst>
        </pc:grpChg>
        <pc:cxnChg chg="add mod">
          <ac:chgData name="Disselhoff, Tim" userId="3b8b5473-7050-4f60-8279-e72cc8538d43" providerId="ADAL" clId="{952E53DB-5978-46BA-964C-5B55B87B6690}" dt="2021-08-16T18:17:43.855" v="2800"/>
          <ac:cxnSpMkLst>
            <pc:docMk/>
            <pc:sldMk cId="1313356505" sldId="1381"/>
            <ac:cxnSpMk id="88" creationId="{813E85F0-8D5F-4D5D-8CE1-892E465819FA}"/>
          </ac:cxnSpMkLst>
        </pc:cxnChg>
        <pc:cxnChg chg="del">
          <ac:chgData name="Disselhoff, Tim" userId="3b8b5473-7050-4f60-8279-e72cc8538d43" providerId="ADAL" clId="{952E53DB-5978-46BA-964C-5B55B87B6690}" dt="2021-08-16T18:17:43.323" v="2799" actId="478"/>
          <ac:cxnSpMkLst>
            <pc:docMk/>
            <pc:sldMk cId="1313356505" sldId="1381"/>
            <ac:cxnSpMk id="158" creationId="{00000000-0000-0000-0000-000000000000}"/>
          </ac:cxnSpMkLst>
        </pc:cxnChg>
      </pc:sldChg>
      <pc:sldChg chg="addSp delSp modSp add mod ord addCm delCm">
        <pc:chgData name="Disselhoff, Tim" userId="3b8b5473-7050-4f60-8279-e72cc8538d43" providerId="ADAL" clId="{952E53DB-5978-46BA-964C-5B55B87B6690}" dt="2021-08-19T16:53:33.694" v="19816" actId="478"/>
        <pc:sldMkLst>
          <pc:docMk/>
          <pc:sldMk cId="4234864324" sldId="1382"/>
        </pc:sldMkLst>
        <pc:spChg chg="mod ord">
          <ac:chgData name="Disselhoff, Tim" userId="3b8b5473-7050-4f60-8279-e72cc8538d43" providerId="ADAL" clId="{952E53DB-5978-46BA-964C-5B55B87B6690}" dt="2021-08-19T16:37:36.291" v="19775" actId="6549"/>
          <ac:spMkLst>
            <pc:docMk/>
            <pc:sldMk cId="4234864324" sldId="1382"/>
            <ac:spMk id="2" creationId="{C1A246C2-7891-4153-8173-AB72BCCBDA20}"/>
          </ac:spMkLst>
        </pc:spChg>
        <pc:spChg chg="mod ord">
          <ac:chgData name="Disselhoff, Tim" userId="3b8b5473-7050-4f60-8279-e72cc8538d43" providerId="ADAL" clId="{952E53DB-5978-46BA-964C-5B55B87B6690}" dt="2021-08-19T14:59:50.375" v="17218"/>
          <ac:spMkLst>
            <pc:docMk/>
            <pc:sldMk cId="4234864324" sldId="1382"/>
            <ac:spMk id="3" creationId="{511DE42B-0EE9-44F0-9AE0-B7DA38CF962E}"/>
          </ac:spMkLst>
        </pc:spChg>
        <pc:spChg chg="add del mod modVis">
          <ac:chgData name="Disselhoff, Tim" userId="3b8b5473-7050-4f60-8279-e72cc8538d43" providerId="ADAL" clId="{952E53DB-5978-46BA-964C-5B55B87B6690}" dt="2021-08-16T18:42:12.981" v="3578"/>
          <ac:spMkLst>
            <pc:docMk/>
            <pc:sldMk cId="4234864324" sldId="1382"/>
            <ac:spMk id="4" creationId="{431EA88C-7650-46B8-93AA-49F086DFCE39}"/>
          </ac:spMkLst>
        </pc:spChg>
        <pc:spChg chg="add del mod modVis">
          <ac:chgData name="Disselhoff, Tim" userId="3b8b5473-7050-4f60-8279-e72cc8538d43" providerId="ADAL" clId="{952E53DB-5978-46BA-964C-5B55B87B6690}" dt="2021-08-19T14:59:40.902" v="17209"/>
          <ac:spMkLst>
            <pc:docMk/>
            <pc:sldMk cId="4234864324" sldId="1382"/>
            <ac:spMk id="4" creationId="{697869DF-5B5D-40F8-98F5-B3727168F51F}"/>
          </ac:spMkLst>
        </pc:spChg>
        <pc:spChg chg="add del mod modVis">
          <ac:chgData name="Disselhoff, Tim" userId="3b8b5473-7050-4f60-8279-e72cc8538d43" providerId="ADAL" clId="{952E53DB-5978-46BA-964C-5B55B87B6690}" dt="2021-08-18T15:33:03.827" v="9226"/>
          <ac:spMkLst>
            <pc:docMk/>
            <pc:sldMk cId="4234864324" sldId="1382"/>
            <ac:spMk id="4" creationId="{803E56D8-4F81-459E-9CFC-23E2595F31B4}"/>
          </ac:spMkLst>
        </pc:spChg>
        <pc:spChg chg="add del mod modVis">
          <ac:chgData name="Disselhoff, Tim" userId="3b8b5473-7050-4f60-8279-e72cc8538d43" providerId="ADAL" clId="{952E53DB-5978-46BA-964C-5B55B87B6690}" dt="2021-08-16T18:42:14.667" v="3625"/>
          <ac:spMkLst>
            <pc:docMk/>
            <pc:sldMk cId="4234864324" sldId="1382"/>
            <ac:spMk id="5" creationId="{587D7B83-0961-4012-9F05-EC2853BD2986}"/>
          </ac:spMkLst>
        </pc:spChg>
        <pc:spChg chg="add del mod modVis">
          <ac:chgData name="Disselhoff, Tim" userId="3b8b5473-7050-4f60-8279-e72cc8538d43" providerId="ADAL" clId="{952E53DB-5978-46BA-964C-5B55B87B6690}" dt="2021-08-16T18:42:15.493" v="3670"/>
          <ac:spMkLst>
            <pc:docMk/>
            <pc:sldMk cId="4234864324" sldId="1382"/>
            <ac:spMk id="6" creationId="{417A136D-6E79-42FD-AFD0-2F782F884667}"/>
          </ac:spMkLst>
        </pc:spChg>
        <pc:spChg chg="mod ord">
          <ac:chgData name="Disselhoff, Tim" userId="3b8b5473-7050-4f60-8279-e72cc8538d43" providerId="ADAL" clId="{952E53DB-5978-46BA-964C-5B55B87B6690}" dt="2021-08-19T14:59:50.367" v="17214"/>
          <ac:spMkLst>
            <pc:docMk/>
            <pc:sldMk cId="4234864324" sldId="1382"/>
            <ac:spMk id="7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16T18:42:18.759" v="3725"/>
          <ac:spMkLst>
            <pc:docMk/>
            <pc:sldMk cId="4234864324" sldId="1382"/>
            <ac:spMk id="9" creationId="{3997EA1F-067F-4B59-B509-0719C83B9201}"/>
          </ac:spMkLst>
        </pc:spChg>
        <pc:spChg chg="add del mod modVis">
          <ac:chgData name="Disselhoff, Tim" userId="3b8b5473-7050-4f60-8279-e72cc8538d43" providerId="ADAL" clId="{952E53DB-5978-46BA-964C-5B55B87B6690}" dt="2021-08-16T18:42:19.351" v="3768"/>
          <ac:spMkLst>
            <pc:docMk/>
            <pc:sldMk cId="4234864324" sldId="1382"/>
            <ac:spMk id="10" creationId="{EE78482C-50EB-4F05-BBB2-B67312BD2FAB}"/>
          </ac:spMkLst>
        </pc:spChg>
        <pc:spChg chg="add del mod modVis">
          <ac:chgData name="Disselhoff, Tim" userId="3b8b5473-7050-4f60-8279-e72cc8538d43" providerId="ADAL" clId="{952E53DB-5978-46BA-964C-5B55B87B6690}" dt="2021-08-16T18:42:21.548" v="3819"/>
          <ac:spMkLst>
            <pc:docMk/>
            <pc:sldMk cId="4234864324" sldId="1382"/>
            <ac:spMk id="11" creationId="{8DCFF63F-F829-4AB3-A723-7667A9327052}"/>
          </ac:spMkLst>
        </pc:spChg>
        <pc:spChg chg="add del mod modVis">
          <ac:chgData name="Disselhoff, Tim" userId="3b8b5473-7050-4f60-8279-e72cc8538d43" providerId="ADAL" clId="{952E53DB-5978-46BA-964C-5B55B87B6690}" dt="2021-08-16T18:42:25.165" v="3868"/>
          <ac:spMkLst>
            <pc:docMk/>
            <pc:sldMk cId="4234864324" sldId="1382"/>
            <ac:spMk id="12" creationId="{ECD3B539-E50B-4D47-81E8-F0FE780D510F}"/>
          </ac:spMkLst>
        </pc:spChg>
        <pc:spChg chg="del">
          <ac:chgData name="Disselhoff, Tim" userId="3b8b5473-7050-4f60-8279-e72cc8538d43" providerId="ADAL" clId="{952E53DB-5978-46BA-964C-5B55B87B6690}" dt="2021-08-16T18:42:37.988" v="3872" actId="478"/>
          <ac:spMkLst>
            <pc:docMk/>
            <pc:sldMk cId="4234864324" sldId="1382"/>
            <ac:spMk id="87" creationId="{3C57EA3E-85CE-4D5E-A634-A5972252D8CF}"/>
          </ac:spMkLst>
        </pc:spChg>
        <pc:spChg chg="del">
          <ac:chgData name="Disselhoff, Tim" userId="3b8b5473-7050-4f60-8279-e72cc8538d43" providerId="ADAL" clId="{952E53DB-5978-46BA-964C-5B55B87B6690}" dt="2021-08-16T18:42:34.066" v="3871" actId="478"/>
          <ac:spMkLst>
            <pc:docMk/>
            <pc:sldMk cId="4234864324" sldId="1382"/>
            <ac:spMk id="89" creationId="{D6AE5CCB-8313-432D-A342-41DD081CB5C9}"/>
          </ac:spMkLst>
        </pc:spChg>
        <pc:spChg chg="del">
          <ac:chgData name="Disselhoff, Tim" userId="3b8b5473-7050-4f60-8279-e72cc8538d43" providerId="ADAL" clId="{952E53DB-5978-46BA-964C-5B55B87B6690}" dt="2021-08-16T18:42:34.066" v="3871" actId="478"/>
          <ac:spMkLst>
            <pc:docMk/>
            <pc:sldMk cId="4234864324" sldId="1382"/>
            <ac:spMk id="90" creationId="{5528DDFD-7443-4D6F-8EA5-F06D17B686C9}"/>
          </ac:spMkLst>
        </pc:spChg>
        <pc:spChg chg="mod">
          <ac:chgData name="Disselhoff, Tim" userId="3b8b5473-7050-4f60-8279-e72cc8538d43" providerId="ADAL" clId="{952E53DB-5978-46BA-964C-5B55B87B6690}" dt="2021-08-16T18:20:36.584" v="2825" actId="1076"/>
          <ac:spMkLst>
            <pc:docMk/>
            <pc:sldMk cId="4234864324" sldId="1382"/>
            <ac:spMk id="95" creationId="{3E693C05-95BC-4833-855D-4EC7265ADE19}"/>
          </ac:spMkLst>
        </pc:spChg>
        <pc:spChg chg="mod">
          <ac:chgData name="Disselhoff, Tim" userId="3b8b5473-7050-4f60-8279-e72cc8538d43" providerId="ADAL" clId="{952E53DB-5978-46BA-964C-5B55B87B6690}" dt="2021-08-16T18:20:36.584" v="2825" actId="1076"/>
          <ac:spMkLst>
            <pc:docMk/>
            <pc:sldMk cId="4234864324" sldId="1382"/>
            <ac:spMk id="96" creationId="{499E9D32-D96C-41DB-A8D6-37D6FA4E918A}"/>
          </ac:spMkLst>
        </pc:spChg>
        <pc:spChg chg="mod">
          <ac:chgData name="Disselhoff, Tim" userId="3b8b5473-7050-4f60-8279-e72cc8538d43" providerId="ADAL" clId="{952E53DB-5978-46BA-964C-5B55B87B6690}" dt="2021-08-16T18:20:56.289" v="2827" actId="1076"/>
          <ac:spMkLst>
            <pc:docMk/>
            <pc:sldMk cId="4234864324" sldId="1382"/>
            <ac:spMk id="98" creationId="{075E3DA4-0DFF-4CFA-A8A9-971D98F0EFE8}"/>
          </ac:spMkLst>
        </pc:spChg>
        <pc:spChg chg="mod">
          <ac:chgData name="Disselhoff, Tim" userId="3b8b5473-7050-4f60-8279-e72cc8538d43" providerId="ADAL" clId="{952E53DB-5978-46BA-964C-5B55B87B6690}" dt="2021-08-16T18:20:56.289" v="2827" actId="1076"/>
          <ac:spMkLst>
            <pc:docMk/>
            <pc:sldMk cId="4234864324" sldId="1382"/>
            <ac:spMk id="99" creationId="{163E925F-D17A-4792-922A-A65FA851B07F}"/>
          </ac:spMkLst>
        </pc:spChg>
        <pc:spChg chg="mod">
          <ac:chgData name="Disselhoff, Tim" userId="3b8b5473-7050-4f60-8279-e72cc8538d43" providerId="ADAL" clId="{952E53DB-5978-46BA-964C-5B55B87B6690}" dt="2021-08-16T18:20:56.289" v="2827" actId="1076"/>
          <ac:spMkLst>
            <pc:docMk/>
            <pc:sldMk cId="4234864324" sldId="1382"/>
            <ac:spMk id="100" creationId="{4CF9EE24-0E4F-47B8-9FDC-34D8FF119B22}"/>
          </ac:spMkLst>
        </pc:spChg>
        <pc:spChg chg="mod">
          <ac:chgData name="Disselhoff, Tim" userId="3b8b5473-7050-4f60-8279-e72cc8538d43" providerId="ADAL" clId="{952E53DB-5978-46BA-964C-5B55B87B6690}" dt="2021-08-16T18:20:56.289" v="2827" actId="1076"/>
          <ac:spMkLst>
            <pc:docMk/>
            <pc:sldMk cId="4234864324" sldId="1382"/>
            <ac:spMk id="101" creationId="{C6A6DC49-10A5-45D6-8E0C-0BFE0F757022}"/>
          </ac:spMkLst>
        </pc:spChg>
        <pc:spChg chg="mod">
          <ac:chgData name="Disselhoff, Tim" userId="3b8b5473-7050-4f60-8279-e72cc8538d43" providerId="ADAL" clId="{952E53DB-5978-46BA-964C-5B55B87B6690}" dt="2021-08-16T18:21:30.187" v="2830"/>
          <ac:spMkLst>
            <pc:docMk/>
            <pc:sldMk cId="4234864324" sldId="1382"/>
            <ac:spMk id="103" creationId="{135DD889-54E3-42FD-9C3E-E18092F506CA}"/>
          </ac:spMkLst>
        </pc:spChg>
        <pc:spChg chg="mod">
          <ac:chgData name="Disselhoff, Tim" userId="3b8b5473-7050-4f60-8279-e72cc8538d43" providerId="ADAL" clId="{952E53DB-5978-46BA-964C-5B55B87B6690}" dt="2021-08-16T18:21:30.187" v="2830"/>
          <ac:spMkLst>
            <pc:docMk/>
            <pc:sldMk cId="4234864324" sldId="1382"/>
            <ac:spMk id="104" creationId="{7FF54A92-60F3-42FC-A04A-DCD7599D0911}"/>
          </ac:spMkLst>
        </pc:spChg>
        <pc:spChg chg="mod">
          <ac:chgData name="Disselhoff, Tim" userId="3b8b5473-7050-4f60-8279-e72cc8538d43" providerId="ADAL" clId="{952E53DB-5978-46BA-964C-5B55B87B6690}" dt="2021-08-16T18:21:40.284" v="2835" actId="1076"/>
          <ac:spMkLst>
            <pc:docMk/>
            <pc:sldMk cId="4234864324" sldId="1382"/>
            <ac:spMk id="106" creationId="{3E4CA28C-7FBD-41A1-8915-EC2795F5A024}"/>
          </ac:spMkLst>
        </pc:spChg>
        <pc:spChg chg="mod">
          <ac:chgData name="Disselhoff, Tim" userId="3b8b5473-7050-4f60-8279-e72cc8538d43" providerId="ADAL" clId="{952E53DB-5978-46BA-964C-5B55B87B6690}" dt="2021-08-16T18:21:40.284" v="2835" actId="1076"/>
          <ac:spMkLst>
            <pc:docMk/>
            <pc:sldMk cId="4234864324" sldId="1382"/>
            <ac:spMk id="107" creationId="{7A7F190A-A070-4BC8-AF50-C6C11C589BE9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09" creationId="{DD9697EF-AB95-4A53-B8DC-7E02AB9B8107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0" creationId="{D6978589-4486-4893-AF25-2BC23D7612FD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1" creationId="{CAFD4B65-703F-4177-80E6-27B239D5D65E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2" creationId="{859E827F-9AC1-40FD-B6DC-AC6FBFAB9F7C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3" creationId="{06E4E2F0-9B6D-4381-8FD1-085450B20D4A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4" creationId="{BC3004E6-6155-4B7F-9C05-78E06942FDCB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5" creationId="{AC8FF4A2-D156-4EB5-8E67-637EA184613E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6" creationId="{3D55B0CD-A0FE-4553-9ABC-D4FC35FF46FD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7" creationId="{4A7B0B0E-4DB1-4E26-8B44-E686F52168E5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8" creationId="{05C393B9-3BA7-484C-ACA1-ED7E8D7CAE5E}"/>
          </ac:spMkLst>
        </pc:spChg>
        <pc:spChg chg="mod">
          <ac:chgData name="Disselhoff, Tim" userId="3b8b5473-7050-4f60-8279-e72cc8538d43" providerId="ADAL" clId="{952E53DB-5978-46BA-964C-5B55B87B6690}" dt="2021-08-16T18:21:58.154" v="2837" actId="1076"/>
          <ac:spMkLst>
            <pc:docMk/>
            <pc:sldMk cId="4234864324" sldId="1382"/>
            <ac:spMk id="119" creationId="{E57234CA-100B-4ACA-8A3B-F32D78CADA77}"/>
          </ac:spMkLst>
        </pc:spChg>
        <pc:spChg chg="mod">
          <ac:chgData name="Disselhoff, Tim" userId="3b8b5473-7050-4f60-8279-e72cc8538d43" providerId="ADAL" clId="{952E53DB-5978-46BA-964C-5B55B87B6690}" dt="2021-08-16T18:24:32.282" v="2839" actId="1076"/>
          <ac:spMkLst>
            <pc:docMk/>
            <pc:sldMk cId="4234864324" sldId="1382"/>
            <ac:spMk id="121" creationId="{7894F3AC-C42B-49C0-94B8-62DF10325701}"/>
          </ac:spMkLst>
        </pc:spChg>
        <pc:spChg chg="mod">
          <ac:chgData name="Disselhoff, Tim" userId="3b8b5473-7050-4f60-8279-e72cc8538d43" providerId="ADAL" clId="{952E53DB-5978-46BA-964C-5B55B87B6690}" dt="2021-08-16T18:24:32.282" v="2839" actId="1076"/>
          <ac:spMkLst>
            <pc:docMk/>
            <pc:sldMk cId="4234864324" sldId="1382"/>
            <ac:spMk id="122" creationId="{0A170C37-853C-4A5D-A421-35A0B97A75BC}"/>
          </ac:spMkLst>
        </pc:spChg>
        <pc:spChg chg="add mod ord">
          <ac:chgData name="Disselhoff, Tim" userId="3b8b5473-7050-4f60-8279-e72cc8538d43" providerId="ADAL" clId="{952E53DB-5978-46BA-964C-5B55B87B6690}" dt="2021-08-19T14:59:50.403" v="17293"/>
          <ac:spMkLst>
            <pc:docMk/>
            <pc:sldMk cId="4234864324" sldId="1382"/>
            <ac:spMk id="123" creationId="{DA1FD08E-1B8F-4D25-96F9-987E35946207}"/>
          </ac:spMkLst>
        </pc:spChg>
        <pc:spChg chg="add mod ord">
          <ac:chgData name="Disselhoff, Tim" userId="3b8b5473-7050-4f60-8279-e72cc8538d43" providerId="ADAL" clId="{952E53DB-5978-46BA-964C-5B55B87B6690}" dt="2021-08-19T14:59:50.404" v="17295"/>
          <ac:spMkLst>
            <pc:docMk/>
            <pc:sldMk cId="4234864324" sldId="1382"/>
            <ac:spMk id="124" creationId="{D21FA75F-E9AC-4F20-83E0-A8AE4E36331F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26" creationId="{CDC4544E-680A-4FA2-A92E-1AE6E69C5EA1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27" creationId="{0E1D4BA0-8CB6-4A4B-BD19-8F4D20092285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28" creationId="{BC737843-F28D-4D68-9778-8CBCF40EC792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29" creationId="{EE622237-4419-4553-B2CF-F06A7A59E154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1" creationId="{934307B0-F7FA-445D-8518-647AA940526E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2" creationId="{BB4C88FB-4770-416A-B6FA-7C63BB40D3A4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3" creationId="{C54D7C56-8FB2-4F0B-B427-4235F5F9BFAE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4" creationId="{63DDD46D-0A4D-4AC4-B817-B7C39F998BA1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5" creationId="{520609D8-200B-4B69-9425-B80B531FD104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6" creationId="{AD25E4D3-9ED5-4619-A08B-8877F07E278E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37" creationId="{5E4D2F3A-22B5-47A5-9AC6-BCF2454F1F6D}"/>
          </ac:spMkLst>
        </pc:spChg>
        <pc:spChg chg="mod ord">
          <ac:chgData name="Disselhoff, Tim" userId="3b8b5473-7050-4f60-8279-e72cc8538d43" providerId="ADAL" clId="{952E53DB-5978-46BA-964C-5B55B87B6690}" dt="2021-08-19T14:59:50.376" v="17220"/>
          <ac:spMkLst>
            <pc:docMk/>
            <pc:sldMk cId="4234864324" sldId="1382"/>
            <ac:spMk id="138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4:59:50.376" v="17222"/>
          <ac:spMkLst>
            <pc:docMk/>
            <pc:sldMk cId="4234864324" sldId="1382"/>
            <ac:spMk id="139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41" creationId="{DDE55C0A-20D7-4C08-ADD6-B9A769A73AA3}"/>
          </ac:spMkLst>
        </pc:spChg>
        <pc:spChg chg="mod ord">
          <ac:chgData name="Disselhoff, Tim" userId="3b8b5473-7050-4f60-8279-e72cc8538d43" providerId="ADAL" clId="{952E53DB-5978-46BA-964C-5B55B87B6690}" dt="2021-08-19T14:59:50.377" v="17224"/>
          <ac:spMkLst>
            <pc:docMk/>
            <pc:sldMk cId="4234864324" sldId="1382"/>
            <ac:spMk id="14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4:59:50.420" v="17338"/>
          <ac:spMkLst>
            <pc:docMk/>
            <pc:sldMk cId="4234864324" sldId="1382"/>
            <ac:spMk id="14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44" creationId="{809F5F54-DECD-4EB7-8495-8DEF1A46718E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45" creationId="{57C38BF1-0CAF-4B7E-88AA-B81F0B99D87C}"/>
          </ac:spMkLst>
        </pc:spChg>
        <pc:spChg chg="mod ord">
          <ac:chgData name="Disselhoff, Tim" userId="3b8b5473-7050-4f60-8279-e72cc8538d43" providerId="ADAL" clId="{952E53DB-5978-46BA-964C-5B55B87B6690}" dt="2021-08-19T14:59:50.378" v="17226"/>
          <ac:spMkLst>
            <pc:docMk/>
            <pc:sldMk cId="4234864324" sldId="1382"/>
            <ac:spMk id="147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4:59:50.421" v="17342"/>
          <ac:spMkLst>
            <pc:docMk/>
            <pc:sldMk cId="4234864324" sldId="1382"/>
            <ac:spMk id="14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49" creationId="{FBDCEBBD-9318-43E2-9CA3-5A3644314438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0" creationId="{A45538CC-C35B-4D8B-95B6-5BA015D5AC0C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1" creationId="{FF026748-B477-4FA3-BE4A-8D7F60A27386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2" creationId="{03EE2E95-504D-4CBB-8E23-06DCC778A1CC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3" creationId="{F25F7060-7D67-40A5-8A17-39A46BBD492D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4" creationId="{1E2E266B-007B-4726-8077-D2E0C42F403F}"/>
          </ac:spMkLst>
        </pc:spChg>
        <pc:spChg chg="del">
          <ac:chgData name="Disselhoff, Tim" userId="3b8b5473-7050-4f60-8279-e72cc8538d43" providerId="ADAL" clId="{952E53DB-5978-46BA-964C-5B55B87B6690}" dt="2021-08-16T18:50:36.771" v="4253" actId="478"/>
          <ac:spMkLst>
            <pc:docMk/>
            <pc:sldMk cId="4234864324" sldId="1382"/>
            <ac:spMk id="155" creationId="{2ECA1871-D577-4B91-8CD6-CAB2A51B7ACA}"/>
          </ac:spMkLst>
        </pc:spChg>
        <pc:spChg chg="add del mod ord">
          <ac:chgData name="Disselhoff, Tim" userId="3b8b5473-7050-4f60-8279-e72cc8538d43" providerId="ADAL" clId="{952E53DB-5978-46BA-964C-5B55B87B6690}" dt="2021-08-19T14:59:50.408" v="17304"/>
          <ac:spMkLst>
            <pc:docMk/>
            <pc:sldMk cId="4234864324" sldId="1382"/>
            <ac:spMk id="155" creationId="{DCF68ADB-723A-4B13-8EFF-94D2B53BA5DA}"/>
          </ac:spMkLst>
        </pc:spChg>
        <pc:spChg chg="mod ord">
          <ac:chgData name="Disselhoff, Tim" userId="3b8b5473-7050-4f60-8279-e72cc8538d43" providerId="ADAL" clId="{952E53DB-5978-46BA-964C-5B55B87B6690}" dt="2021-08-19T14:59:50.379" v="17228"/>
          <ac:spMkLst>
            <pc:docMk/>
            <pc:sldMk cId="4234864324" sldId="1382"/>
            <ac:spMk id="15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8" creationId="{A1B2628B-35FE-4D4B-8853-B93D6B10E56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59" creationId="{4B58A34E-5EBE-4BED-87F1-8354C2983A21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60" creationId="{76AA2C74-612A-4044-AB9C-783F84866AF8}"/>
          </ac:spMkLst>
        </pc:spChg>
        <pc:spChg chg="mod ord">
          <ac:chgData name="Disselhoff, Tim" userId="3b8b5473-7050-4f60-8279-e72cc8538d43" providerId="ADAL" clId="{952E53DB-5978-46BA-964C-5B55B87B6690}" dt="2021-08-19T14:59:50.422" v="17344"/>
          <ac:spMkLst>
            <pc:docMk/>
            <pc:sldMk cId="4234864324" sldId="1382"/>
            <ac:spMk id="16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4:59:50.423" v="17346"/>
          <ac:spMkLst>
            <pc:docMk/>
            <pc:sldMk cId="4234864324" sldId="1382"/>
            <ac:spMk id="16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63" creationId="{C0C79051-D4E2-4123-A263-0A9F81B9C79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64" creationId="{EE610433-2567-4A52-89AE-D0DCF087D776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65" creationId="{6295CD15-E7DE-40F0-A1CD-898BB8208783}"/>
          </ac:spMkLst>
        </pc:spChg>
        <pc:spChg chg="del mod ord">
          <ac:chgData name="Disselhoff, Tim" userId="3b8b5473-7050-4f60-8279-e72cc8538d43" providerId="ADAL" clId="{952E53DB-5978-46BA-964C-5B55B87B6690}" dt="2021-08-19T16:21:41.113" v="18024" actId="478"/>
          <ac:spMkLst>
            <pc:docMk/>
            <pc:sldMk cId="4234864324" sldId="1382"/>
            <ac:spMk id="166" creationId="{00000000-0000-0000-0000-000000000000}"/>
          </ac:spMkLst>
        </pc:spChg>
        <pc:spChg chg="add del mod ord">
          <ac:chgData name="Disselhoff, Tim" userId="3b8b5473-7050-4f60-8279-e72cc8538d43" providerId="ADAL" clId="{952E53DB-5978-46BA-964C-5B55B87B6690}" dt="2021-08-19T14:59:50.408" v="17306"/>
          <ac:spMkLst>
            <pc:docMk/>
            <pc:sldMk cId="4234864324" sldId="1382"/>
            <ac:spMk id="167" creationId="{9D191618-1FF0-46D5-93C3-DDDC4600E638}"/>
          </ac:spMkLst>
        </pc:spChg>
        <pc:spChg chg="add del mod ord">
          <ac:chgData name="Disselhoff, Tim" userId="3b8b5473-7050-4f60-8279-e72cc8538d43" providerId="ADAL" clId="{952E53DB-5978-46BA-964C-5B55B87B6690}" dt="2021-08-19T14:59:50.409" v="17308"/>
          <ac:spMkLst>
            <pc:docMk/>
            <pc:sldMk cId="4234864324" sldId="1382"/>
            <ac:spMk id="168" creationId="{8DCE2D32-B8B5-4654-99AD-E94400E0EF25}"/>
          </ac:spMkLst>
        </pc:spChg>
        <pc:spChg chg="add del mod ord">
          <ac:chgData name="Disselhoff, Tim" userId="3b8b5473-7050-4f60-8279-e72cc8538d43" providerId="ADAL" clId="{952E53DB-5978-46BA-964C-5B55B87B6690}" dt="2021-08-19T14:59:50.410" v="17310"/>
          <ac:spMkLst>
            <pc:docMk/>
            <pc:sldMk cId="4234864324" sldId="1382"/>
            <ac:spMk id="169" creationId="{453C550F-D9C9-4CEA-B19A-59C0460AB968}"/>
          </ac:spMkLst>
        </pc:spChg>
        <pc:spChg chg="del mod ord">
          <ac:chgData name="Disselhoff, Tim" userId="3b8b5473-7050-4f60-8279-e72cc8538d43" providerId="ADAL" clId="{952E53DB-5978-46BA-964C-5B55B87B6690}" dt="2021-08-19T16:21:41.113" v="18024" actId="478"/>
          <ac:spMkLst>
            <pc:docMk/>
            <pc:sldMk cId="4234864324" sldId="1382"/>
            <ac:spMk id="170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9T16:20:33.698" v="18019" actId="478"/>
          <ac:spMkLst>
            <pc:docMk/>
            <pc:sldMk cId="4234864324" sldId="1382"/>
            <ac:spMk id="171" creationId="{DE91575A-3185-DE4E-BF38-E185B82E0FCB}"/>
          </ac:spMkLst>
        </pc:spChg>
        <pc:spChg chg="add del mod ord">
          <ac:chgData name="Disselhoff, Tim" userId="3b8b5473-7050-4f60-8279-e72cc8538d43" providerId="ADAL" clId="{952E53DB-5978-46BA-964C-5B55B87B6690}" dt="2021-08-19T14:59:50.410" v="17312"/>
          <ac:spMkLst>
            <pc:docMk/>
            <pc:sldMk cId="4234864324" sldId="1382"/>
            <ac:spMk id="172" creationId="{085F6FA3-FC39-4CA4-B0E7-2AFCD3EC5C68}"/>
          </ac:spMkLst>
        </pc:spChg>
        <pc:spChg chg="add del mod ord">
          <ac:chgData name="Disselhoff, Tim" userId="3b8b5473-7050-4f60-8279-e72cc8538d43" providerId="ADAL" clId="{952E53DB-5978-46BA-964C-5B55B87B6690}" dt="2021-08-19T14:59:50.411" v="17314"/>
          <ac:spMkLst>
            <pc:docMk/>
            <pc:sldMk cId="4234864324" sldId="1382"/>
            <ac:spMk id="173" creationId="{22B2AE2B-9013-452F-919C-0A66149F5786}"/>
          </ac:spMkLst>
        </pc:spChg>
        <pc:spChg chg="add del mod ord">
          <ac:chgData name="Disselhoff, Tim" userId="3b8b5473-7050-4f60-8279-e72cc8538d43" providerId="ADAL" clId="{952E53DB-5978-46BA-964C-5B55B87B6690}" dt="2021-08-19T14:59:50.412" v="17316"/>
          <ac:spMkLst>
            <pc:docMk/>
            <pc:sldMk cId="4234864324" sldId="1382"/>
            <ac:spMk id="174" creationId="{320661B5-C1CF-4853-80C8-72603F7F8B79}"/>
          </ac:spMkLst>
        </pc:spChg>
        <pc:spChg chg="add del mod ord">
          <ac:chgData name="Disselhoff, Tim" userId="3b8b5473-7050-4f60-8279-e72cc8538d43" providerId="ADAL" clId="{952E53DB-5978-46BA-964C-5B55B87B6690}" dt="2021-08-19T14:59:50.412" v="17318"/>
          <ac:spMkLst>
            <pc:docMk/>
            <pc:sldMk cId="4234864324" sldId="1382"/>
            <ac:spMk id="175" creationId="{A4D47BB2-4013-497C-8AB1-7086DB1EC0FD}"/>
          </ac:spMkLst>
        </pc:spChg>
        <pc:spChg chg="mod">
          <ac:chgData name="Disselhoff, Tim" userId="3b8b5473-7050-4f60-8279-e72cc8538d43" providerId="ADAL" clId="{952E53DB-5978-46BA-964C-5B55B87B6690}" dt="2021-08-18T15:30:12.804" v="8993" actId="1076"/>
          <ac:spMkLst>
            <pc:docMk/>
            <pc:sldMk cId="4234864324" sldId="1382"/>
            <ac:spMk id="177" creationId="{817EF387-0AFA-4BF7-AEF2-109E746A4432}"/>
          </ac:spMkLst>
        </pc:spChg>
        <pc:spChg chg="mod">
          <ac:chgData name="Disselhoff, Tim" userId="3b8b5473-7050-4f60-8279-e72cc8538d43" providerId="ADAL" clId="{952E53DB-5978-46BA-964C-5B55B87B6690}" dt="2021-08-18T15:30:12.804" v="8993" actId="1076"/>
          <ac:spMkLst>
            <pc:docMk/>
            <pc:sldMk cId="4234864324" sldId="1382"/>
            <ac:spMk id="178" creationId="{D2D6C976-43C5-4453-89AB-FBE028DE1BF3}"/>
          </ac:spMkLst>
        </pc:spChg>
        <pc:spChg chg="add mod ord">
          <ac:chgData name="Disselhoff, Tim" userId="3b8b5473-7050-4f60-8279-e72cc8538d43" providerId="ADAL" clId="{952E53DB-5978-46BA-964C-5B55B87B6690}" dt="2021-08-19T14:59:50.413" v="17320"/>
          <ac:spMkLst>
            <pc:docMk/>
            <pc:sldMk cId="4234864324" sldId="1382"/>
            <ac:spMk id="179" creationId="{B3938266-53D7-4D07-906D-7DAA1023A386}"/>
          </ac:spMkLst>
        </pc:spChg>
        <pc:spChg chg="add mod ord">
          <ac:chgData name="Disselhoff, Tim" userId="3b8b5473-7050-4f60-8279-e72cc8538d43" providerId="ADAL" clId="{952E53DB-5978-46BA-964C-5B55B87B6690}" dt="2021-08-19T14:59:50.414" v="17322"/>
          <ac:spMkLst>
            <pc:docMk/>
            <pc:sldMk cId="4234864324" sldId="1382"/>
            <ac:spMk id="180" creationId="{93F0EBC2-A1DE-4B8A-AFB6-6889D99719A2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1" creationId="{9158D4C7-EF4F-4243-A292-CFFE04687693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2" creationId="{99C2AD2C-3DE1-426F-9397-8E264A637528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3" creationId="{48B7473C-B0F3-4DBE-9C86-0B374D264FDE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4" creationId="{89327A56-809D-4FD0-BCAA-20C0C0D3D4CA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5" creationId="{698D99F6-2F34-4019-B9A2-867DFCBFCFF6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6" creationId="{20D76BFA-045A-4E43-8D2A-A07E6C15F687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7" creationId="{9631E4F8-08EB-4ABF-A5F9-0250223FF2E0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8" creationId="{9AB0F6CA-7A3B-4C66-AB23-523830D9D2E8}"/>
          </ac:spMkLst>
        </pc:spChg>
        <pc:spChg chg="mod">
          <ac:chgData name="Disselhoff, Tim" userId="3b8b5473-7050-4f60-8279-e72cc8538d43" providerId="ADAL" clId="{952E53DB-5978-46BA-964C-5B55B87B6690}" dt="2021-08-16T18:27:30.001" v="2931" actId="1037"/>
          <ac:spMkLst>
            <pc:docMk/>
            <pc:sldMk cId="4234864324" sldId="1382"/>
            <ac:spMk id="189" creationId="{E51ACE7D-4CFB-4CF6-A6CC-82FBA2A864E1}"/>
          </ac:spMkLst>
        </pc:spChg>
        <pc:spChg chg="mod">
          <ac:chgData name="Disselhoff, Tim" userId="3b8b5473-7050-4f60-8279-e72cc8538d43" providerId="ADAL" clId="{952E53DB-5978-46BA-964C-5B55B87B6690}" dt="2021-08-16T18:44:41.778" v="4143"/>
          <ac:spMkLst>
            <pc:docMk/>
            <pc:sldMk cId="4234864324" sldId="1382"/>
            <ac:spMk id="191" creationId="{1DE0B54E-2A3F-47DB-9C73-FC183FBC6C1F}"/>
          </ac:spMkLst>
        </pc:spChg>
        <pc:spChg chg="mod">
          <ac:chgData name="Disselhoff, Tim" userId="3b8b5473-7050-4f60-8279-e72cc8538d43" providerId="ADAL" clId="{952E53DB-5978-46BA-964C-5B55B87B6690}" dt="2021-08-16T18:44:41.778" v="4143"/>
          <ac:spMkLst>
            <pc:docMk/>
            <pc:sldMk cId="4234864324" sldId="1382"/>
            <ac:spMk id="192" creationId="{E7637794-7378-406C-B0B9-F214D2732240}"/>
          </ac:spMkLst>
        </pc:spChg>
        <pc:spChg chg="add del mod ord">
          <ac:chgData name="Disselhoff, Tim" userId="3b8b5473-7050-4f60-8279-e72cc8538d43" providerId="ADAL" clId="{952E53DB-5978-46BA-964C-5B55B87B6690}" dt="2021-08-19T16:20:31.249" v="18018" actId="478"/>
          <ac:spMkLst>
            <pc:docMk/>
            <pc:sldMk cId="4234864324" sldId="1382"/>
            <ac:spMk id="193" creationId="{11784801-E309-4846-AFEB-402AF430CB89}"/>
          </ac:spMkLst>
        </pc:spChg>
        <pc:spChg chg="mod ord">
          <ac:chgData name="Disselhoff, Tim" userId="3b8b5473-7050-4f60-8279-e72cc8538d43" providerId="ADAL" clId="{952E53DB-5978-46BA-964C-5B55B87B6690}" dt="2021-08-19T14:59:50.425" v="17350"/>
          <ac:spMkLst>
            <pc:docMk/>
            <pc:sldMk cId="4234864324" sldId="1382"/>
            <ac:spMk id="195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9T14:59:50.425" v="17352"/>
          <ac:spMkLst>
            <pc:docMk/>
            <pc:sldMk cId="4234864324" sldId="1382"/>
            <ac:spMk id="196" creationId="{00000000-0000-0000-0000-000000000000}"/>
          </ac:spMkLst>
        </pc:spChg>
        <pc:spChg chg="mod ord topLvl">
          <ac:chgData name="Disselhoff, Tim" userId="3b8b5473-7050-4f60-8279-e72cc8538d43" providerId="ADAL" clId="{952E53DB-5978-46BA-964C-5B55B87B6690}" dt="2021-08-19T14:59:50.382" v="17236"/>
          <ac:spMkLst>
            <pc:docMk/>
            <pc:sldMk cId="4234864324" sldId="1382"/>
            <ac:spMk id="197" creationId="{33B4A255-A42A-47E5-BBF8-450FEC78C35C}"/>
          </ac:spMkLst>
        </pc:spChg>
        <pc:spChg chg="mod ord topLvl">
          <ac:chgData name="Disselhoff, Tim" userId="3b8b5473-7050-4f60-8279-e72cc8538d43" providerId="ADAL" clId="{952E53DB-5978-46BA-964C-5B55B87B6690}" dt="2021-08-19T14:59:50.382" v="17238"/>
          <ac:spMkLst>
            <pc:docMk/>
            <pc:sldMk cId="4234864324" sldId="1382"/>
            <ac:spMk id="198" creationId="{4FD3C07C-4B78-484D-9648-55078F5DE087}"/>
          </ac:spMkLst>
        </pc:spChg>
        <pc:spChg chg="mod ord topLvl">
          <ac:chgData name="Disselhoff, Tim" userId="3b8b5473-7050-4f60-8279-e72cc8538d43" providerId="ADAL" clId="{952E53DB-5978-46BA-964C-5B55B87B6690}" dt="2021-08-19T14:59:50.383" v="17240"/>
          <ac:spMkLst>
            <pc:docMk/>
            <pc:sldMk cId="4234864324" sldId="1382"/>
            <ac:spMk id="199" creationId="{2CBD80C7-DE19-41BB-9401-273E837E419D}"/>
          </ac:spMkLst>
        </pc:spChg>
        <pc:spChg chg="mod ord topLvl">
          <ac:chgData name="Disselhoff, Tim" userId="3b8b5473-7050-4f60-8279-e72cc8538d43" providerId="ADAL" clId="{952E53DB-5978-46BA-964C-5B55B87B6690}" dt="2021-08-19T14:59:50.384" v="17242"/>
          <ac:spMkLst>
            <pc:docMk/>
            <pc:sldMk cId="4234864324" sldId="1382"/>
            <ac:spMk id="200" creationId="{A53386E8-9D04-4401-84C1-CE8DB86499D4}"/>
          </ac:spMkLst>
        </pc:spChg>
        <pc:spChg chg="mod ord topLvl">
          <ac:chgData name="Disselhoff, Tim" userId="3b8b5473-7050-4f60-8279-e72cc8538d43" providerId="ADAL" clId="{952E53DB-5978-46BA-964C-5B55B87B6690}" dt="2021-08-19T14:59:50.385" v="17244"/>
          <ac:spMkLst>
            <pc:docMk/>
            <pc:sldMk cId="4234864324" sldId="1382"/>
            <ac:spMk id="201" creationId="{60153D2B-67A4-4BD9-9702-351AD78AD926}"/>
          </ac:spMkLst>
        </pc:spChg>
        <pc:spChg chg="add del mod ord">
          <ac:chgData name="Disselhoff, Tim" userId="3b8b5473-7050-4f60-8279-e72cc8538d43" providerId="ADAL" clId="{952E53DB-5978-46BA-964C-5B55B87B6690}" dt="2021-08-19T14:59:50.386" v="17246"/>
          <ac:spMkLst>
            <pc:docMk/>
            <pc:sldMk cId="4234864324" sldId="1382"/>
            <ac:spMk id="202" creationId="{02218789-BB2C-4DF6-8226-EB9DB14783D6}"/>
          </ac:spMkLst>
        </pc:spChg>
        <pc:spChg chg="mod ord">
          <ac:chgData name="Disselhoff, Tim" userId="3b8b5473-7050-4f60-8279-e72cc8538d43" providerId="ADAL" clId="{952E53DB-5978-46BA-964C-5B55B87B6690}" dt="2021-08-19T14:59:50.387" v="17248"/>
          <ac:spMkLst>
            <pc:docMk/>
            <pc:sldMk cId="4234864324" sldId="1382"/>
            <ac:spMk id="203" creationId="{574A566D-36B0-4C0D-8434-34E020E4CD2C}"/>
          </ac:spMkLst>
        </pc:spChg>
        <pc:spChg chg="mod ord">
          <ac:chgData name="Disselhoff, Tim" userId="3b8b5473-7050-4f60-8279-e72cc8538d43" providerId="ADAL" clId="{952E53DB-5978-46BA-964C-5B55B87B6690}" dt="2021-08-19T14:59:50.388" v="17250"/>
          <ac:spMkLst>
            <pc:docMk/>
            <pc:sldMk cId="4234864324" sldId="1382"/>
            <ac:spMk id="204" creationId="{C87EE9CE-0A39-42B6-9AE6-CFFD383404CE}"/>
          </ac:spMkLst>
        </pc:spChg>
        <pc:spChg chg="mod ord">
          <ac:chgData name="Disselhoff, Tim" userId="3b8b5473-7050-4f60-8279-e72cc8538d43" providerId="ADAL" clId="{952E53DB-5978-46BA-964C-5B55B87B6690}" dt="2021-08-19T14:59:50.388" v="17252"/>
          <ac:spMkLst>
            <pc:docMk/>
            <pc:sldMk cId="4234864324" sldId="1382"/>
            <ac:spMk id="205" creationId="{E1792963-3546-4BFD-8D1A-BA34CA47745D}"/>
          </ac:spMkLst>
        </pc:spChg>
        <pc:spChg chg="add del mod ord">
          <ac:chgData name="Disselhoff, Tim" userId="3b8b5473-7050-4f60-8279-e72cc8538d43" providerId="ADAL" clId="{952E53DB-5978-46BA-964C-5B55B87B6690}" dt="2021-08-19T14:59:50.389" v="17254"/>
          <ac:spMkLst>
            <pc:docMk/>
            <pc:sldMk cId="4234864324" sldId="1382"/>
            <ac:spMk id="206" creationId="{4B3C7CAF-5C5E-47C4-8C7B-72CDF41A670A}"/>
          </ac:spMkLst>
        </pc:spChg>
        <pc:spChg chg="mod ord">
          <ac:chgData name="Disselhoff, Tim" userId="3b8b5473-7050-4f60-8279-e72cc8538d43" providerId="ADAL" clId="{952E53DB-5978-46BA-964C-5B55B87B6690}" dt="2021-08-19T14:59:50.391" v="17260"/>
          <ac:spMkLst>
            <pc:docMk/>
            <pc:sldMk cId="4234864324" sldId="1382"/>
            <ac:spMk id="214" creationId="{1DB6B88C-ECB5-4448-BD58-2C51BDCEE0A5}"/>
          </ac:spMkLst>
        </pc:spChg>
        <pc:spChg chg="mod ord">
          <ac:chgData name="Disselhoff, Tim" userId="3b8b5473-7050-4f60-8279-e72cc8538d43" providerId="ADAL" clId="{952E53DB-5978-46BA-964C-5B55B87B6690}" dt="2021-08-19T14:59:50.392" v="17262"/>
          <ac:spMkLst>
            <pc:docMk/>
            <pc:sldMk cId="4234864324" sldId="1382"/>
            <ac:spMk id="215" creationId="{75ECADE8-3103-4B20-BA19-0554069258A4}"/>
          </ac:spMkLst>
        </pc:spChg>
        <pc:spChg chg="mod ord">
          <ac:chgData name="Disselhoff, Tim" userId="3b8b5473-7050-4f60-8279-e72cc8538d43" providerId="ADAL" clId="{952E53DB-5978-46BA-964C-5B55B87B6690}" dt="2021-08-19T14:59:50.392" v="17264"/>
          <ac:spMkLst>
            <pc:docMk/>
            <pc:sldMk cId="4234864324" sldId="1382"/>
            <ac:spMk id="216" creationId="{06935711-88E4-4E58-B4C9-4F9FF8B6A7E7}"/>
          </ac:spMkLst>
        </pc:spChg>
        <pc:spChg chg="mod ord">
          <ac:chgData name="Disselhoff, Tim" userId="3b8b5473-7050-4f60-8279-e72cc8538d43" providerId="ADAL" clId="{952E53DB-5978-46BA-964C-5B55B87B6690}" dt="2021-08-19T14:59:50.393" v="17266"/>
          <ac:spMkLst>
            <pc:docMk/>
            <pc:sldMk cId="4234864324" sldId="1382"/>
            <ac:spMk id="217" creationId="{3D0E0F0B-E0A5-4F35-8CFB-F5AB6D6FB554}"/>
          </ac:spMkLst>
        </pc:spChg>
        <pc:spChg chg="mod ord">
          <ac:chgData name="Disselhoff, Tim" userId="3b8b5473-7050-4f60-8279-e72cc8538d43" providerId="ADAL" clId="{952E53DB-5978-46BA-964C-5B55B87B6690}" dt="2021-08-19T14:59:50.394" v="17268"/>
          <ac:spMkLst>
            <pc:docMk/>
            <pc:sldMk cId="4234864324" sldId="1382"/>
            <ac:spMk id="218" creationId="{C1EA8D65-1C1C-4350-95E1-07A4491AF15C}"/>
          </ac:spMkLst>
        </pc:spChg>
        <pc:spChg chg="add mod ord">
          <ac:chgData name="Disselhoff, Tim" userId="3b8b5473-7050-4f60-8279-e72cc8538d43" providerId="ADAL" clId="{952E53DB-5978-46BA-964C-5B55B87B6690}" dt="2021-08-19T14:59:50.414" v="17324"/>
          <ac:spMkLst>
            <pc:docMk/>
            <pc:sldMk cId="4234864324" sldId="1382"/>
            <ac:spMk id="219" creationId="{1561F5F4-EEEE-4BB5-9EBB-707987FDC6E2}"/>
          </ac:spMkLst>
        </pc:spChg>
        <pc:spChg chg="del">
          <ac:chgData name="Disselhoff, Tim" userId="3b8b5473-7050-4f60-8279-e72cc8538d43" providerId="ADAL" clId="{952E53DB-5978-46BA-964C-5B55B87B6690}" dt="2021-08-16T18:18:53.304" v="2805" actId="478"/>
          <ac:spMkLst>
            <pc:docMk/>
            <pc:sldMk cId="4234864324" sldId="1382"/>
            <ac:spMk id="219" creationId="{612E6978-B709-42D8-8CD5-F3BCD1823BB7}"/>
          </ac:spMkLst>
        </pc:spChg>
        <pc:spChg chg="del">
          <ac:chgData name="Disselhoff, Tim" userId="3b8b5473-7050-4f60-8279-e72cc8538d43" providerId="ADAL" clId="{952E53DB-5978-46BA-964C-5B55B87B6690}" dt="2021-08-16T18:18:55.049" v="2806" actId="478"/>
          <ac:spMkLst>
            <pc:docMk/>
            <pc:sldMk cId="4234864324" sldId="1382"/>
            <ac:spMk id="220" creationId="{79D99FC4-2BB4-4A2B-A602-A02534502757}"/>
          </ac:spMkLst>
        </pc:spChg>
        <pc:spChg chg="add mod ord">
          <ac:chgData name="Disselhoff, Tim" userId="3b8b5473-7050-4f60-8279-e72cc8538d43" providerId="ADAL" clId="{952E53DB-5978-46BA-964C-5B55B87B6690}" dt="2021-08-19T14:59:50.415" v="17326"/>
          <ac:spMkLst>
            <pc:docMk/>
            <pc:sldMk cId="4234864324" sldId="1382"/>
            <ac:spMk id="220" creationId="{EA214D44-B40B-41E9-944D-EED772E61818}"/>
          </ac:spMkLst>
        </pc:spChg>
        <pc:spChg chg="del">
          <ac:chgData name="Disselhoff, Tim" userId="3b8b5473-7050-4f60-8279-e72cc8538d43" providerId="ADAL" clId="{952E53DB-5978-46BA-964C-5B55B87B6690}" dt="2021-08-16T18:18:58.529" v="2807" actId="478"/>
          <ac:spMkLst>
            <pc:docMk/>
            <pc:sldMk cId="4234864324" sldId="1382"/>
            <ac:spMk id="221" creationId="{37EAA3E6-6BE1-40A3-8060-8D29D7DBFF0D}"/>
          </ac:spMkLst>
        </pc:spChg>
        <pc:spChg chg="del">
          <ac:chgData name="Disselhoff, Tim" userId="3b8b5473-7050-4f60-8279-e72cc8538d43" providerId="ADAL" clId="{952E53DB-5978-46BA-964C-5B55B87B6690}" dt="2021-08-16T18:19:01.534" v="2808" actId="478"/>
          <ac:spMkLst>
            <pc:docMk/>
            <pc:sldMk cId="4234864324" sldId="1382"/>
            <ac:spMk id="222" creationId="{6937BBB2-D5AC-41C3-82A5-0890C473968F}"/>
          </ac:spMkLst>
        </pc:spChg>
        <pc:spChg chg="mod">
          <ac:chgData name="Disselhoff, Tim" userId="3b8b5473-7050-4f60-8279-e72cc8538d43" providerId="ADAL" clId="{952E53DB-5978-46BA-964C-5B55B87B6690}" dt="2021-08-18T15:31:48.427" v="8995" actId="1076"/>
          <ac:spMkLst>
            <pc:docMk/>
            <pc:sldMk cId="4234864324" sldId="1382"/>
            <ac:spMk id="222" creationId="{D4C09EEA-EE61-48AA-8298-07BF503DC88A}"/>
          </ac:spMkLst>
        </pc:spChg>
        <pc:spChg chg="mod">
          <ac:chgData name="Disselhoff, Tim" userId="3b8b5473-7050-4f60-8279-e72cc8538d43" providerId="ADAL" clId="{952E53DB-5978-46BA-964C-5B55B87B6690}" dt="2021-08-18T15:31:48.427" v="8995" actId="1076"/>
          <ac:spMkLst>
            <pc:docMk/>
            <pc:sldMk cId="4234864324" sldId="1382"/>
            <ac:spMk id="223" creationId="{AF1C78BD-5E85-47B6-86F1-B99A8B017BD5}"/>
          </ac:spMkLst>
        </pc:spChg>
        <pc:spChg chg="del">
          <ac:chgData name="Disselhoff, Tim" userId="3b8b5473-7050-4f60-8279-e72cc8538d43" providerId="ADAL" clId="{952E53DB-5978-46BA-964C-5B55B87B6690}" dt="2021-08-16T18:19:04.060" v="2809" actId="478"/>
          <ac:spMkLst>
            <pc:docMk/>
            <pc:sldMk cId="4234864324" sldId="1382"/>
            <ac:spMk id="223" creationId="{BFBCB5A5-39A8-4236-BC5B-3C14B0BA4F91}"/>
          </ac:spMkLst>
        </pc:spChg>
        <pc:spChg chg="del">
          <ac:chgData name="Disselhoff, Tim" userId="3b8b5473-7050-4f60-8279-e72cc8538d43" providerId="ADAL" clId="{952E53DB-5978-46BA-964C-5B55B87B6690}" dt="2021-08-16T18:19:06.549" v="2810" actId="478"/>
          <ac:spMkLst>
            <pc:docMk/>
            <pc:sldMk cId="4234864324" sldId="1382"/>
            <ac:spMk id="224" creationId="{D98D5A41-238D-4413-BE01-EA3E4623F576}"/>
          </ac:spMkLst>
        </pc:spChg>
        <pc:spChg chg="del">
          <ac:chgData name="Disselhoff, Tim" userId="3b8b5473-7050-4f60-8279-e72cc8538d43" providerId="ADAL" clId="{952E53DB-5978-46BA-964C-5B55B87B6690}" dt="2021-08-16T18:19:41.841" v="2811" actId="478"/>
          <ac:spMkLst>
            <pc:docMk/>
            <pc:sldMk cId="4234864324" sldId="1382"/>
            <ac:spMk id="225" creationId="{87899F73-EF16-4BA8-A77B-D37333E2060A}"/>
          </ac:spMkLst>
        </pc:spChg>
        <pc:spChg chg="mod ord">
          <ac:chgData name="Disselhoff, Tim" userId="3b8b5473-7050-4f60-8279-e72cc8538d43" providerId="ADAL" clId="{952E53DB-5978-46BA-964C-5B55B87B6690}" dt="2021-08-19T14:59:50.394" v="17270"/>
          <ac:spMkLst>
            <pc:docMk/>
            <pc:sldMk cId="4234864324" sldId="1382"/>
            <ac:spMk id="226" creationId="{4608056B-4104-4663-94D5-07B238D0A2C6}"/>
          </ac:spMkLst>
        </pc:spChg>
        <pc:spChg chg="mod ord">
          <ac:chgData name="Disselhoff, Tim" userId="3b8b5473-7050-4f60-8279-e72cc8538d43" providerId="ADAL" clId="{952E53DB-5978-46BA-964C-5B55B87B6690}" dt="2021-08-19T14:59:50.395" v="17272"/>
          <ac:spMkLst>
            <pc:docMk/>
            <pc:sldMk cId="4234864324" sldId="1382"/>
            <ac:spMk id="227" creationId="{7FEDA1E9-9025-4222-8B3E-007DABE933E3}"/>
          </ac:spMkLst>
        </pc:spChg>
        <pc:spChg chg="mod ord">
          <ac:chgData name="Disselhoff, Tim" userId="3b8b5473-7050-4f60-8279-e72cc8538d43" providerId="ADAL" clId="{952E53DB-5978-46BA-964C-5B55B87B6690}" dt="2021-08-19T14:59:50.396" v="17274"/>
          <ac:spMkLst>
            <pc:docMk/>
            <pc:sldMk cId="4234864324" sldId="1382"/>
            <ac:spMk id="228" creationId="{341DB174-C2B6-4609-9BEA-1A41A014DFF6}"/>
          </ac:spMkLst>
        </pc:spChg>
        <pc:spChg chg="mod ord">
          <ac:chgData name="Disselhoff, Tim" userId="3b8b5473-7050-4f60-8279-e72cc8538d43" providerId="ADAL" clId="{952E53DB-5978-46BA-964C-5B55B87B6690}" dt="2021-08-19T14:59:50.396" v="17276"/>
          <ac:spMkLst>
            <pc:docMk/>
            <pc:sldMk cId="4234864324" sldId="1382"/>
            <ac:spMk id="229" creationId="{F2AE54A5-748B-45B5-8772-7F29C09500DB}"/>
          </ac:spMkLst>
        </pc:spChg>
        <pc:spChg chg="mod ord">
          <ac:chgData name="Disselhoff, Tim" userId="3b8b5473-7050-4f60-8279-e72cc8538d43" providerId="ADAL" clId="{952E53DB-5978-46BA-964C-5B55B87B6690}" dt="2021-08-19T14:59:50.397" v="17278"/>
          <ac:spMkLst>
            <pc:docMk/>
            <pc:sldMk cId="4234864324" sldId="1382"/>
            <ac:spMk id="230" creationId="{71248B5A-4534-4A22-B526-3476100187D4}"/>
          </ac:spMkLst>
        </pc:spChg>
        <pc:spChg chg="mod ord">
          <ac:chgData name="Disselhoff, Tim" userId="3b8b5473-7050-4f60-8279-e72cc8538d43" providerId="ADAL" clId="{952E53DB-5978-46BA-964C-5B55B87B6690}" dt="2021-08-19T14:59:50.398" v="17280"/>
          <ac:spMkLst>
            <pc:docMk/>
            <pc:sldMk cId="4234864324" sldId="1382"/>
            <ac:spMk id="231" creationId="{CC251BAF-13A4-4ECA-A47E-A0853474ED72}"/>
          </ac:spMkLst>
        </pc:spChg>
        <pc:spChg chg="mod ord">
          <ac:chgData name="Disselhoff, Tim" userId="3b8b5473-7050-4f60-8279-e72cc8538d43" providerId="ADAL" clId="{952E53DB-5978-46BA-964C-5B55B87B6690}" dt="2021-08-19T14:59:50.399" v="17282"/>
          <ac:spMkLst>
            <pc:docMk/>
            <pc:sldMk cId="4234864324" sldId="1382"/>
            <ac:spMk id="232" creationId="{2EF3E5C7-1C8A-47E8-8105-E633AC406B0F}"/>
          </ac:spMkLst>
        </pc:spChg>
        <pc:spChg chg="mod ord">
          <ac:chgData name="Disselhoff, Tim" userId="3b8b5473-7050-4f60-8279-e72cc8538d43" providerId="ADAL" clId="{952E53DB-5978-46BA-964C-5B55B87B6690}" dt="2021-08-19T14:59:50.399" v="17284"/>
          <ac:spMkLst>
            <pc:docMk/>
            <pc:sldMk cId="4234864324" sldId="1382"/>
            <ac:spMk id="233" creationId="{3F6ADF69-A80C-40A4-9F54-E20D16DB37A7}"/>
          </ac:spMkLst>
        </pc:spChg>
        <pc:spChg chg="del">
          <ac:chgData name="Disselhoff, Tim" userId="3b8b5473-7050-4f60-8279-e72cc8538d43" providerId="ADAL" clId="{952E53DB-5978-46BA-964C-5B55B87B6690}" dt="2021-08-16T18:19:43.365" v="2812" actId="478"/>
          <ac:spMkLst>
            <pc:docMk/>
            <pc:sldMk cId="4234864324" sldId="1382"/>
            <ac:spMk id="234" creationId="{79689C16-F7F3-40E8-A4C1-FE04F684773C}"/>
          </ac:spMkLst>
        </pc:spChg>
        <pc:spChg chg="del">
          <ac:chgData name="Disselhoff, Tim" userId="3b8b5473-7050-4f60-8279-e72cc8538d43" providerId="ADAL" clId="{952E53DB-5978-46BA-964C-5B55B87B6690}" dt="2021-08-16T18:19:45.728" v="2813" actId="478"/>
          <ac:spMkLst>
            <pc:docMk/>
            <pc:sldMk cId="4234864324" sldId="1382"/>
            <ac:spMk id="235" creationId="{730850F4-D928-4CB3-B21A-178A5EF20BFE}"/>
          </ac:spMkLst>
        </pc:spChg>
        <pc:spChg chg="mod ord">
          <ac:chgData name="Disselhoff, Tim" userId="3b8b5473-7050-4f60-8279-e72cc8538d43" providerId="ADAL" clId="{952E53DB-5978-46BA-964C-5B55B87B6690}" dt="2021-08-19T14:59:50.400" v="17286"/>
          <ac:spMkLst>
            <pc:docMk/>
            <pc:sldMk cId="4234864324" sldId="1382"/>
            <ac:spMk id="236" creationId="{47E1E454-6BC6-4FE5-A45F-0AAE081AFE7A}"/>
          </ac:spMkLst>
        </pc:spChg>
        <pc:spChg chg="del">
          <ac:chgData name="Disselhoff, Tim" userId="3b8b5473-7050-4f60-8279-e72cc8538d43" providerId="ADAL" clId="{952E53DB-5978-46BA-964C-5B55B87B6690}" dt="2021-08-16T18:42:07.957" v="3537" actId="478"/>
          <ac:spMkLst>
            <pc:docMk/>
            <pc:sldMk cId="4234864324" sldId="1382"/>
            <ac:spMk id="238" creationId="{79A881F8-AF5B-4B1F-8158-3E93D8E8147B}"/>
          </ac:spMkLst>
        </pc:spChg>
        <pc:spChg chg="add del mod">
          <ac:chgData name="Disselhoff, Tim" userId="3b8b5473-7050-4f60-8279-e72cc8538d43" providerId="ADAL" clId="{952E53DB-5978-46BA-964C-5B55B87B6690}" dt="2021-08-18T16:21:33.740" v="11137" actId="478"/>
          <ac:spMkLst>
            <pc:docMk/>
            <pc:sldMk cId="4234864324" sldId="1382"/>
            <ac:spMk id="238" creationId="{BC66331C-DC90-425D-84C9-8E3ED629C770}"/>
          </ac:spMkLst>
        </pc:spChg>
        <pc:spChg chg="add del mod ord">
          <ac:chgData name="Disselhoff, Tim" userId="3b8b5473-7050-4f60-8279-e72cc8538d43" providerId="ADAL" clId="{952E53DB-5978-46BA-964C-5B55B87B6690}" dt="2021-08-19T16:53:33.694" v="19816" actId="478"/>
          <ac:spMkLst>
            <pc:docMk/>
            <pc:sldMk cId="4234864324" sldId="1382"/>
            <ac:spMk id="239" creationId="{535D9545-6CEB-432A-8FE5-6E9B237C4F34}"/>
          </ac:spMkLst>
        </pc:spChg>
        <pc:spChg chg="add del mod">
          <ac:chgData name="Disselhoff, Tim" userId="3b8b5473-7050-4f60-8279-e72cc8538d43" providerId="ADAL" clId="{952E53DB-5978-46BA-964C-5B55B87B6690}" dt="2021-08-18T16:21:33.740" v="11137" actId="478"/>
          <ac:spMkLst>
            <pc:docMk/>
            <pc:sldMk cId="4234864324" sldId="1382"/>
            <ac:spMk id="240" creationId="{29C850D4-13FB-4135-B4A3-B9E362B68296}"/>
          </ac:spMkLst>
        </pc:spChg>
        <pc:spChg chg="add del mod">
          <ac:chgData name="Disselhoff, Tim" userId="3b8b5473-7050-4f60-8279-e72cc8538d43" providerId="ADAL" clId="{952E53DB-5978-46BA-964C-5B55B87B6690}" dt="2021-08-18T16:21:33.740" v="11137" actId="478"/>
          <ac:spMkLst>
            <pc:docMk/>
            <pc:sldMk cId="4234864324" sldId="1382"/>
            <ac:spMk id="241" creationId="{A3E3582A-32DB-45AE-9420-0607E56621BB}"/>
          </ac:spMkLst>
        </pc:spChg>
        <pc:grpChg chg="del">
          <ac:chgData name="Disselhoff, Tim" userId="3b8b5473-7050-4f60-8279-e72cc8538d43" providerId="ADAL" clId="{952E53DB-5978-46BA-964C-5B55B87B6690}" dt="2021-08-16T18:42:34.066" v="3871" actId="478"/>
          <ac:grpSpMkLst>
            <pc:docMk/>
            <pc:sldMk cId="4234864324" sldId="1382"/>
            <ac:grpSpMk id="91" creationId="{F5381916-3B69-4B7C-B12D-7382BF2E17F3}"/>
          </ac:grpSpMkLst>
        </pc:grpChg>
        <pc:grpChg chg="add del mod">
          <ac:chgData name="Disselhoff, Tim" userId="3b8b5473-7050-4f60-8279-e72cc8538d43" providerId="ADAL" clId="{952E53DB-5978-46BA-964C-5B55B87B6690}" dt="2021-08-16T18:21:34.842" v="2833" actId="478"/>
          <ac:grpSpMkLst>
            <pc:docMk/>
            <pc:sldMk cId="4234864324" sldId="1382"/>
            <ac:grpSpMk id="94" creationId="{29CA21D6-2F63-4D6E-9358-D883141D017A}"/>
          </ac:grpSpMkLst>
        </pc:grpChg>
        <pc:grpChg chg="add mod">
          <ac:chgData name="Disselhoff, Tim" userId="3b8b5473-7050-4f60-8279-e72cc8538d43" providerId="ADAL" clId="{952E53DB-5978-46BA-964C-5B55B87B6690}" dt="2021-08-19T14:59:50.401" v="17289"/>
          <ac:grpSpMkLst>
            <pc:docMk/>
            <pc:sldMk cId="4234864324" sldId="1382"/>
            <ac:grpSpMk id="97" creationId="{9B40E6A5-1B02-42DD-9A18-9A5F72D94E4A}"/>
          </ac:grpSpMkLst>
        </pc:grpChg>
        <pc:grpChg chg="add del mod">
          <ac:chgData name="Disselhoff, Tim" userId="3b8b5473-7050-4f60-8279-e72cc8538d43" providerId="ADAL" clId="{952E53DB-5978-46BA-964C-5B55B87B6690}" dt="2021-08-16T18:21:32.862" v="2831"/>
          <ac:grpSpMkLst>
            <pc:docMk/>
            <pc:sldMk cId="4234864324" sldId="1382"/>
            <ac:grpSpMk id="102" creationId="{FE689A4F-E5C4-4A31-AEAC-1F399B5C9569}"/>
          </ac:grpSpMkLst>
        </pc:grpChg>
        <pc:grpChg chg="add del mod">
          <ac:chgData name="Disselhoff, Tim" userId="3b8b5473-7050-4f60-8279-e72cc8538d43" providerId="ADAL" clId="{952E53DB-5978-46BA-964C-5B55B87B6690}" dt="2021-08-16T18:26:30.335" v="2900" actId="478"/>
          <ac:grpSpMkLst>
            <pc:docMk/>
            <pc:sldMk cId="4234864324" sldId="1382"/>
            <ac:grpSpMk id="105" creationId="{301CE45A-301C-43E7-9A07-5E82D7591888}"/>
          </ac:grpSpMkLst>
        </pc:grpChg>
        <pc:grpChg chg="add mod">
          <ac:chgData name="Disselhoff, Tim" userId="3b8b5473-7050-4f60-8279-e72cc8538d43" providerId="ADAL" clId="{952E53DB-5978-46BA-964C-5B55B87B6690}" dt="2021-08-19T14:59:50.402" v="17290"/>
          <ac:grpSpMkLst>
            <pc:docMk/>
            <pc:sldMk cId="4234864324" sldId="1382"/>
            <ac:grpSpMk id="108" creationId="{30514568-999C-43A9-BF17-5674020DDC87}"/>
          </ac:grpSpMkLst>
        </pc:grpChg>
        <pc:grpChg chg="add mod">
          <ac:chgData name="Disselhoff, Tim" userId="3b8b5473-7050-4f60-8279-e72cc8538d43" providerId="ADAL" clId="{952E53DB-5978-46BA-964C-5B55B87B6690}" dt="2021-08-19T14:59:50.403" v="17291"/>
          <ac:grpSpMkLst>
            <pc:docMk/>
            <pc:sldMk cId="4234864324" sldId="1382"/>
            <ac:grpSpMk id="120" creationId="{0C14F3EA-29DE-4135-B1CF-DB39D859A514}"/>
          </ac:grpSpMkLst>
        </pc:grpChg>
        <pc:grpChg chg="add mod">
          <ac:chgData name="Disselhoff, Tim" userId="3b8b5473-7050-4f60-8279-e72cc8538d43" providerId="ADAL" clId="{952E53DB-5978-46BA-964C-5B55B87B6690}" dt="2021-08-19T14:59:50.405" v="17296"/>
          <ac:grpSpMkLst>
            <pc:docMk/>
            <pc:sldMk cId="4234864324" sldId="1382"/>
            <ac:grpSpMk id="125" creationId="{A311A645-0F3A-49A7-B8F0-A3134A32483B}"/>
          </ac:grpSpMkLst>
        </pc:grpChg>
        <pc:grpChg chg="del">
          <ac:chgData name="Disselhoff, Tim" userId="3b8b5473-7050-4f60-8279-e72cc8538d43" providerId="ADAL" clId="{952E53DB-5978-46BA-964C-5B55B87B6690}" dt="2021-08-18T15:27:58.109" v="8981" actId="165"/>
          <ac:grpSpMkLst>
            <pc:docMk/>
            <pc:sldMk cId="4234864324" sldId="1382"/>
            <ac:grpSpMk id="157" creationId="{FC2AF88E-1B69-45F8-8E85-6207ADFDF830}"/>
          </ac:grpSpMkLst>
        </pc:grpChg>
        <pc:grpChg chg="del">
          <ac:chgData name="Disselhoff, Tim" userId="3b8b5473-7050-4f60-8279-e72cc8538d43" providerId="ADAL" clId="{952E53DB-5978-46BA-964C-5B55B87B6690}" dt="2021-08-16T18:34:22.755" v="3000" actId="478"/>
          <ac:grpSpMkLst>
            <pc:docMk/>
            <pc:sldMk cId="4234864324" sldId="1382"/>
            <ac:grpSpMk id="167" creationId="{BA6A66C4-6846-1943-B1EE-DB85329D95BB}"/>
          </ac:grpSpMkLst>
        </pc:grpChg>
        <pc:grpChg chg="del">
          <ac:chgData name="Disselhoff, Tim" userId="3b8b5473-7050-4f60-8279-e72cc8538d43" providerId="ADAL" clId="{952E53DB-5978-46BA-964C-5B55B87B6690}" dt="2021-08-16T18:42:45.969" v="3873" actId="478"/>
          <ac:grpSpMkLst>
            <pc:docMk/>
            <pc:sldMk cId="4234864324" sldId="1382"/>
            <ac:grpSpMk id="172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8:42:45.969" v="3873" actId="478"/>
          <ac:grpSpMkLst>
            <pc:docMk/>
            <pc:sldMk cId="4234864324" sldId="1382"/>
            <ac:grpSpMk id="175" creationId="{00000000-0000-0000-0000-000000000000}"/>
          </ac:grpSpMkLst>
        </pc:grpChg>
        <pc:grpChg chg="add del mod">
          <ac:chgData name="Disselhoff, Tim" userId="3b8b5473-7050-4f60-8279-e72cc8538d43" providerId="ADAL" clId="{952E53DB-5978-46BA-964C-5B55B87B6690}" dt="2021-08-18T15:32:59.217" v="9045" actId="478"/>
          <ac:grpSpMkLst>
            <pc:docMk/>
            <pc:sldMk cId="4234864324" sldId="1382"/>
            <ac:grpSpMk id="176" creationId="{F9BB0CA1-CFB6-480D-B794-595DD2DC99E2}"/>
          </ac:grpSpMkLst>
        </pc:grpChg>
        <pc:grpChg chg="del">
          <ac:chgData name="Disselhoff, Tim" userId="3b8b5473-7050-4f60-8279-e72cc8538d43" providerId="ADAL" clId="{952E53DB-5978-46BA-964C-5B55B87B6690}" dt="2021-08-16T18:42:45.969" v="3873" actId="478"/>
          <ac:grpSpMkLst>
            <pc:docMk/>
            <pc:sldMk cId="4234864324" sldId="1382"/>
            <ac:grpSpMk id="178" creationId="{00000000-0000-0000-0000-000000000000}"/>
          </ac:grpSpMkLst>
        </pc:grpChg>
        <pc:grpChg chg="add del mod ord">
          <ac:chgData name="Disselhoff, Tim" userId="3b8b5473-7050-4f60-8279-e72cc8538d43" providerId="ADAL" clId="{952E53DB-5978-46BA-964C-5B55B87B6690}" dt="2021-08-19T16:20:28.352" v="18017" actId="478"/>
          <ac:grpSpMkLst>
            <pc:docMk/>
            <pc:sldMk cId="4234864324" sldId="1382"/>
            <ac:grpSpMk id="190" creationId="{2A17840B-6855-465B-995A-6FD87ED7B8F1}"/>
          </ac:grpSpMkLst>
        </pc:grpChg>
        <pc:grpChg chg="mod ord">
          <ac:chgData name="Disselhoff, Tim" userId="3b8b5473-7050-4f60-8279-e72cc8538d43" providerId="ADAL" clId="{952E53DB-5978-46BA-964C-5B55B87B6690}" dt="2021-08-19T14:59:50.390" v="17256"/>
          <ac:grpSpMkLst>
            <pc:docMk/>
            <pc:sldMk cId="4234864324" sldId="1382"/>
            <ac:grpSpMk id="207" creationId="{BE75C26D-288F-4048-BAF5-13CDAB244A66}"/>
          </ac:grpSpMkLst>
        </pc:grpChg>
        <pc:grpChg chg="mod ord">
          <ac:chgData name="Disselhoff, Tim" userId="3b8b5473-7050-4f60-8279-e72cc8538d43" providerId="ADAL" clId="{952E53DB-5978-46BA-964C-5B55B87B6690}" dt="2021-08-19T14:59:50.390" v="17258"/>
          <ac:grpSpMkLst>
            <pc:docMk/>
            <pc:sldMk cId="4234864324" sldId="1382"/>
            <ac:grpSpMk id="211" creationId="{9089C857-37A3-4736-929C-6D0D47610D60}"/>
          </ac:grpSpMkLst>
        </pc:grpChg>
        <pc:grpChg chg="add del mod">
          <ac:chgData name="Disselhoff, Tim" userId="3b8b5473-7050-4f60-8279-e72cc8538d43" providerId="ADAL" clId="{952E53DB-5978-46BA-964C-5B55B87B6690}" dt="2021-08-18T15:33:22.300" v="9231" actId="478"/>
          <ac:grpSpMkLst>
            <pc:docMk/>
            <pc:sldMk cId="4234864324" sldId="1382"/>
            <ac:grpSpMk id="221" creationId="{ABA52E8C-1040-4E3C-BBC3-88398B77BE84}"/>
          </ac:grpSpMkLst>
        </pc:grpChg>
        <pc:graphicFrameChg chg="mod">
          <ac:chgData name="Disselhoff, Tim" userId="3b8b5473-7050-4f60-8279-e72cc8538d43" providerId="ADAL" clId="{952E53DB-5978-46BA-964C-5B55B87B6690}" dt="2021-08-19T14:59:50.434" v="17354"/>
          <ac:graphicFrameMkLst>
            <pc:docMk/>
            <pc:sldMk cId="4234864324" sldId="1382"/>
            <ac:graphicFrameMk id="8" creationId="{00000000-0000-0000-0000-000000000000}"/>
          </ac:graphicFrameMkLst>
        </pc:graphicFrameChg>
        <pc:cxnChg chg="del">
          <ac:chgData name="Disselhoff, Tim" userId="3b8b5473-7050-4f60-8279-e72cc8538d43" providerId="ADAL" clId="{952E53DB-5978-46BA-964C-5B55B87B6690}" dt="2021-08-16T18:42:34.066" v="3871" actId="478"/>
          <ac:cxnSpMkLst>
            <pc:docMk/>
            <pc:sldMk cId="4234864324" sldId="1382"/>
            <ac:cxnSpMk id="88" creationId="{813E85F0-8D5F-4D5D-8CE1-892E465819FA}"/>
          </ac:cxnSpMkLst>
        </pc:cxnChg>
        <pc:cxnChg chg="mod ord">
          <ac:chgData name="Disselhoff, Tim" userId="3b8b5473-7050-4f60-8279-e72cc8538d43" providerId="ADAL" clId="{952E53DB-5978-46BA-964C-5B55B87B6690}" dt="2021-08-19T14:59:50.418" v="17332"/>
          <ac:cxnSpMkLst>
            <pc:docMk/>
            <pc:sldMk cId="4234864324" sldId="1382"/>
            <ac:cxnSpMk id="13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9T14:59:50.419" v="17336"/>
          <ac:cxnSpMkLst>
            <pc:docMk/>
            <pc:sldMk cId="4234864324" sldId="1382"/>
            <ac:cxnSpMk id="14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9T14:59:50.420" v="17340"/>
          <ac:cxnSpMkLst>
            <pc:docMk/>
            <pc:sldMk cId="4234864324" sldId="1382"/>
            <ac:cxnSpMk id="146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9T14:59:50.424" v="17348"/>
          <ac:cxnSpMkLst>
            <pc:docMk/>
            <pc:sldMk cId="4234864324" sldId="1382"/>
            <ac:cxnSpMk id="194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6T18:28:05.655" v="2935" actId="208"/>
          <ac:cxnSpMkLst>
            <pc:docMk/>
            <pc:sldMk cId="4234864324" sldId="1382"/>
            <ac:cxnSpMk id="208" creationId="{71F48747-AE2E-45BD-9F8C-8099EA6125E0}"/>
          </ac:cxnSpMkLst>
        </pc:cxnChg>
        <pc:cxnChg chg="mod">
          <ac:chgData name="Disselhoff, Tim" userId="3b8b5473-7050-4f60-8279-e72cc8538d43" providerId="ADAL" clId="{952E53DB-5978-46BA-964C-5B55B87B6690}" dt="2021-08-16T18:28:09.725" v="2936" actId="208"/>
          <ac:cxnSpMkLst>
            <pc:docMk/>
            <pc:sldMk cId="4234864324" sldId="1382"/>
            <ac:cxnSpMk id="209" creationId="{2CBEF1FD-75A0-43E4-8BC3-0E04C7EB86FD}"/>
          </ac:cxnSpMkLst>
        </pc:cxnChg>
        <pc:cxnChg chg="mod">
          <ac:chgData name="Disselhoff, Tim" userId="3b8b5473-7050-4f60-8279-e72cc8538d43" providerId="ADAL" clId="{952E53DB-5978-46BA-964C-5B55B87B6690}" dt="2021-08-16T18:28:15.269" v="2937" actId="208"/>
          <ac:cxnSpMkLst>
            <pc:docMk/>
            <pc:sldMk cId="4234864324" sldId="1382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6T18:27:58.419" v="2933" actId="208"/>
          <ac:cxnSpMkLst>
            <pc:docMk/>
            <pc:sldMk cId="4234864324" sldId="1382"/>
            <ac:cxnSpMk id="212" creationId="{097C9AE1-C019-4ECF-9A3D-A604F9CA8C15}"/>
          </ac:cxnSpMkLst>
        </pc:cxnChg>
        <pc:cxnChg chg="mod">
          <ac:chgData name="Disselhoff, Tim" userId="3b8b5473-7050-4f60-8279-e72cc8538d43" providerId="ADAL" clId="{952E53DB-5978-46BA-964C-5B55B87B6690}" dt="2021-08-16T18:27:50.994" v="2932" actId="208"/>
          <ac:cxnSpMkLst>
            <pc:docMk/>
            <pc:sldMk cId="4234864324" sldId="1382"/>
            <ac:cxnSpMk id="213" creationId="{CC355E85-2FD9-401F-AF69-354C5EE8C0EE}"/>
          </ac:cxnSpMkLst>
        </pc:cxnChg>
        <pc:cxnChg chg="add del mod ord">
          <ac:chgData name="Disselhoff, Tim" userId="3b8b5473-7050-4f60-8279-e72cc8538d43" providerId="ADAL" clId="{952E53DB-5978-46BA-964C-5B55B87B6690}" dt="2021-08-18T15:34:27.345" v="9252" actId="478"/>
          <ac:cxnSpMkLst>
            <pc:docMk/>
            <pc:sldMk cId="4234864324" sldId="1382"/>
            <ac:cxnSpMk id="224" creationId="{B62E0122-AAD3-446D-85C7-FE2FAE648D69}"/>
          </ac:cxnSpMkLst>
        </pc:cxnChg>
        <pc:cxnChg chg="add mod ord">
          <ac:chgData name="Disselhoff, Tim" userId="3b8b5473-7050-4f60-8279-e72cc8538d43" providerId="ADAL" clId="{952E53DB-5978-46BA-964C-5B55B87B6690}" dt="2021-08-19T14:59:50.416" v="17328"/>
          <ac:cxnSpMkLst>
            <pc:docMk/>
            <pc:sldMk cId="4234864324" sldId="1382"/>
            <ac:cxnSpMk id="225" creationId="{0C4A3CE7-3E47-4D39-BE34-2892F9BDF2B6}"/>
          </ac:cxnSpMkLst>
        </pc:cxnChg>
        <pc:cxnChg chg="add mod ord">
          <ac:chgData name="Disselhoff, Tim" userId="3b8b5473-7050-4f60-8279-e72cc8538d43" providerId="ADAL" clId="{952E53DB-5978-46BA-964C-5B55B87B6690}" dt="2021-08-19T14:59:50.417" v="17330"/>
          <ac:cxnSpMkLst>
            <pc:docMk/>
            <pc:sldMk cId="4234864324" sldId="1382"/>
            <ac:cxnSpMk id="234" creationId="{A05310CD-8A79-414D-ADDC-0981DD2A5EE5}"/>
          </ac:cxnSpMkLst>
        </pc:cxnChg>
        <pc:cxnChg chg="add mod ord">
          <ac:chgData name="Disselhoff, Tim" userId="3b8b5473-7050-4f60-8279-e72cc8538d43" providerId="ADAL" clId="{952E53DB-5978-46BA-964C-5B55B87B6690}" dt="2021-08-19T14:59:50.418" v="17334"/>
          <ac:cxnSpMkLst>
            <pc:docMk/>
            <pc:sldMk cId="4234864324" sldId="1382"/>
            <ac:cxnSpMk id="235" creationId="{305C879B-8B4E-4D1B-B905-BBE9846022C8}"/>
          </ac:cxnSpMkLst>
        </pc:cxnChg>
        <pc:cxnChg chg="mod ord">
          <ac:chgData name="Disselhoff, Tim" userId="3b8b5473-7050-4f60-8279-e72cc8538d43" providerId="ADAL" clId="{952E53DB-5978-46BA-964C-5B55B87B6690}" dt="2021-08-19T14:59:50.401" v="17288"/>
          <ac:cxnSpMkLst>
            <pc:docMk/>
            <pc:sldMk cId="4234864324" sldId="1382"/>
            <ac:cxnSpMk id="237" creationId="{F0AD7F1F-DECA-4AA0-953E-372CA19338A9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6:53:26.086" v="19813" actId="478"/>
        <pc:sldMkLst>
          <pc:docMk/>
          <pc:sldMk cId="3562638833" sldId="1383"/>
        </pc:sldMkLst>
        <pc:spChg chg="del">
          <ac:chgData name="Disselhoff, Tim" userId="3b8b5473-7050-4f60-8279-e72cc8538d43" providerId="ADAL" clId="{952E53DB-5978-46BA-964C-5B55B87B6690}" dt="2021-08-19T16:37:22.807" v="19772" actId="478"/>
          <ac:spMkLst>
            <pc:docMk/>
            <pc:sldMk cId="3562638833" sldId="1383"/>
            <ac:spMk id="2" creationId="{C1A246C2-7891-4153-8173-AB72BCCBDA20}"/>
          </ac:spMkLst>
        </pc:spChg>
        <pc:spChg chg="mod">
          <ac:chgData name="Disselhoff, Tim" userId="3b8b5473-7050-4f60-8279-e72cc8538d43" providerId="ADAL" clId="{952E53DB-5978-46BA-964C-5B55B87B6690}" dt="2021-08-16T18:43:28.284" v="4080" actId="948"/>
          <ac:spMkLst>
            <pc:docMk/>
            <pc:sldMk cId="3562638833" sldId="1383"/>
            <ac:spMk id="3" creationId="{511DE42B-0EE9-44F0-9AE0-B7DA38CF962E}"/>
          </ac:spMkLst>
        </pc:spChg>
        <pc:spChg chg="add del mod modVis">
          <ac:chgData name="Disselhoff, Tim" userId="3b8b5473-7050-4f60-8279-e72cc8538d43" providerId="ADAL" clId="{952E53DB-5978-46BA-964C-5B55B87B6690}" dt="2021-08-16T18:43:28.361" v="4119"/>
          <ac:spMkLst>
            <pc:docMk/>
            <pc:sldMk cId="3562638833" sldId="1383"/>
            <ac:spMk id="4" creationId="{AF34F1C8-38A4-41E0-B46B-0E1B4EB62987}"/>
          </ac:spMkLst>
        </pc:spChg>
        <pc:spChg chg="add mod">
          <ac:chgData name="Disselhoff, Tim" userId="3b8b5473-7050-4f60-8279-e72cc8538d43" providerId="ADAL" clId="{952E53DB-5978-46BA-964C-5B55B87B6690}" dt="2021-08-19T16:37:22.807" v="19772" actId="478"/>
          <ac:spMkLst>
            <pc:docMk/>
            <pc:sldMk cId="3562638833" sldId="1383"/>
            <ac:spMk id="5" creationId="{6EF7A1C2-8B50-4483-AA85-E524268CCBB0}"/>
          </ac:spMkLst>
        </pc:spChg>
        <pc:spChg chg="del">
          <ac:chgData name="Disselhoff, Tim" userId="3b8b5473-7050-4f60-8279-e72cc8538d43" providerId="ADAL" clId="{952E53DB-5978-46BA-964C-5B55B87B6690}" dt="2021-08-16T18:50:50.504" v="4257" actId="478"/>
          <ac:spMkLst>
            <pc:docMk/>
            <pc:sldMk cId="3562638833" sldId="1383"/>
            <ac:spMk id="155" creationId="{2ECA1871-D577-4B91-8CD6-CAB2A51B7ACA}"/>
          </ac:spMkLst>
        </pc:spChg>
        <pc:spChg chg="add del mod">
          <ac:chgData name="Disselhoff, Tim" userId="3b8b5473-7050-4f60-8279-e72cc8538d43" providerId="ADAL" clId="{952E53DB-5978-46BA-964C-5B55B87B6690}" dt="2021-08-19T16:53:26.086" v="19813" actId="478"/>
          <ac:spMkLst>
            <pc:docMk/>
            <pc:sldMk cId="3562638833" sldId="1383"/>
            <ac:spMk id="155" creationId="{89C725CE-FBD9-44ED-96FB-B2FD628F2D75}"/>
          </ac:spMkLst>
        </pc:spChg>
        <pc:spChg chg="del">
          <ac:chgData name="Disselhoff, Tim" userId="3b8b5473-7050-4f60-8279-e72cc8538d43" providerId="ADAL" clId="{952E53DB-5978-46BA-964C-5B55B87B6690}" dt="2021-08-16T18:45:36.343" v="4153" actId="478"/>
          <ac:spMkLst>
            <pc:docMk/>
            <pc:sldMk cId="3562638833" sldId="1383"/>
            <ac:spMk id="16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45:36.343" v="4153" actId="478"/>
          <ac:spMkLst>
            <pc:docMk/>
            <pc:sldMk cId="3562638833" sldId="1383"/>
            <ac:spMk id="17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8:45:36.343" v="4153" actId="478"/>
          <ac:spMkLst>
            <pc:docMk/>
            <pc:sldMk cId="3562638833" sldId="1383"/>
            <ac:spMk id="171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8:30:48.861" v="2956" actId="20577"/>
          <ac:spMkLst>
            <pc:docMk/>
            <pc:sldMk cId="3562638833" sldId="1383"/>
            <ac:spMk id="17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0:52.020" v="2959" actId="20577"/>
          <ac:spMkLst>
            <pc:docMk/>
            <pc:sldMk cId="3562638833" sldId="1383"/>
            <ac:spMk id="17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0:54.799" v="2962" actId="20577"/>
          <ac:spMkLst>
            <pc:docMk/>
            <pc:sldMk cId="3562638833" sldId="1383"/>
            <ac:spMk id="179" creationId="{00000000-0000-0000-0000-000000000000}"/>
          </ac:spMkLst>
        </pc:spChg>
        <pc:spChg chg="add del mod">
          <ac:chgData name="Disselhoff, Tim" userId="3b8b5473-7050-4f60-8279-e72cc8538d43" providerId="ADAL" clId="{952E53DB-5978-46BA-964C-5B55B87B6690}" dt="2021-08-19T16:28:21.565" v="18653" actId="478"/>
          <ac:spMkLst>
            <pc:docMk/>
            <pc:sldMk cId="3562638833" sldId="1383"/>
            <ac:spMk id="190" creationId="{D2D37E37-6BB1-40A1-B5D2-BA43F9D5F56F}"/>
          </ac:spMkLst>
        </pc:spChg>
        <pc:spChg chg="add del mod">
          <ac:chgData name="Disselhoff, Tim" userId="3b8b5473-7050-4f60-8279-e72cc8538d43" providerId="ADAL" clId="{952E53DB-5978-46BA-964C-5B55B87B6690}" dt="2021-08-19T16:28:21.565" v="18653" actId="478"/>
          <ac:spMkLst>
            <pc:docMk/>
            <pc:sldMk cId="3562638833" sldId="1383"/>
            <ac:spMk id="191" creationId="{36213AF7-D5F2-4FB1-B69D-B8C76232F636}"/>
          </ac:spMkLst>
        </pc:spChg>
        <pc:spChg chg="add del mod">
          <ac:chgData name="Disselhoff, Tim" userId="3b8b5473-7050-4f60-8279-e72cc8538d43" providerId="ADAL" clId="{952E53DB-5978-46BA-964C-5B55B87B6690}" dt="2021-08-19T16:28:19.232" v="18652" actId="478"/>
          <ac:spMkLst>
            <pc:docMk/>
            <pc:sldMk cId="3562638833" sldId="1383"/>
            <ac:spMk id="192" creationId="{F3F593CD-75E4-4365-A8BD-1D29FF7A0DB2}"/>
          </ac:spMkLst>
        </pc:spChg>
        <pc:spChg chg="mod">
          <ac:chgData name="Disselhoff, Tim" userId="3b8b5473-7050-4f60-8279-e72cc8538d43" providerId="ADAL" clId="{952E53DB-5978-46BA-964C-5B55B87B6690}" dt="2021-08-16T18:29:41.165" v="2946" actId="208"/>
          <ac:spMkLst>
            <pc:docMk/>
            <pc:sldMk cId="3562638833" sldId="1383"/>
            <ac:spMk id="197" creationId="{33B4A255-A42A-47E5-BBF8-450FEC78C35C}"/>
          </ac:spMkLst>
        </pc:spChg>
        <pc:spChg chg="mod">
          <ac:chgData name="Disselhoff, Tim" userId="3b8b5473-7050-4f60-8279-e72cc8538d43" providerId="ADAL" clId="{952E53DB-5978-46BA-964C-5B55B87B6690}" dt="2021-08-16T18:29:41.165" v="2946" actId="208"/>
          <ac:spMkLst>
            <pc:docMk/>
            <pc:sldMk cId="3562638833" sldId="1383"/>
            <ac:spMk id="198" creationId="{4FD3C07C-4B78-484D-9648-55078F5DE087}"/>
          </ac:spMkLst>
        </pc:spChg>
        <pc:spChg chg="mod">
          <ac:chgData name="Disselhoff, Tim" userId="3b8b5473-7050-4f60-8279-e72cc8538d43" providerId="ADAL" clId="{952E53DB-5978-46BA-964C-5B55B87B6690}" dt="2021-08-16T18:29:41.165" v="2946" actId="208"/>
          <ac:spMkLst>
            <pc:docMk/>
            <pc:sldMk cId="3562638833" sldId="1383"/>
            <ac:spMk id="199" creationId="{2CBD80C7-DE19-41BB-9401-273E837E419D}"/>
          </ac:spMkLst>
        </pc:spChg>
        <pc:spChg chg="mod">
          <ac:chgData name="Disselhoff, Tim" userId="3b8b5473-7050-4f60-8279-e72cc8538d43" providerId="ADAL" clId="{952E53DB-5978-46BA-964C-5B55B87B6690}" dt="2021-08-16T18:29:06.009" v="2943" actId="207"/>
          <ac:spMkLst>
            <pc:docMk/>
            <pc:sldMk cId="3562638833" sldId="1383"/>
            <ac:spMk id="202" creationId="{02218789-BB2C-4DF6-8226-EB9DB14783D6}"/>
          </ac:spMkLst>
        </pc:spChg>
        <pc:spChg chg="mod">
          <ac:chgData name="Disselhoff, Tim" userId="3b8b5473-7050-4f60-8279-e72cc8538d43" providerId="ADAL" clId="{952E53DB-5978-46BA-964C-5B55B87B6690}" dt="2021-08-16T18:29:06.009" v="2943" actId="207"/>
          <ac:spMkLst>
            <pc:docMk/>
            <pc:sldMk cId="3562638833" sldId="1383"/>
            <ac:spMk id="203" creationId="{574A566D-36B0-4C0D-8434-34E020E4CD2C}"/>
          </ac:spMkLst>
        </pc:spChg>
        <pc:spChg chg="mod">
          <ac:chgData name="Disselhoff, Tim" userId="3b8b5473-7050-4f60-8279-e72cc8538d43" providerId="ADAL" clId="{952E53DB-5978-46BA-964C-5B55B87B6690}" dt="2021-08-16T18:29:06.009" v="2943" actId="207"/>
          <ac:spMkLst>
            <pc:docMk/>
            <pc:sldMk cId="3562638833" sldId="1383"/>
            <ac:spMk id="204" creationId="{C87EE9CE-0A39-42B6-9AE6-CFFD383404CE}"/>
          </ac:spMkLst>
        </pc:spChg>
        <pc:spChg chg="mod">
          <ac:chgData name="Disselhoff, Tim" userId="3b8b5473-7050-4f60-8279-e72cc8538d43" providerId="ADAL" clId="{952E53DB-5978-46BA-964C-5B55B87B6690}" dt="2021-08-16T18:30:17.942" v="2953" actId="207"/>
          <ac:spMkLst>
            <pc:docMk/>
            <pc:sldMk cId="3562638833" sldId="1383"/>
            <ac:spMk id="214" creationId="{1DB6B88C-ECB5-4448-BD58-2C51BDCEE0A5}"/>
          </ac:spMkLst>
        </pc:spChg>
        <pc:spChg chg="mod">
          <ac:chgData name="Disselhoff, Tim" userId="3b8b5473-7050-4f60-8279-e72cc8538d43" providerId="ADAL" clId="{952E53DB-5978-46BA-964C-5B55B87B6690}" dt="2021-08-16T18:30:17.942" v="2953" actId="207"/>
          <ac:spMkLst>
            <pc:docMk/>
            <pc:sldMk cId="3562638833" sldId="1383"/>
            <ac:spMk id="215" creationId="{75ECADE8-3103-4B20-BA19-0554069258A4}"/>
          </ac:spMkLst>
        </pc:spChg>
        <pc:spChg chg="mod">
          <ac:chgData name="Disselhoff, Tim" userId="3b8b5473-7050-4f60-8279-e72cc8538d43" providerId="ADAL" clId="{952E53DB-5978-46BA-964C-5B55B87B6690}" dt="2021-08-16T18:30:17.942" v="2953" actId="207"/>
          <ac:spMkLst>
            <pc:docMk/>
            <pc:sldMk cId="3562638833" sldId="1383"/>
            <ac:spMk id="217" creationId="{3D0E0F0B-E0A5-4F35-8CFB-F5AB6D6FB554}"/>
          </ac:spMkLst>
        </pc:spChg>
        <pc:spChg chg="mod">
          <ac:chgData name="Disselhoff, Tim" userId="3b8b5473-7050-4f60-8279-e72cc8538d43" providerId="ADAL" clId="{952E53DB-5978-46BA-964C-5B55B87B6690}" dt="2021-08-16T18:45:40.119" v="4155"/>
          <ac:spMkLst>
            <pc:docMk/>
            <pc:sldMk cId="3562638833" sldId="1383"/>
            <ac:spMk id="219" creationId="{FDE79BAC-940D-4C28-A904-F46BF6E67B06}"/>
          </ac:spMkLst>
        </pc:spChg>
        <pc:spChg chg="mod">
          <ac:chgData name="Disselhoff, Tim" userId="3b8b5473-7050-4f60-8279-e72cc8538d43" providerId="ADAL" clId="{952E53DB-5978-46BA-964C-5B55B87B6690}" dt="2021-08-16T18:45:40.119" v="4155"/>
          <ac:spMkLst>
            <pc:docMk/>
            <pc:sldMk cId="3562638833" sldId="1383"/>
            <ac:spMk id="220" creationId="{4D31699B-FF7F-462E-BE4A-AC34229E2099}"/>
          </ac:spMkLst>
        </pc:spChg>
        <pc:spChg chg="add mod">
          <ac:chgData name="Disselhoff, Tim" userId="3b8b5473-7050-4f60-8279-e72cc8538d43" providerId="ADAL" clId="{952E53DB-5978-46BA-964C-5B55B87B6690}" dt="2021-08-19T16:37:11.718" v="19771" actId="20577"/>
          <ac:spMkLst>
            <pc:docMk/>
            <pc:sldMk cId="3562638833" sldId="1383"/>
            <ac:spMk id="221" creationId="{CC575047-23B0-4426-82CA-BD0AC0262A43}"/>
          </ac:spMkLst>
        </pc:spChg>
        <pc:spChg chg="add del mod">
          <ac:chgData name="Disselhoff, Tim" userId="3b8b5473-7050-4f60-8279-e72cc8538d43" providerId="ADAL" clId="{952E53DB-5978-46BA-964C-5B55B87B6690}" dt="2021-08-18T16:28:08.610" v="11410" actId="478"/>
          <ac:spMkLst>
            <pc:docMk/>
            <pc:sldMk cId="3562638833" sldId="1383"/>
            <ac:spMk id="222" creationId="{B784B314-0232-4566-B468-EADFA30C46B4}"/>
          </ac:spMkLst>
        </pc:spChg>
        <pc:spChg chg="mod">
          <ac:chgData name="Disselhoff, Tim" userId="3b8b5473-7050-4f60-8279-e72cc8538d43" providerId="ADAL" clId="{952E53DB-5978-46BA-964C-5B55B87B6690}" dt="2021-08-16T18:29:46.013" v="2947" actId="208"/>
          <ac:spMkLst>
            <pc:docMk/>
            <pc:sldMk cId="3562638833" sldId="1383"/>
            <ac:spMk id="231" creationId="{CC251BAF-13A4-4ECA-A47E-A0853474ED72}"/>
          </ac:spMkLst>
        </pc:spChg>
        <pc:spChg chg="mod">
          <ac:chgData name="Disselhoff, Tim" userId="3b8b5473-7050-4f60-8279-e72cc8538d43" providerId="ADAL" clId="{952E53DB-5978-46BA-964C-5B55B87B6690}" dt="2021-08-16T18:29:06.009" v="2943" actId="207"/>
          <ac:spMkLst>
            <pc:docMk/>
            <pc:sldMk cId="3562638833" sldId="1383"/>
            <ac:spMk id="232" creationId="{2EF3E5C7-1C8A-47E8-8105-E633AC406B0F}"/>
          </ac:spMkLst>
        </pc:spChg>
        <pc:spChg chg="mod">
          <ac:chgData name="Disselhoff, Tim" userId="3b8b5473-7050-4f60-8279-e72cc8538d43" providerId="ADAL" clId="{952E53DB-5978-46BA-964C-5B55B87B6690}" dt="2021-08-16T18:30:17.942" v="2953" actId="207"/>
          <ac:spMkLst>
            <pc:docMk/>
            <pc:sldMk cId="3562638833" sldId="1383"/>
            <ac:spMk id="233" creationId="{3F6ADF69-A80C-40A4-9F54-E20D16DB37A7}"/>
          </ac:spMkLst>
        </pc:spChg>
        <pc:spChg chg="del">
          <ac:chgData name="Disselhoff, Tim" userId="3b8b5473-7050-4f60-8279-e72cc8538d43" providerId="ADAL" clId="{952E53DB-5978-46BA-964C-5B55B87B6690}" dt="2021-08-16T18:45:43.617" v="4156" actId="478"/>
          <ac:spMkLst>
            <pc:docMk/>
            <pc:sldMk cId="3562638833" sldId="1383"/>
            <ac:spMk id="238" creationId="{79A881F8-AF5B-4B1F-8158-3E93D8E8147B}"/>
          </ac:spMkLst>
        </pc:spChg>
        <pc:grpChg chg="mod">
          <ac:chgData name="Disselhoff, Tim" userId="3b8b5473-7050-4f60-8279-e72cc8538d43" providerId="ADAL" clId="{952E53DB-5978-46BA-964C-5B55B87B6690}" dt="2021-08-16T18:29:25.421" v="2944" actId="207"/>
          <ac:grpSpMkLst>
            <pc:docMk/>
            <pc:sldMk cId="3562638833" sldId="1383"/>
            <ac:grpSpMk id="97" creationId="{9B40E6A5-1B02-42DD-9A18-9A5F72D94E4A}"/>
          </ac:grpSpMkLst>
        </pc:grpChg>
        <pc:grpChg chg="mod">
          <ac:chgData name="Disselhoff, Tim" userId="3b8b5473-7050-4f60-8279-e72cc8538d43" providerId="ADAL" clId="{952E53DB-5978-46BA-964C-5B55B87B6690}" dt="2021-08-16T18:29:25.421" v="2944" actId="207"/>
          <ac:grpSpMkLst>
            <pc:docMk/>
            <pc:sldMk cId="3562638833" sldId="1383"/>
            <ac:grpSpMk id="108" creationId="{30514568-999C-43A9-BF17-5674020DDC87}"/>
          </ac:grpSpMkLst>
        </pc:grpChg>
        <pc:grpChg chg="mod">
          <ac:chgData name="Disselhoff, Tim" userId="3b8b5473-7050-4f60-8279-e72cc8538d43" providerId="ADAL" clId="{952E53DB-5978-46BA-964C-5B55B87B6690}" dt="2021-08-16T18:29:25.421" v="2944" actId="207"/>
          <ac:grpSpMkLst>
            <pc:docMk/>
            <pc:sldMk cId="3562638833" sldId="1383"/>
            <ac:grpSpMk id="120" creationId="{0C14F3EA-29DE-4135-B1CF-DB39D859A514}"/>
          </ac:grpSpMkLst>
        </pc:grpChg>
        <pc:grpChg chg="mod">
          <ac:chgData name="Disselhoff, Tim" userId="3b8b5473-7050-4f60-8279-e72cc8538d43" providerId="ADAL" clId="{952E53DB-5978-46BA-964C-5B55B87B6690}" dt="2021-08-16T18:29:28.017" v="2945" actId="207"/>
          <ac:grpSpMkLst>
            <pc:docMk/>
            <pc:sldMk cId="3562638833" sldId="1383"/>
            <ac:grpSpMk id="125" creationId="{A311A645-0F3A-49A7-B8F0-A3134A32483B}"/>
          </ac:grpSpMkLst>
        </pc:grpChg>
        <pc:grpChg chg="del mod">
          <ac:chgData name="Disselhoff, Tim" userId="3b8b5473-7050-4f60-8279-e72cc8538d43" providerId="ADAL" clId="{952E53DB-5978-46BA-964C-5B55B87B6690}" dt="2021-08-16T18:45:36.343" v="4153" actId="478"/>
          <ac:grpSpMkLst>
            <pc:docMk/>
            <pc:sldMk cId="3562638833" sldId="1383"/>
            <ac:grpSpMk id="167" creationId="{BA6A66C4-6846-1943-B1EE-DB85329D95BB}"/>
          </ac:grpSpMkLst>
        </pc:grpChg>
        <pc:grpChg chg="del">
          <ac:chgData name="Disselhoff, Tim" userId="3b8b5473-7050-4f60-8279-e72cc8538d43" providerId="ADAL" clId="{952E53DB-5978-46BA-964C-5B55B87B6690}" dt="2021-08-16T18:45:36.343" v="4153" actId="478"/>
          <ac:grpSpMkLst>
            <pc:docMk/>
            <pc:sldMk cId="3562638833" sldId="1383"/>
            <ac:grpSpMk id="172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8:45:36.343" v="4153" actId="478"/>
          <ac:grpSpMkLst>
            <pc:docMk/>
            <pc:sldMk cId="3562638833" sldId="1383"/>
            <ac:grpSpMk id="175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8:45:39.226" v="4154" actId="478"/>
          <ac:grpSpMkLst>
            <pc:docMk/>
            <pc:sldMk cId="3562638833" sldId="1383"/>
            <ac:grpSpMk id="178" creationId="{00000000-0000-0000-0000-000000000000}"/>
          </ac:grpSpMkLst>
        </pc:grpChg>
        <pc:grpChg chg="add mod">
          <ac:chgData name="Disselhoff, Tim" userId="3b8b5473-7050-4f60-8279-e72cc8538d43" providerId="ADAL" clId="{952E53DB-5978-46BA-964C-5B55B87B6690}" dt="2021-08-16T18:45:40.119" v="4155"/>
          <ac:grpSpMkLst>
            <pc:docMk/>
            <pc:sldMk cId="3562638833" sldId="1383"/>
            <ac:grpSpMk id="193" creationId="{E7777AE0-2FD1-43B3-9BD9-6E79BDA9178D}"/>
          </ac:grpSpMkLst>
        </pc:grpChg>
        <pc:graphicFrameChg chg="mod">
          <ac:chgData name="Disselhoff, Tim" userId="3b8b5473-7050-4f60-8279-e72cc8538d43" providerId="ADAL" clId="{952E53DB-5978-46BA-964C-5B55B87B6690}" dt="2021-08-16T18:43:28.371" v="4121"/>
          <ac:graphicFrameMkLst>
            <pc:docMk/>
            <pc:sldMk cId="3562638833" sldId="1383"/>
            <ac:graphicFrameMk id="8" creationId="{00000000-0000-0000-0000-000000000000}"/>
          </ac:graphicFrameMkLst>
        </pc:graphicFrameChg>
        <pc:cxnChg chg="mod">
          <ac:chgData name="Disselhoff, Tim" userId="3b8b5473-7050-4f60-8279-e72cc8538d43" providerId="ADAL" clId="{952E53DB-5978-46BA-964C-5B55B87B6690}" dt="2021-08-16T18:29:56.538" v="2948" actId="208"/>
          <ac:cxnSpMkLst>
            <pc:docMk/>
            <pc:sldMk cId="3562638833" sldId="1383"/>
            <ac:cxnSpMk id="208" creationId="{71F48747-AE2E-45BD-9F8C-8099EA6125E0}"/>
          </ac:cxnSpMkLst>
        </pc:cxnChg>
        <pc:cxnChg chg="mod">
          <ac:chgData name="Disselhoff, Tim" userId="3b8b5473-7050-4f60-8279-e72cc8538d43" providerId="ADAL" clId="{952E53DB-5978-46BA-964C-5B55B87B6690}" dt="2021-08-16T18:29:56.538" v="2948" actId="208"/>
          <ac:cxnSpMkLst>
            <pc:docMk/>
            <pc:sldMk cId="3562638833" sldId="1383"/>
            <ac:cxnSpMk id="209" creationId="{2CBEF1FD-75A0-43E4-8BC3-0E04C7EB86FD}"/>
          </ac:cxnSpMkLst>
        </pc:cxnChg>
        <pc:cxnChg chg="mod">
          <ac:chgData name="Disselhoff, Tim" userId="3b8b5473-7050-4f60-8279-e72cc8538d43" providerId="ADAL" clId="{952E53DB-5978-46BA-964C-5B55B87B6690}" dt="2021-08-19T16:52:17.156" v="19807" actId="208"/>
          <ac:cxnSpMkLst>
            <pc:docMk/>
            <pc:sldMk cId="3562638833" sldId="1383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6T18:30:02.112" v="2949" actId="208"/>
          <ac:cxnSpMkLst>
            <pc:docMk/>
            <pc:sldMk cId="3562638833" sldId="1383"/>
            <ac:cxnSpMk id="213" creationId="{CC355E85-2FD9-401F-AF69-354C5EE8C0EE}"/>
          </ac:cxnSpMkLst>
        </pc:cxnChg>
        <pc:cxnChg chg="mod">
          <ac:chgData name="Disselhoff, Tim" userId="3b8b5473-7050-4f60-8279-e72cc8538d43" providerId="ADAL" clId="{952E53DB-5978-46BA-964C-5B55B87B6690}" dt="2021-08-16T18:30:04.655" v="2950" actId="208"/>
          <ac:cxnSpMkLst>
            <pc:docMk/>
            <pc:sldMk cId="3562638833" sldId="1383"/>
            <ac:cxnSpMk id="237" creationId="{F0AD7F1F-DECA-4AA0-953E-372CA19338A9}"/>
          </ac:cxnSpMkLst>
        </pc:cxnChg>
      </pc:sldChg>
      <pc:sldChg chg="addSp delSp modSp add mod addCm delCm">
        <pc:chgData name="Disselhoff, Tim" userId="3b8b5473-7050-4f60-8279-e72cc8538d43" providerId="ADAL" clId="{952E53DB-5978-46BA-964C-5B55B87B6690}" dt="2021-08-19T16:53:28.463" v="19814" actId="478"/>
        <pc:sldMkLst>
          <pc:docMk/>
          <pc:sldMk cId="1744785689" sldId="1384"/>
        </pc:sldMkLst>
        <pc:spChg chg="mod ord">
          <ac:chgData name="Disselhoff, Tim" userId="3b8b5473-7050-4f60-8279-e72cc8538d43" providerId="ADAL" clId="{952E53DB-5978-46BA-964C-5B55B87B6690}" dt="2021-08-19T16:37:27.135" v="19773" actId="6549"/>
          <ac:spMkLst>
            <pc:docMk/>
            <pc:sldMk cId="1744785689" sldId="1384"/>
            <ac:spMk id="2" creationId="{C1A246C2-7891-4153-8173-AB72BCCBDA20}"/>
          </ac:spMkLst>
        </pc:spChg>
        <pc:spChg chg="mod ord">
          <ac:chgData name="Disselhoff, Tim" userId="3b8b5473-7050-4f60-8279-e72cc8538d43" providerId="ADAL" clId="{952E53DB-5978-46BA-964C-5B55B87B6690}" dt="2021-08-16T18:43:25.474" v="4037" actId="948"/>
          <ac:spMkLst>
            <pc:docMk/>
            <pc:sldMk cId="1744785689" sldId="1384"/>
            <ac:spMk id="3" creationId="{511DE42B-0EE9-44F0-9AE0-B7DA38CF962E}"/>
          </ac:spMkLst>
        </pc:spChg>
        <pc:spChg chg="add del mod modVis">
          <ac:chgData name="Disselhoff, Tim" userId="3b8b5473-7050-4f60-8279-e72cc8538d43" providerId="ADAL" clId="{952E53DB-5978-46BA-964C-5B55B87B6690}" dt="2021-08-16T18:40:54.904" v="3508"/>
          <ac:spMkLst>
            <pc:docMk/>
            <pc:sldMk cId="1744785689" sldId="1384"/>
            <ac:spMk id="4" creationId="{FAB660E6-B93A-48AC-BD8E-C35333F0D2A0}"/>
          </ac:spMkLst>
        </pc:spChg>
        <pc:spChg chg="add del mod modVis">
          <ac:chgData name="Disselhoff, Tim" userId="3b8b5473-7050-4f60-8279-e72cc8538d43" providerId="ADAL" clId="{952E53DB-5978-46BA-964C-5B55B87B6690}" dt="2021-08-16T18:43:25.559" v="4076"/>
          <ac:spMkLst>
            <pc:docMk/>
            <pc:sldMk cId="1744785689" sldId="1384"/>
            <ac:spMk id="5" creationId="{C537F3C2-BA7D-4743-9B7C-5DDC839E5C75}"/>
          </ac:spMkLst>
        </pc:spChg>
        <pc:spChg chg="mod ord">
          <ac:chgData name="Disselhoff, Tim" userId="3b8b5473-7050-4f60-8279-e72cc8538d43" providerId="ADAL" clId="{952E53DB-5978-46BA-964C-5B55B87B6690}" dt="2021-08-16T18:40:54.850" v="3392"/>
          <ac:spMkLst>
            <pc:docMk/>
            <pc:sldMk cId="1744785689" sldId="1384"/>
            <ac:spMk id="7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1:26.864" v="3533" actId="20577"/>
          <ac:spMkLst>
            <pc:docMk/>
            <pc:sldMk cId="1744785689" sldId="1384"/>
            <ac:spMk id="87" creationId="{3C57EA3E-85CE-4D5E-A634-A5972252D8CF}"/>
          </ac:spMkLst>
        </pc:spChg>
        <pc:spChg chg="mod ord">
          <ac:chgData name="Disselhoff, Tim" userId="3b8b5473-7050-4f60-8279-e72cc8538d43" providerId="ADAL" clId="{952E53DB-5978-46BA-964C-5B55B87B6690}" dt="2021-08-16T18:40:59.094" v="3522" actId="20577"/>
          <ac:spMkLst>
            <pc:docMk/>
            <pc:sldMk cId="1744785689" sldId="1384"/>
            <ac:spMk id="89" creationId="{D6AE5CCB-8313-432D-A342-41DD081CB5C9}"/>
          </ac:spMkLst>
        </pc:spChg>
        <pc:spChg chg="del mod ord">
          <ac:chgData name="Disselhoff, Tim" userId="3b8b5473-7050-4f60-8279-e72cc8538d43" providerId="ADAL" clId="{952E53DB-5978-46BA-964C-5B55B87B6690}" dt="2021-08-16T18:41:02.810" v="3523" actId="478"/>
          <ac:spMkLst>
            <pc:docMk/>
            <pc:sldMk cId="1744785689" sldId="1384"/>
            <ac:spMk id="90" creationId="{5528DDFD-7443-4D6F-8EA5-F06D17B686C9}"/>
          </ac:spMkLst>
        </pc:spChg>
        <pc:spChg chg="mod ord">
          <ac:chgData name="Disselhoff, Tim" userId="3b8b5473-7050-4f60-8279-e72cc8538d43" providerId="ADAL" clId="{952E53DB-5978-46BA-964C-5B55B87B6690}" dt="2021-08-16T18:40:54.894" v="3492"/>
          <ac:spMkLst>
            <pc:docMk/>
            <pc:sldMk cId="1744785689" sldId="1384"/>
            <ac:spMk id="123" creationId="{DA1FD08E-1B8F-4D25-96F9-987E35946207}"/>
          </ac:spMkLst>
        </pc:spChg>
        <pc:spChg chg="mod ord">
          <ac:chgData name="Disselhoff, Tim" userId="3b8b5473-7050-4f60-8279-e72cc8538d43" providerId="ADAL" clId="{952E53DB-5978-46BA-964C-5B55B87B6690}" dt="2021-08-16T18:40:54.895" v="3494"/>
          <ac:spMkLst>
            <pc:docMk/>
            <pc:sldMk cId="1744785689" sldId="1384"/>
            <ac:spMk id="124" creationId="{D21FA75F-E9AC-4F20-83E0-A8AE4E36331F}"/>
          </ac:spMkLst>
        </pc:spChg>
        <pc:spChg chg="mod ord">
          <ac:chgData name="Disselhoff, Tim" userId="3b8b5473-7050-4f60-8279-e72cc8538d43" providerId="ADAL" clId="{952E53DB-5978-46BA-964C-5B55B87B6690}" dt="2021-08-16T18:40:54.849" v="3388"/>
          <ac:spMkLst>
            <pc:docMk/>
            <pc:sldMk cId="1744785689" sldId="1384"/>
            <ac:spMk id="138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0" v="3390"/>
          <ac:spMkLst>
            <pc:docMk/>
            <pc:sldMk cId="1744785689" sldId="1384"/>
            <ac:spMk id="139" creationId="{DE91575A-3185-DE4E-BF38-E185B82E0FCB}"/>
          </ac:spMkLst>
        </pc:spChg>
        <pc:spChg chg="mod ord">
          <ac:chgData name="Disselhoff, Tim" userId="3b8b5473-7050-4f60-8279-e72cc8538d43" providerId="ADAL" clId="{952E53DB-5978-46BA-964C-5B55B87B6690}" dt="2021-08-16T18:40:54.853" v="3398"/>
          <ac:spMkLst>
            <pc:docMk/>
            <pc:sldMk cId="1744785689" sldId="1384"/>
            <ac:spMk id="14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5" v="3400"/>
          <ac:spMkLst>
            <pc:docMk/>
            <pc:sldMk cId="1744785689" sldId="1384"/>
            <ac:spMk id="143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6" v="3404"/>
          <ac:spMkLst>
            <pc:docMk/>
            <pc:sldMk cId="1744785689" sldId="1384"/>
            <ac:spMk id="147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7" v="3406"/>
          <ac:spMkLst>
            <pc:docMk/>
            <pc:sldMk cId="1744785689" sldId="1384"/>
            <ac:spMk id="148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50:54.101" v="4258" actId="478"/>
          <ac:spMkLst>
            <pc:docMk/>
            <pc:sldMk cId="1744785689" sldId="1384"/>
            <ac:spMk id="155" creationId="{2ECA1871-D577-4B91-8CD6-CAB2A51B7ACA}"/>
          </ac:spMkLst>
        </pc:spChg>
        <pc:spChg chg="add del mod">
          <ac:chgData name="Disselhoff, Tim" userId="3b8b5473-7050-4f60-8279-e72cc8538d43" providerId="ADAL" clId="{952E53DB-5978-46BA-964C-5B55B87B6690}" dt="2021-08-19T16:53:28.463" v="19814" actId="478"/>
          <ac:spMkLst>
            <pc:docMk/>
            <pc:sldMk cId="1744785689" sldId="1384"/>
            <ac:spMk id="155" creationId="{B1A9A3FD-308E-492A-9438-2F87253E0156}"/>
          </ac:spMkLst>
        </pc:spChg>
        <pc:spChg chg="mod ord">
          <ac:chgData name="Disselhoff, Tim" userId="3b8b5473-7050-4f60-8279-e72cc8538d43" providerId="ADAL" clId="{952E53DB-5978-46BA-964C-5B55B87B6690}" dt="2021-08-16T18:40:54.857" v="3408"/>
          <ac:spMkLst>
            <pc:docMk/>
            <pc:sldMk cId="1744785689" sldId="1384"/>
            <ac:spMk id="156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8" v="3410"/>
          <ac:spMkLst>
            <pc:docMk/>
            <pc:sldMk cId="1744785689" sldId="1384"/>
            <ac:spMk id="16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58" v="3412"/>
          <ac:spMkLst>
            <pc:docMk/>
            <pc:sldMk cId="1744785689" sldId="1384"/>
            <ac:spMk id="162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5:27.993" v="4151" actId="478"/>
          <ac:spMkLst>
            <pc:docMk/>
            <pc:sldMk cId="1744785689" sldId="1384"/>
            <ac:spMk id="166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5:27.993" v="4151" actId="478"/>
          <ac:spMkLst>
            <pc:docMk/>
            <pc:sldMk cId="1744785689" sldId="1384"/>
            <ac:spMk id="170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5:27.993" v="4151" actId="478"/>
          <ac:spMkLst>
            <pc:docMk/>
            <pc:sldMk cId="1744785689" sldId="1384"/>
            <ac:spMk id="171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8:33:00.379" v="2974" actId="20577"/>
          <ac:spMkLst>
            <pc:docMk/>
            <pc:sldMk cId="1744785689" sldId="1384"/>
            <ac:spMk id="17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3:01.835" v="2977" actId="20577"/>
          <ac:spMkLst>
            <pc:docMk/>
            <pc:sldMk cId="1744785689" sldId="1384"/>
            <ac:spMk id="17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3:03.398" v="2980" actId="20577"/>
          <ac:spMkLst>
            <pc:docMk/>
            <pc:sldMk cId="1744785689" sldId="1384"/>
            <ac:spMk id="17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4:18.104" v="2999"/>
          <ac:spMkLst>
            <pc:docMk/>
            <pc:sldMk cId="1744785689" sldId="1384"/>
            <ac:spMk id="191" creationId="{288AE99B-590F-437B-ACE2-9689B6BAE3E5}"/>
          </ac:spMkLst>
        </pc:spChg>
        <pc:spChg chg="mod">
          <ac:chgData name="Disselhoff, Tim" userId="3b8b5473-7050-4f60-8279-e72cc8538d43" providerId="ADAL" clId="{952E53DB-5978-46BA-964C-5B55B87B6690}" dt="2021-08-16T18:34:18.104" v="2999"/>
          <ac:spMkLst>
            <pc:docMk/>
            <pc:sldMk cId="1744785689" sldId="1384"/>
            <ac:spMk id="192" creationId="{D505D045-D7E9-4922-A589-CE27D81C546E}"/>
          </ac:spMkLst>
        </pc:spChg>
        <pc:spChg chg="add mod ord">
          <ac:chgData name="Disselhoff, Tim" userId="3b8b5473-7050-4f60-8279-e72cc8538d43" providerId="ADAL" clId="{952E53DB-5978-46BA-964C-5B55B87B6690}" dt="2021-08-16T18:40:54.898" v="3499"/>
          <ac:spMkLst>
            <pc:docMk/>
            <pc:sldMk cId="1744785689" sldId="1384"/>
            <ac:spMk id="193" creationId="{84EEC23B-CB56-4592-BC0B-CF70EA23F361}"/>
          </ac:spMkLst>
        </pc:spChg>
        <pc:spChg chg="mod ord">
          <ac:chgData name="Disselhoff, Tim" userId="3b8b5473-7050-4f60-8279-e72cc8538d43" providerId="ADAL" clId="{952E53DB-5978-46BA-964C-5B55B87B6690}" dt="2021-08-16T18:40:54.864" v="3428"/>
          <ac:spMkLst>
            <pc:docMk/>
            <pc:sldMk cId="1744785689" sldId="1384"/>
            <ac:spMk id="195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40:54.864" v="3430"/>
          <ac:spMkLst>
            <pc:docMk/>
            <pc:sldMk cId="1744785689" sldId="1384"/>
            <ac:spMk id="19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2:08.220" v="2969" actId="208"/>
          <ac:spMkLst>
            <pc:docMk/>
            <pc:sldMk cId="1744785689" sldId="1384"/>
            <ac:spMk id="197" creationId="{33B4A255-A42A-47E5-BBF8-450FEC78C35C}"/>
          </ac:spMkLst>
        </pc:spChg>
        <pc:spChg chg="mod">
          <ac:chgData name="Disselhoff, Tim" userId="3b8b5473-7050-4f60-8279-e72cc8538d43" providerId="ADAL" clId="{952E53DB-5978-46BA-964C-5B55B87B6690}" dt="2021-08-16T18:32:08.220" v="2969" actId="208"/>
          <ac:spMkLst>
            <pc:docMk/>
            <pc:sldMk cId="1744785689" sldId="1384"/>
            <ac:spMk id="198" creationId="{4FD3C07C-4B78-484D-9648-55078F5DE087}"/>
          </ac:spMkLst>
        </pc:spChg>
        <pc:spChg chg="mod">
          <ac:chgData name="Disselhoff, Tim" userId="3b8b5473-7050-4f60-8279-e72cc8538d43" providerId="ADAL" clId="{952E53DB-5978-46BA-964C-5B55B87B6690}" dt="2021-08-16T18:32:08.220" v="2969" actId="208"/>
          <ac:spMkLst>
            <pc:docMk/>
            <pc:sldMk cId="1744785689" sldId="1384"/>
            <ac:spMk id="201" creationId="{60153D2B-67A4-4BD9-9702-351AD78AD926}"/>
          </ac:spMkLst>
        </pc:spChg>
        <pc:spChg chg="mod ord">
          <ac:chgData name="Disselhoff, Tim" userId="3b8b5473-7050-4f60-8279-e72cc8538d43" providerId="ADAL" clId="{952E53DB-5978-46BA-964C-5B55B87B6690}" dt="2021-08-16T18:40:54.866" v="3436"/>
          <ac:spMkLst>
            <pc:docMk/>
            <pc:sldMk cId="1744785689" sldId="1384"/>
            <ac:spMk id="202" creationId="{02218789-BB2C-4DF6-8226-EB9DB14783D6}"/>
          </ac:spMkLst>
        </pc:spChg>
        <pc:spChg chg="mod ord">
          <ac:chgData name="Disselhoff, Tim" userId="3b8b5473-7050-4f60-8279-e72cc8538d43" providerId="ADAL" clId="{952E53DB-5978-46BA-964C-5B55B87B6690}" dt="2021-08-16T18:40:54.867" v="3438"/>
          <ac:spMkLst>
            <pc:docMk/>
            <pc:sldMk cId="1744785689" sldId="1384"/>
            <ac:spMk id="203" creationId="{574A566D-36B0-4C0D-8434-34E020E4CD2C}"/>
          </ac:spMkLst>
        </pc:spChg>
        <pc:spChg chg="mod ord">
          <ac:chgData name="Disselhoff, Tim" userId="3b8b5473-7050-4f60-8279-e72cc8538d43" providerId="ADAL" clId="{952E53DB-5978-46BA-964C-5B55B87B6690}" dt="2021-08-16T18:40:54.868" v="3440"/>
          <ac:spMkLst>
            <pc:docMk/>
            <pc:sldMk cId="1744785689" sldId="1384"/>
            <ac:spMk id="204" creationId="{C87EE9CE-0A39-42B6-9AE6-CFFD383404CE}"/>
          </ac:spMkLst>
        </pc:spChg>
        <pc:spChg chg="mod ord">
          <ac:chgData name="Disselhoff, Tim" userId="3b8b5473-7050-4f60-8279-e72cc8538d43" providerId="ADAL" clId="{952E53DB-5978-46BA-964C-5B55B87B6690}" dt="2021-08-16T18:40:54.870" v="3442"/>
          <ac:spMkLst>
            <pc:docMk/>
            <pc:sldMk cId="1744785689" sldId="1384"/>
            <ac:spMk id="205" creationId="{E1792963-3546-4BFD-8D1A-BA34CA47745D}"/>
          </ac:spMkLst>
        </pc:spChg>
        <pc:spChg chg="mod ord">
          <ac:chgData name="Disselhoff, Tim" userId="3b8b5473-7050-4f60-8279-e72cc8538d43" providerId="ADAL" clId="{952E53DB-5978-46BA-964C-5B55B87B6690}" dt="2021-08-16T18:40:54.870" v="3444"/>
          <ac:spMkLst>
            <pc:docMk/>
            <pc:sldMk cId="1744785689" sldId="1384"/>
            <ac:spMk id="206" creationId="{4B3C7CAF-5C5E-47C4-8C7B-72CDF41A670A}"/>
          </ac:spMkLst>
        </pc:spChg>
        <pc:spChg chg="mod ord">
          <ac:chgData name="Disselhoff, Tim" userId="3b8b5473-7050-4f60-8279-e72cc8538d43" providerId="ADAL" clId="{952E53DB-5978-46BA-964C-5B55B87B6690}" dt="2021-08-16T18:40:54.873" v="3450"/>
          <ac:spMkLst>
            <pc:docMk/>
            <pc:sldMk cId="1744785689" sldId="1384"/>
            <ac:spMk id="214" creationId="{1DB6B88C-ECB5-4448-BD58-2C51BDCEE0A5}"/>
          </ac:spMkLst>
        </pc:spChg>
        <pc:spChg chg="mod ord">
          <ac:chgData name="Disselhoff, Tim" userId="3b8b5473-7050-4f60-8279-e72cc8538d43" providerId="ADAL" clId="{952E53DB-5978-46BA-964C-5B55B87B6690}" dt="2021-08-16T18:40:54.874" v="3452"/>
          <ac:spMkLst>
            <pc:docMk/>
            <pc:sldMk cId="1744785689" sldId="1384"/>
            <ac:spMk id="215" creationId="{75ECADE8-3103-4B20-BA19-0554069258A4}"/>
          </ac:spMkLst>
        </pc:spChg>
        <pc:spChg chg="mod ord">
          <ac:chgData name="Disselhoff, Tim" userId="3b8b5473-7050-4f60-8279-e72cc8538d43" providerId="ADAL" clId="{952E53DB-5978-46BA-964C-5B55B87B6690}" dt="2021-08-16T18:40:54.874" v="3454"/>
          <ac:spMkLst>
            <pc:docMk/>
            <pc:sldMk cId="1744785689" sldId="1384"/>
            <ac:spMk id="216" creationId="{06935711-88E4-4E58-B4C9-4F9FF8B6A7E7}"/>
          </ac:spMkLst>
        </pc:spChg>
        <pc:spChg chg="mod ord">
          <ac:chgData name="Disselhoff, Tim" userId="3b8b5473-7050-4f60-8279-e72cc8538d43" providerId="ADAL" clId="{952E53DB-5978-46BA-964C-5B55B87B6690}" dt="2021-08-16T18:40:54.876" v="3456"/>
          <ac:spMkLst>
            <pc:docMk/>
            <pc:sldMk cId="1744785689" sldId="1384"/>
            <ac:spMk id="217" creationId="{3D0E0F0B-E0A5-4F35-8CFB-F5AB6D6FB554}"/>
          </ac:spMkLst>
        </pc:spChg>
        <pc:spChg chg="mod ord">
          <ac:chgData name="Disselhoff, Tim" userId="3b8b5473-7050-4f60-8279-e72cc8538d43" providerId="ADAL" clId="{952E53DB-5978-46BA-964C-5B55B87B6690}" dt="2021-08-16T18:40:54.877" v="3458"/>
          <ac:spMkLst>
            <pc:docMk/>
            <pc:sldMk cId="1744785689" sldId="1384"/>
            <ac:spMk id="218" creationId="{C1EA8D65-1C1C-4350-95E1-07A4491AF15C}"/>
          </ac:spMkLst>
        </pc:spChg>
        <pc:spChg chg="add mod ord">
          <ac:chgData name="Disselhoff, Tim" userId="3b8b5473-7050-4f60-8279-e72cc8538d43" providerId="ADAL" clId="{952E53DB-5978-46BA-964C-5B55B87B6690}" dt="2021-08-16T18:40:54.899" v="3501"/>
          <ac:spMkLst>
            <pc:docMk/>
            <pc:sldMk cId="1744785689" sldId="1384"/>
            <ac:spMk id="219" creationId="{000CB68F-5DC2-4FF6-ADA2-1EF701E12530}"/>
          </ac:spMkLst>
        </pc:spChg>
        <pc:spChg chg="mod">
          <ac:chgData name="Disselhoff, Tim" userId="3b8b5473-7050-4f60-8279-e72cc8538d43" providerId="ADAL" clId="{952E53DB-5978-46BA-964C-5B55B87B6690}" dt="2021-08-16T18:40:34.830" v="3339" actId="1076"/>
          <ac:spMkLst>
            <pc:docMk/>
            <pc:sldMk cId="1744785689" sldId="1384"/>
            <ac:spMk id="221" creationId="{366BE4F7-A56F-421C-AD77-C306BBB47E84}"/>
          </ac:spMkLst>
        </pc:spChg>
        <pc:spChg chg="mod">
          <ac:chgData name="Disselhoff, Tim" userId="3b8b5473-7050-4f60-8279-e72cc8538d43" providerId="ADAL" clId="{952E53DB-5978-46BA-964C-5B55B87B6690}" dt="2021-08-16T18:40:34.830" v="3339" actId="1076"/>
          <ac:spMkLst>
            <pc:docMk/>
            <pc:sldMk cId="1744785689" sldId="1384"/>
            <ac:spMk id="222" creationId="{F64A341B-F106-49A9-B401-1470D08FEDC6}"/>
          </ac:spMkLst>
        </pc:spChg>
        <pc:spChg chg="add del mod">
          <ac:chgData name="Disselhoff, Tim" userId="3b8b5473-7050-4f60-8279-e72cc8538d43" providerId="ADAL" clId="{952E53DB-5978-46BA-964C-5B55B87B6690}" dt="2021-08-19T16:30:39.636" v="18935" actId="478"/>
          <ac:spMkLst>
            <pc:docMk/>
            <pc:sldMk cId="1744785689" sldId="1384"/>
            <ac:spMk id="224" creationId="{DFCC5A6F-A9F0-4CBD-B0CD-36543848859B}"/>
          </ac:spMkLst>
        </pc:spChg>
        <pc:spChg chg="add del mod">
          <ac:chgData name="Disselhoff, Tim" userId="3b8b5473-7050-4f60-8279-e72cc8538d43" providerId="ADAL" clId="{952E53DB-5978-46BA-964C-5B55B87B6690}" dt="2021-08-19T16:30:39.636" v="18935" actId="478"/>
          <ac:spMkLst>
            <pc:docMk/>
            <pc:sldMk cId="1744785689" sldId="1384"/>
            <ac:spMk id="225" creationId="{80FED688-A340-483F-A6CB-DE4DD01B4A45}"/>
          </ac:spMkLst>
        </pc:spChg>
        <pc:spChg chg="mod ord">
          <ac:chgData name="Disselhoff, Tim" userId="3b8b5473-7050-4f60-8279-e72cc8538d43" providerId="ADAL" clId="{952E53DB-5978-46BA-964C-5B55B87B6690}" dt="2021-08-16T18:40:54.877" v="3460"/>
          <ac:spMkLst>
            <pc:docMk/>
            <pc:sldMk cId="1744785689" sldId="1384"/>
            <ac:spMk id="226" creationId="{4608056B-4104-4663-94D5-07B238D0A2C6}"/>
          </ac:spMkLst>
        </pc:spChg>
        <pc:spChg chg="mod ord">
          <ac:chgData name="Disselhoff, Tim" userId="3b8b5473-7050-4f60-8279-e72cc8538d43" providerId="ADAL" clId="{952E53DB-5978-46BA-964C-5B55B87B6690}" dt="2021-08-16T18:40:54.878" v="3462"/>
          <ac:spMkLst>
            <pc:docMk/>
            <pc:sldMk cId="1744785689" sldId="1384"/>
            <ac:spMk id="227" creationId="{7FEDA1E9-9025-4222-8B3E-007DABE933E3}"/>
          </ac:spMkLst>
        </pc:spChg>
        <pc:spChg chg="mod ord">
          <ac:chgData name="Disselhoff, Tim" userId="3b8b5473-7050-4f60-8279-e72cc8538d43" providerId="ADAL" clId="{952E53DB-5978-46BA-964C-5B55B87B6690}" dt="2021-08-16T18:40:54.879" v="3464"/>
          <ac:spMkLst>
            <pc:docMk/>
            <pc:sldMk cId="1744785689" sldId="1384"/>
            <ac:spMk id="228" creationId="{341DB174-C2B6-4609-9BEA-1A41A014DFF6}"/>
          </ac:spMkLst>
        </pc:spChg>
        <pc:spChg chg="mod ord">
          <ac:chgData name="Disselhoff, Tim" userId="3b8b5473-7050-4f60-8279-e72cc8538d43" providerId="ADAL" clId="{952E53DB-5978-46BA-964C-5B55B87B6690}" dt="2021-08-16T18:40:54.880" v="3466"/>
          <ac:spMkLst>
            <pc:docMk/>
            <pc:sldMk cId="1744785689" sldId="1384"/>
            <ac:spMk id="229" creationId="{F2AE54A5-748B-45B5-8772-7F29C09500DB}"/>
          </ac:spMkLst>
        </pc:spChg>
        <pc:spChg chg="mod ord">
          <ac:chgData name="Disselhoff, Tim" userId="3b8b5473-7050-4f60-8279-e72cc8538d43" providerId="ADAL" clId="{952E53DB-5978-46BA-964C-5B55B87B6690}" dt="2021-08-16T18:40:54.880" v="3468"/>
          <ac:spMkLst>
            <pc:docMk/>
            <pc:sldMk cId="1744785689" sldId="1384"/>
            <ac:spMk id="230" creationId="{71248B5A-4534-4A22-B526-3476100187D4}"/>
          </ac:spMkLst>
        </pc:spChg>
        <pc:spChg chg="mod ord">
          <ac:chgData name="Disselhoff, Tim" userId="3b8b5473-7050-4f60-8279-e72cc8538d43" providerId="ADAL" clId="{952E53DB-5978-46BA-964C-5B55B87B6690}" dt="2021-08-16T18:40:54.881" v="3470"/>
          <ac:spMkLst>
            <pc:docMk/>
            <pc:sldMk cId="1744785689" sldId="1384"/>
            <ac:spMk id="231" creationId="{CC251BAF-13A4-4ECA-A47E-A0853474ED72}"/>
          </ac:spMkLst>
        </pc:spChg>
        <pc:spChg chg="mod ord">
          <ac:chgData name="Disselhoff, Tim" userId="3b8b5473-7050-4f60-8279-e72cc8538d43" providerId="ADAL" clId="{952E53DB-5978-46BA-964C-5B55B87B6690}" dt="2021-08-16T18:40:54.882" v="3472"/>
          <ac:spMkLst>
            <pc:docMk/>
            <pc:sldMk cId="1744785689" sldId="1384"/>
            <ac:spMk id="232" creationId="{2EF3E5C7-1C8A-47E8-8105-E633AC406B0F}"/>
          </ac:spMkLst>
        </pc:spChg>
        <pc:spChg chg="mod ord">
          <ac:chgData name="Disselhoff, Tim" userId="3b8b5473-7050-4f60-8279-e72cc8538d43" providerId="ADAL" clId="{952E53DB-5978-46BA-964C-5B55B87B6690}" dt="2021-08-16T18:40:54.884" v="3474"/>
          <ac:spMkLst>
            <pc:docMk/>
            <pc:sldMk cId="1744785689" sldId="1384"/>
            <ac:spMk id="233" creationId="{3F6ADF69-A80C-40A4-9F54-E20D16DB37A7}"/>
          </ac:spMkLst>
        </pc:spChg>
        <pc:spChg chg="add del mod">
          <ac:chgData name="Disselhoff, Tim" userId="3b8b5473-7050-4f60-8279-e72cc8538d43" providerId="ADAL" clId="{952E53DB-5978-46BA-964C-5B55B87B6690}" dt="2021-08-19T16:30:39.636" v="18935" actId="478"/>
          <ac:spMkLst>
            <pc:docMk/>
            <pc:sldMk cId="1744785689" sldId="1384"/>
            <ac:spMk id="234" creationId="{816F4737-6977-4D39-84A6-500FFF9079BD}"/>
          </ac:spMkLst>
        </pc:spChg>
        <pc:spChg chg="mod ord">
          <ac:chgData name="Disselhoff, Tim" userId="3b8b5473-7050-4f60-8279-e72cc8538d43" providerId="ADAL" clId="{952E53DB-5978-46BA-964C-5B55B87B6690}" dt="2021-08-16T18:40:54.885" v="3476"/>
          <ac:spMkLst>
            <pc:docMk/>
            <pc:sldMk cId="1744785689" sldId="1384"/>
            <ac:spMk id="236" creationId="{47E1E454-6BC6-4FE5-A45F-0AAE081AFE7A}"/>
          </ac:spMkLst>
        </pc:spChg>
        <pc:spChg chg="del mod ord">
          <ac:chgData name="Disselhoff, Tim" userId="3b8b5473-7050-4f60-8279-e72cc8538d43" providerId="ADAL" clId="{952E53DB-5978-46BA-964C-5B55B87B6690}" dt="2021-08-16T18:45:48.521" v="4157" actId="478"/>
          <ac:spMkLst>
            <pc:docMk/>
            <pc:sldMk cId="1744785689" sldId="1384"/>
            <ac:spMk id="238" creationId="{79A881F8-AF5B-4B1F-8158-3E93D8E8147B}"/>
          </ac:spMkLst>
        </pc:spChg>
        <pc:spChg chg="mod">
          <ac:chgData name="Disselhoff, Tim" userId="3b8b5473-7050-4f60-8279-e72cc8538d43" providerId="ADAL" clId="{952E53DB-5978-46BA-964C-5B55B87B6690}" dt="2021-08-16T18:45:28.730" v="4152"/>
          <ac:spMkLst>
            <pc:docMk/>
            <pc:sldMk cId="1744785689" sldId="1384"/>
            <ac:spMk id="239" creationId="{004C3756-D65C-4C68-84EA-766F1F6690BD}"/>
          </ac:spMkLst>
        </pc:spChg>
        <pc:spChg chg="mod">
          <ac:chgData name="Disselhoff, Tim" userId="3b8b5473-7050-4f60-8279-e72cc8538d43" providerId="ADAL" clId="{952E53DB-5978-46BA-964C-5B55B87B6690}" dt="2021-08-16T18:45:28.730" v="4152"/>
          <ac:spMkLst>
            <pc:docMk/>
            <pc:sldMk cId="1744785689" sldId="1384"/>
            <ac:spMk id="240" creationId="{3AE9A154-8C01-4242-8D21-3F32470231A6}"/>
          </ac:spMkLst>
        </pc:spChg>
        <pc:spChg chg="add mod">
          <ac:chgData name="Disselhoff, Tim" userId="3b8b5473-7050-4f60-8279-e72cc8538d43" providerId="ADAL" clId="{952E53DB-5978-46BA-964C-5B55B87B6690}" dt="2021-08-19T16:35:55.681" v="19619" actId="20577"/>
          <ac:spMkLst>
            <pc:docMk/>
            <pc:sldMk cId="1744785689" sldId="1384"/>
            <ac:spMk id="241" creationId="{866D5499-C36F-46F5-A1AF-29F802D7D9A0}"/>
          </ac:spMkLst>
        </pc:spChg>
        <pc:spChg chg="add del mod">
          <ac:chgData name="Disselhoff, Tim" userId="3b8b5473-7050-4f60-8279-e72cc8538d43" providerId="ADAL" clId="{952E53DB-5978-46BA-964C-5B55B87B6690}" dt="2021-08-18T16:28:04.380" v="11408" actId="478"/>
          <ac:spMkLst>
            <pc:docMk/>
            <pc:sldMk cId="1744785689" sldId="1384"/>
            <ac:spMk id="242" creationId="{47B6D313-FAD8-432E-8A93-A9ADDAD54F18}"/>
          </ac:spMkLst>
        </pc:spChg>
        <pc:grpChg chg="del mod">
          <ac:chgData name="Disselhoff, Tim" userId="3b8b5473-7050-4f60-8279-e72cc8538d43" providerId="ADAL" clId="{952E53DB-5978-46BA-964C-5B55B87B6690}" dt="2021-08-16T18:41:05.709" v="3525" actId="478"/>
          <ac:grpSpMkLst>
            <pc:docMk/>
            <pc:sldMk cId="1744785689" sldId="1384"/>
            <ac:grpSpMk id="91" creationId="{F5381916-3B69-4B7C-B12D-7382BF2E17F3}"/>
          </ac:grpSpMkLst>
        </pc:grpChg>
        <pc:grpChg chg="mod">
          <ac:chgData name="Disselhoff, Tim" userId="3b8b5473-7050-4f60-8279-e72cc8538d43" providerId="ADAL" clId="{952E53DB-5978-46BA-964C-5B55B87B6690}" dt="2021-08-16T18:40:54.891" v="3488"/>
          <ac:grpSpMkLst>
            <pc:docMk/>
            <pc:sldMk cId="1744785689" sldId="1384"/>
            <ac:grpSpMk id="97" creationId="{9B40E6A5-1B02-42DD-9A18-9A5F72D94E4A}"/>
          </ac:grpSpMkLst>
        </pc:grpChg>
        <pc:grpChg chg="mod">
          <ac:chgData name="Disselhoff, Tim" userId="3b8b5473-7050-4f60-8279-e72cc8538d43" providerId="ADAL" clId="{952E53DB-5978-46BA-964C-5B55B87B6690}" dt="2021-08-16T18:40:54.892" v="3489"/>
          <ac:grpSpMkLst>
            <pc:docMk/>
            <pc:sldMk cId="1744785689" sldId="1384"/>
            <ac:grpSpMk id="108" creationId="{30514568-999C-43A9-BF17-5674020DDC87}"/>
          </ac:grpSpMkLst>
        </pc:grpChg>
        <pc:grpChg chg="mod">
          <ac:chgData name="Disselhoff, Tim" userId="3b8b5473-7050-4f60-8279-e72cc8538d43" providerId="ADAL" clId="{952E53DB-5978-46BA-964C-5B55B87B6690}" dt="2021-08-16T18:40:54.893" v="3490"/>
          <ac:grpSpMkLst>
            <pc:docMk/>
            <pc:sldMk cId="1744785689" sldId="1384"/>
            <ac:grpSpMk id="120" creationId="{0C14F3EA-29DE-4135-B1CF-DB39D859A514}"/>
          </ac:grpSpMkLst>
        </pc:grpChg>
        <pc:grpChg chg="mod">
          <ac:chgData name="Disselhoff, Tim" userId="3b8b5473-7050-4f60-8279-e72cc8538d43" providerId="ADAL" clId="{952E53DB-5978-46BA-964C-5B55B87B6690}" dt="2021-08-16T18:40:54.896" v="3495"/>
          <ac:grpSpMkLst>
            <pc:docMk/>
            <pc:sldMk cId="1744785689" sldId="1384"/>
            <ac:grpSpMk id="125" creationId="{A311A645-0F3A-49A7-B8F0-A3134A32483B}"/>
          </ac:grpSpMkLst>
        </pc:grpChg>
        <pc:grpChg chg="mod ord">
          <ac:chgData name="Disselhoff, Tim" userId="3b8b5473-7050-4f60-8279-e72cc8538d43" providerId="ADAL" clId="{952E53DB-5978-46BA-964C-5B55B87B6690}" dt="2021-08-16T18:40:54.866" v="3434"/>
          <ac:grpSpMkLst>
            <pc:docMk/>
            <pc:sldMk cId="1744785689" sldId="1384"/>
            <ac:grpSpMk id="157" creationId="{FC2AF88E-1B69-45F8-8E85-6207ADFDF830}"/>
          </ac:grpSpMkLst>
        </pc:grpChg>
        <pc:grpChg chg="del">
          <ac:chgData name="Disselhoff, Tim" userId="3b8b5473-7050-4f60-8279-e72cc8538d43" providerId="ADAL" clId="{952E53DB-5978-46BA-964C-5B55B87B6690}" dt="2021-08-16T18:34:17.275" v="2998" actId="478"/>
          <ac:grpSpMkLst>
            <pc:docMk/>
            <pc:sldMk cId="1744785689" sldId="1384"/>
            <ac:grpSpMk id="167" creationId="{BA6A66C4-6846-1943-B1EE-DB85329D95BB}"/>
          </ac:grpSpMkLst>
        </pc:grpChg>
        <pc:grpChg chg="del mod ord">
          <ac:chgData name="Disselhoff, Tim" userId="3b8b5473-7050-4f60-8279-e72cc8538d43" providerId="ADAL" clId="{952E53DB-5978-46BA-964C-5B55B87B6690}" dt="2021-08-16T18:45:27.993" v="4151" actId="478"/>
          <ac:grpSpMkLst>
            <pc:docMk/>
            <pc:sldMk cId="1744785689" sldId="1384"/>
            <ac:grpSpMk id="172" creationId="{00000000-0000-0000-0000-000000000000}"/>
          </ac:grpSpMkLst>
        </pc:grpChg>
        <pc:grpChg chg="del mod ord">
          <ac:chgData name="Disselhoff, Tim" userId="3b8b5473-7050-4f60-8279-e72cc8538d43" providerId="ADAL" clId="{952E53DB-5978-46BA-964C-5B55B87B6690}" dt="2021-08-16T18:45:27.993" v="4151" actId="478"/>
          <ac:grpSpMkLst>
            <pc:docMk/>
            <pc:sldMk cId="1744785689" sldId="1384"/>
            <ac:grpSpMk id="175" creationId="{00000000-0000-0000-0000-000000000000}"/>
          </ac:grpSpMkLst>
        </pc:grpChg>
        <pc:grpChg chg="del mod ord">
          <ac:chgData name="Disselhoff, Tim" userId="3b8b5473-7050-4f60-8279-e72cc8538d43" providerId="ADAL" clId="{952E53DB-5978-46BA-964C-5B55B87B6690}" dt="2021-08-16T18:45:27.993" v="4151" actId="478"/>
          <ac:grpSpMkLst>
            <pc:docMk/>
            <pc:sldMk cId="1744785689" sldId="1384"/>
            <ac:grpSpMk id="178" creationId="{00000000-0000-0000-0000-000000000000}"/>
          </ac:grpSpMkLst>
        </pc:grpChg>
        <pc:grpChg chg="add del mod ord">
          <ac:chgData name="Disselhoff, Tim" userId="3b8b5473-7050-4f60-8279-e72cc8538d43" providerId="ADAL" clId="{952E53DB-5978-46BA-964C-5B55B87B6690}" dt="2021-08-16T18:45:27.993" v="4151" actId="478"/>
          <ac:grpSpMkLst>
            <pc:docMk/>
            <pc:sldMk cId="1744785689" sldId="1384"/>
            <ac:grpSpMk id="190" creationId="{BBCFF914-74C2-4BF0-AFB6-2A0E69AAAE87}"/>
          </ac:grpSpMkLst>
        </pc:grpChg>
        <pc:grpChg chg="mod ord">
          <ac:chgData name="Disselhoff, Tim" userId="3b8b5473-7050-4f60-8279-e72cc8538d43" providerId="ADAL" clId="{952E53DB-5978-46BA-964C-5B55B87B6690}" dt="2021-08-16T18:40:54.871" v="3446"/>
          <ac:grpSpMkLst>
            <pc:docMk/>
            <pc:sldMk cId="1744785689" sldId="1384"/>
            <ac:grpSpMk id="207" creationId="{BE75C26D-288F-4048-BAF5-13CDAB244A66}"/>
          </ac:grpSpMkLst>
        </pc:grpChg>
        <pc:grpChg chg="mod ord">
          <ac:chgData name="Disselhoff, Tim" userId="3b8b5473-7050-4f60-8279-e72cc8538d43" providerId="ADAL" clId="{952E53DB-5978-46BA-964C-5B55B87B6690}" dt="2021-08-16T18:40:54.872" v="3448"/>
          <ac:grpSpMkLst>
            <pc:docMk/>
            <pc:sldMk cId="1744785689" sldId="1384"/>
            <ac:grpSpMk id="211" creationId="{9089C857-37A3-4736-929C-6D0D47610D60}"/>
          </ac:grpSpMkLst>
        </pc:grpChg>
        <pc:grpChg chg="add mod">
          <ac:chgData name="Disselhoff, Tim" userId="3b8b5473-7050-4f60-8279-e72cc8538d43" providerId="ADAL" clId="{952E53DB-5978-46BA-964C-5B55B87B6690}" dt="2021-08-16T18:40:54.900" v="3502"/>
          <ac:grpSpMkLst>
            <pc:docMk/>
            <pc:sldMk cId="1744785689" sldId="1384"/>
            <ac:grpSpMk id="220" creationId="{BDA21250-B5EE-4990-8E1F-728A339C172D}"/>
          </ac:grpSpMkLst>
        </pc:grpChg>
        <pc:grpChg chg="add mod">
          <ac:chgData name="Disselhoff, Tim" userId="3b8b5473-7050-4f60-8279-e72cc8538d43" providerId="ADAL" clId="{952E53DB-5978-46BA-964C-5B55B87B6690}" dt="2021-08-16T18:45:28.730" v="4152"/>
          <ac:grpSpMkLst>
            <pc:docMk/>
            <pc:sldMk cId="1744785689" sldId="1384"/>
            <ac:grpSpMk id="235" creationId="{CDA6AA57-7928-4F42-807F-0EB62D873EBC}"/>
          </ac:grpSpMkLst>
        </pc:grpChg>
        <pc:graphicFrameChg chg="mod">
          <ac:chgData name="Disselhoff, Tim" userId="3b8b5473-7050-4f60-8279-e72cc8538d43" providerId="ADAL" clId="{952E53DB-5978-46BA-964C-5B55B87B6690}" dt="2021-08-16T18:43:25.570" v="4078"/>
          <ac:graphicFrameMkLst>
            <pc:docMk/>
            <pc:sldMk cId="1744785689" sldId="1384"/>
            <ac:graphicFrameMk id="8" creationId="{00000000-0000-0000-0000-000000000000}"/>
          </ac:graphicFrameMkLst>
        </pc:graphicFrameChg>
        <pc:cxnChg chg="del mod ord">
          <ac:chgData name="Disselhoff, Tim" userId="3b8b5473-7050-4f60-8279-e72cc8538d43" providerId="ADAL" clId="{952E53DB-5978-46BA-964C-5B55B87B6690}" dt="2021-08-16T18:41:04.156" v="3524" actId="478"/>
          <ac:cxnSpMkLst>
            <pc:docMk/>
            <pc:sldMk cId="1744785689" sldId="1384"/>
            <ac:cxnSpMk id="88" creationId="{813E85F0-8D5F-4D5D-8CE1-892E465819FA}"/>
          </ac:cxnSpMkLst>
        </pc:cxnChg>
        <pc:cxnChg chg="mod ord">
          <ac:chgData name="Disselhoff, Tim" userId="3b8b5473-7050-4f60-8279-e72cc8538d43" providerId="ADAL" clId="{952E53DB-5978-46BA-964C-5B55B87B6690}" dt="2021-08-16T18:40:54.851" v="3394"/>
          <ac:cxnSpMkLst>
            <pc:docMk/>
            <pc:sldMk cId="1744785689" sldId="1384"/>
            <ac:cxnSpMk id="13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40:54.852" v="3396"/>
          <ac:cxnSpMkLst>
            <pc:docMk/>
            <pc:sldMk cId="1744785689" sldId="1384"/>
            <ac:cxnSpMk id="14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40:54.855" v="3402"/>
          <ac:cxnSpMkLst>
            <pc:docMk/>
            <pc:sldMk cId="1744785689" sldId="1384"/>
            <ac:cxnSpMk id="146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40:54.863" v="3426"/>
          <ac:cxnSpMkLst>
            <pc:docMk/>
            <pc:sldMk cId="1744785689" sldId="1384"/>
            <ac:cxnSpMk id="194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6T18:46:01.937" v="4159" actId="208"/>
          <ac:cxnSpMkLst>
            <pc:docMk/>
            <pc:sldMk cId="1744785689" sldId="1384"/>
            <ac:cxnSpMk id="208" creationId="{71F48747-AE2E-45BD-9F8C-8099EA6125E0}"/>
          </ac:cxnSpMkLst>
        </pc:cxnChg>
        <pc:cxnChg chg="mod">
          <ac:chgData name="Disselhoff, Tim" userId="3b8b5473-7050-4f60-8279-e72cc8538d43" providerId="ADAL" clId="{952E53DB-5978-46BA-964C-5B55B87B6690}" dt="2021-08-16T18:46:01.937" v="4159" actId="208"/>
          <ac:cxnSpMkLst>
            <pc:docMk/>
            <pc:sldMk cId="1744785689" sldId="1384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6T18:46:12.203" v="4161" actId="208"/>
          <ac:cxnSpMkLst>
            <pc:docMk/>
            <pc:sldMk cId="1744785689" sldId="1384"/>
            <ac:cxnSpMk id="212" creationId="{097C9AE1-C019-4ECF-9A3D-A604F9CA8C15}"/>
          </ac:cxnSpMkLst>
        </pc:cxnChg>
        <pc:cxnChg chg="mod">
          <ac:chgData name="Disselhoff, Tim" userId="3b8b5473-7050-4f60-8279-e72cc8538d43" providerId="ADAL" clId="{952E53DB-5978-46BA-964C-5B55B87B6690}" dt="2021-08-16T18:45:53.516" v="4158" actId="208"/>
          <ac:cxnSpMkLst>
            <pc:docMk/>
            <pc:sldMk cId="1744785689" sldId="1384"/>
            <ac:cxnSpMk id="213" creationId="{CC355E85-2FD9-401F-AF69-354C5EE8C0EE}"/>
          </ac:cxnSpMkLst>
        </pc:cxnChg>
        <pc:cxnChg chg="add mod ord">
          <ac:chgData name="Disselhoff, Tim" userId="3b8b5473-7050-4f60-8279-e72cc8538d43" providerId="ADAL" clId="{952E53DB-5978-46BA-964C-5B55B87B6690}" dt="2021-08-16T18:40:54.901" v="3504"/>
          <ac:cxnSpMkLst>
            <pc:docMk/>
            <pc:sldMk cId="1744785689" sldId="1384"/>
            <ac:cxnSpMk id="223" creationId="{52191EA9-3366-41B2-A0C6-E909D9F87991}"/>
          </ac:cxnSpMkLst>
        </pc:cxnChg>
        <pc:cxnChg chg="mod ord">
          <ac:chgData name="Disselhoff, Tim" userId="3b8b5473-7050-4f60-8279-e72cc8538d43" providerId="ADAL" clId="{952E53DB-5978-46BA-964C-5B55B87B6690}" dt="2021-08-16T18:46:05.235" v="4160" actId="208"/>
          <ac:cxnSpMkLst>
            <pc:docMk/>
            <pc:sldMk cId="1744785689" sldId="1384"/>
            <ac:cxnSpMk id="237" creationId="{F0AD7F1F-DECA-4AA0-953E-372CA19338A9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6:53:31.025" v="19815" actId="478"/>
        <pc:sldMkLst>
          <pc:docMk/>
          <pc:sldMk cId="1589727582" sldId="1385"/>
        </pc:sldMkLst>
        <pc:spChg chg="mod ord">
          <ac:chgData name="Disselhoff, Tim" userId="3b8b5473-7050-4f60-8279-e72cc8538d43" providerId="ADAL" clId="{952E53DB-5978-46BA-964C-5B55B87B6690}" dt="2021-08-19T16:37:31.948" v="19774" actId="6549"/>
          <ac:spMkLst>
            <pc:docMk/>
            <pc:sldMk cId="1589727582" sldId="1385"/>
            <ac:spMk id="2" creationId="{C1A246C2-7891-4153-8173-AB72BCCBDA20}"/>
          </ac:spMkLst>
        </pc:spChg>
        <pc:spChg chg="mod ord">
          <ac:chgData name="Disselhoff, Tim" userId="3b8b5473-7050-4f60-8279-e72cc8538d43" providerId="ADAL" clId="{952E53DB-5978-46BA-964C-5B55B87B6690}" dt="2021-08-16T18:43:18.201" v="3994" actId="948"/>
          <ac:spMkLst>
            <pc:docMk/>
            <pc:sldMk cId="1589727582" sldId="1385"/>
            <ac:spMk id="3" creationId="{511DE42B-0EE9-44F0-9AE0-B7DA38CF962E}"/>
          </ac:spMkLst>
        </pc:spChg>
        <pc:spChg chg="add del mod modVis">
          <ac:chgData name="Disselhoff, Tim" userId="3b8b5473-7050-4f60-8279-e72cc8538d43" providerId="ADAL" clId="{952E53DB-5978-46BA-964C-5B55B87B6690}" dt="2021-08-16T18:38:53.371" v="3195"/>
          <ac:spMkLst>
            <pc:docMk/>
            <pc:sldMk cId="1589727582" sldId="1385"/>
            <ac:spMk id="4" creationId="{F0B08DE7-650D-45B4-B2F5-4CE74F61DB28}"/>
          </ac:spMkLst>
        </pc:spChg>
        <pc:spChg chg="add del mod modVis">
          <ac:chgData name="Disselhoff, Tim" userId="3b8b5473-7050-4f60-8279-e72cc8538d43" providerId="ADAL" clId="{952E53DB-5978-46BA-964C-5B55B87B6690}" dt="2021-08-16T18:43:14.356" v="3928"/>
          <ac:spMkLst>
            <pc:docMk/>
            <pc:sldMk cId="1589727582" sldId="1385"/>
            <ac:spMk id="5" creationId="{85FD4BC3-1476-496A-B69D-6DFEE59983AC}"/>
          </ac:spMkLst>
        </pc:spChg>
        <pc:spChg chg="add del mod modVis">
          <ac:chgData name="Disselhoff, Tim" userId="3b8b5473-7050-4f60-8279-e72cc8538d43" providerId="ADAL" clId="{952E53DB-5978-46BA-964C-5B55B87B6690}" dt="2021-08-16T18:43:17.077" v="3986"/>
          <ac:spMkLst>
            <pc:docMk/>
            <pc:sldMk cId="1589727582" sldId="1385"/>
            <ac:spMk id="6" creationId="{05F1F779-DA4D-4AAA-A398-B1AF9BC41A60}"/>
          </ac:spMkLst>
        </pc:spChg>
        <pc:spChg chg="mod ord">
          <ac:chgData name="Disselhoff, Tim" userId="3b8b5473-7050-4f60-8279-e72cc8538d43" providerId="ADAL" clId="{952E53DB-5978-46BA-964C-5B55B87B6690}" dt="2021-08-16T18:39:07.183" v="3211"/>
          <ac:spMkLst>
            <pc:docMk/>
            <pc:sldMk cId="1589727582" sldId="1385"/>
            <ac:spMk id="7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16T18:43:18.263" v="4033"/>
          <ac:spMkLst>
            <pc:docMk/>
            <pc:sldMk cId="1589727582" sldId="1385"/>
            <ac:spMk id="9" creationId="{C5F9F27B-5F8F-4477-A2AD-D9D739F32A74}"/>
          </ac:spMkLst>
        </pc:spChg>
        <pc:spChg chg="del mod ord">
          <ac:chgData name="Disselhoff, Tim" userId="3b8b5473-7050-4f60-8279-e72cc8538d43" providerId="ADAL" clId="{952E53DB-5978-46BA-964C-5B55B87B6690}" dt="2021-08-16T18:39:11.893" v="3327" actId="478"/>
          <ac:spMkLst>
            <pc:docMk/>
            <pc:sldMk cId="1589727582" sldId="1385"/>
            <ac:spMk id="87" creationId="{3C57EA3E-85CE-4D5E-A634-A5972252D8CF}"/>
          </ac:spMkLst>
        </pc:spChg>
        <pc:spChg chg="del mod ord">
          <ac:chgData name="Disselhoff, Tim" userId="3b8b5473-7050-4f60-8279-e72cc8538d43" providerId="ADAL" clId="{952E53DB-5978-46BA-964C-5B55B87B6690}" dt="2021-08-16T18:39:11.893" v="3327" actId="478"/>
          <ac:spMkLst>
            <pc:docMk/>
            <pc:sldMk cId="1589727582" sldId="1385"/>
            <ac:spMk id="89" creationId="{D6AE5CCB-8313-432D-A342-41DD081CB5C9}"/>
          </ac:spMkLst>
        </pc:spChg>
        <pc:spChg chg="del mod ord">
          <ac:chgData name="Disselhoff, Tim" userId="3b8b5473-7050-4f60-8279-e72cc8538d43" providerId="ADAL" clId="{952E53DB-5978-46BA-964C-5B55B87B6690}" dt="2021-08-16T18:39:14.532" v="3328" actId="478"/>
          <ac:spMkLst>
            <pc:docMk/>
            <pc:sldMk cId="1589727582" sldId="1385"/>
            <ac:spMk id="90" creationId="{5528DDFD-7443-4D6F-8EA5-F06D17B686C9}"/>
          </ac:spMkLst>
        </pc:spChg>
        <pc:spChg chg="mod">
          <ac:chgData name="Disselhoff, Tim" userId="3b8b5473-7050-4f60-8279-e72cc8538d43" providerId="ADAL" clId="{952E53DB-5978-46BA-964C-5B55B87B6690}" dt="2021-08-16T18:39:04.717" v="3198" actId="1076"/>
          <ac:spMkLst>
            <pc:docMk/>
            <pc:sldMk cId="1589727582" sldId="1385"/>
            <ac:spMk id="92" creationId="{78AA75F8-080E-4971-8449-EC6CB97BF448}"/>
          </ac:spMkLst>
        </pc:spChg>
        <pc:spChg chg="mod">
          <ac:chgData name="Disselhoff, Tim" userId="3b8b5473-7050-4f60-8279-e72cc8538d43" providerId="ADAL" clId="{952E53DB-5978-46BA-964C-5B55B87B6690}" dt="2021-08-16T18:39:04.717" v="3198" actId="1076"/>
          <ac:spMkLst>
            <pc:docMk/>
            <pc:sldMk cId="1589727582" sldId="1385"/>
            <ac:spMk id="93" creationId="{BC120912-A5F2-49D4-B673-ADF6CBD9E9EA}"/>
          </ac:spMkLst>
        </pc:spChg>
        <pc:spChg chg="mod ord">
          <ac:chgData name="Disselhoff, Tim" userId="3b8b5473-7050-4f60-8279-e72cc8538d43" providerId="ADAL" clId="{952E53DB-5978-46BA-964C-5B55B87B6690}" dt="2021-08-16T18:39:07.216" v="3312"/>
          <ac:spMkLst>
            <pc:docMk/>
            <pc:sldMk cId="1589727582" sldId="1385"/>
            <ac:spMk id="123" creationId="{DA1FD08E-1B8F-4D25-96F9-987E35946207}"/>
          </ac:spMkLst>
        </pc:spChg>
        <pc:spChg chg="mod ord">
          <ac:chgData name="Disselhoff, Tim" userId="3b8b5473-7050-4f60-8279-e72cc8538d43" providerId="ADAL" clId="{952E53DB-5978-46BA-964C-5B55B87B6690}" dt="2021-08-16T18:39:07.217" v="3314"/>
          <ac:spMkLst>
            <pc:docMk/>
            <pc:sldMk cId="1589727582" sldId="1385"/>
            <ac:spMk id="124" creationId="{D21FA75F-E9AC-4F20-83E0-A8AE4E36331F}"/>
          </ac:spMkLst>
        </pc:spChg>
        <pc:spChg chg="mod ord">
          <ac:chgData name="Disselhoff, Tim" userId="3b8b5473-7050-4f60-8279-e72cc8538d43" providerId="ADAL" clId="{952E53DB-5978-46BA-964C-5B55B87B6690}" dt="2021-08-16T18:39:07.182" v="3207"/>
          <ac:spMkLst>
            <pc:docMk/>
            <pc:sldMk cId="1589727582" sldId="1385"/>
            <ac:spMk id="138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3" v="3209"/>
          <ac:spMkLst>
            <pc:docMk/>
            <pc:sldMk cId="1589727582" sldId="1385"/>
            <ac:spMk id="139" creationId="{DE91575A-3185-DE4E-BF38-E185B82E0FCB}"/>
          </ac:spMkLst>
        </pc:spChg>
        <pc:spChg chg="mod ord">
          <ac:chgData name="Disselhoff, Tim" userId="3b8b5473-7050-4f60-8279-e72cc8538d43" providerId="ADAL" clId="{952E53DB-5978-46BA-964C-5B55B87B6690}" dt="2021-08-16T18:39:07.185" v="3217"/>
          <ac:spMkLst>
            <pc:docMk/>
            <pc:sldMk cId="1589727582" sldId="1385"/>
            <ac:spMk id="14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6" v="3219"/>
          <ac:spMkLst>
            <pc:docMk/>
            <pc:sldMk cId="1589727582" sldId="1385"/>
            <ac:spMk id="143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7" v="3223"/>
          <ac:spMkLst>
            <pc:docMk/>
            <pc:sldMk cId="1589727582" sldId="1385"/>
            <ac:spMk id="147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8" v="3225"/>
          <ac:spMkLst>
            <pc:docMk/>
            <pc:sldMk cId="1589727582" sldId="1385"/>
            <ac:spMk id="148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51:01.679" v="4259" actId="478"/>
          <ac:spMkLst>
            <pc:docMk/>
            <pc:sldMk cId="1589727582" sldId="1385"/>
            <ac:spMk id="155" creationId="{2ECA1871-D577-4B91-8CD6-CAB2A51B7ACA}"/>
          </ac:spMkLst>
        </pc:spChg>
        <pc:spChg chg="mod ord">
          <ac:chgData name="Disselhoff, Tim" userId="3b8b5473-7050-4f60-8279-e72cc8538d43" providerId="ADAL" clId="{952E53DB-5978-46BA-964C-5B55B87B6690}" dt="2021-08-16T18:39:07.188" v="3227"/>
          <ac:spMkLst>
            <pc:docMk/>
            <pc:sldMk cId="1589727582" sldId="1385"/>
            <ac:spMk id="156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9" v="3229"/>
          <ac:spMkLst>
            <pc:docMk/>
            <pc:sldMk cId="1589727582" sldId="1385"/>
            <ac:spMk id="16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89" v="3231"/>
          <ac:spMkLst>
            <pc:docMk/>
            <pc:sldMk cId="1589727582" sldId="1385"/>
            <ac:spMk id="162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5:22.179" v="4149" actId="478"/>
          <ac:spMkLst>
            <pc:docMk/>
            <pc:sldMk cId="1589727582" sldId="1385"/>
            <ac:spMk id="166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5:22.179" v="4149" actId="478"/>
          <ac:spMkLst>
            <pc:docMk/>
            <pc:sldMk cId="1589727582" sldId="1385"/>
            <ac:spMk id="170" creationId="{00000000-0000-0000-0000-000000000000}"/>
          </ac:spMkLst>
        </pc:spChg>
        <pc:spChg chg="del mod ord">
          <ac:chgData name="Disselhoff, Tim" userId="3b8b5473-7050-4f60-8279-e72cc8538d43" providerId="ADAL" clId="{952E53DB-5978-46BA-964C-5B55B87B6690}" dt="2021-08-16T18:44:57.404" v="4146" actId="478"/>
          <ac:spMkLst>
            <pc:docMk/>
            <pc:sldMk cId="1589727582" sldId="1385"/>
            <ac:spMk id="171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8:34:03.156" v="2991" actId="20577"/>
          <ac:spMkLst>
            <pc:docMk/>
            <pc:sldMk cId="1589727582" sldId="1385"/>
            <ac:spMk id="17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4:04.986" v="2994" actId="20577"/>
          <ac:spMkLst>
            <pc:docMk/>
            <pc:sldMk cId="1589727582" sldId="1385"/>
            <ac:spMk id="17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4:06.947" v="2997" actId="20577"/>
          <ac:spMkLst>
            <pc:docMk/>
            <pc:sldMk cId="1589727582" sldId="1385"/>
            <ac:spMk id="17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4:27.773" v="3003"/>
          <ac:spMkLst>
            <pc:docMk/>
            <pc:sldMk cId="1589727582" sldId="1385"/>
            <ac:spMk id="191" creationId="{C4BEFDF4-0C58-4E59-98E9-D78C9642BBC4}"/>
          </ac:spMkLst>
        </pc:spChg>
        <pc:spChg chg="mod">
          <ac:chgData name="Disselhoff, Tim" userId="3b8b5473-7050-4f60-8279-e72cc8538d43" providerId="ADAL" clId="{952E53DB-5978-46BA-964C-5B55B87B6690}" dt="2021-08-16T18:34:27.773" v="3003"/>
          <ac:spMkLst>
            <pc:docMk/>
            <pc:sldMk cId="1589727582" sldId="1385"/>
            <ac:spMk id="192" creationId="{EA20F3DC-8A56-4958-8C04-031ADCFC25A3}"/>
          </ac:spMkLst>
        </pc:spChg>
        <pc:spChg chg="add del mod">
          <ac:chgData name="Disselhoff, Tim" userId="3b8b5473-7050-4f60-8279-e72cc8538d43" providerId="ADAL" clId="{952E53DB-5978-46BA-964C-5B55B87B6690}" dt="2021-08-16T18:38:13.443" v="3010" actId="478"/>
          <ac:spMkLst>
            <pc:docMk/>
            <pc:sldMk cId="1589727582" sldId="1385"/>
            <ac:spMk id="193" creationId="{5CCCEA02-C3E6-4EDA-A27F-AB128E1A3301}"/>
          </ac:spMkLst>
        </pc:spChg>
        <pc:spChg chg="mod ord">
          <ac:chgData name="Disselhoff, Tim" userId="3b8b5473-7050-4f60-8279-e72cc8538d43" providerId="ADAL" clId="{952E53DB-5978-46BA-964C-5B55B87B6690}" dt="2021-08-16T18:39:07.195" v="3247"/>
          <ac:spMkLst>
            <pc:docMk/>
            <pc:sldMk cId="1589727582" sldId="1385"/>
            <ac:spMk id="195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16T18:39:07.195" v="3249"/>
          <ac:spMkLst>
            <pc:docMk/>
            <pc:sldMk cId="1589727582" sldId="1385"/>
            <ac:spMk id="19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8:33:43.216" v="2984" actId="208"/>
          <ac:spMkLst>
            <pc:docMk/>
            <pc:sldMk cId="1589727582" sldId="1385"/>
            <ac:spMk id="199" creationId="{2CBD80C7-DE19-41BB-9401-273E837E419D}"/>
          </ac:spMkLst>
        </pc:spChg>
        <pc:spChg chg="mod">
          <ac:chgData name="Disselhoff, Tim" userId="3b8b5473-7050-4f60-8279-e72cc8538d43" providerId="ADAL" clId="{952E53DB-5978-46BA-964C-5B55B87B6690}" dt="2021-08-16T18:33:43.216" v="2984" actId="208"/>
          <ac:spMkLst>
            <pc:docMk/>
            <pc:sldMk cId="1589727582" sldId="1385"/>
            <ac:spMk id="200" creationId="{A53386E8-9D04-4401-84C1-CE8DB86499D4}"/>
          </ac:spMkLst>
        </pc:spChg>
        <pc:spChg chg="mod">
          <ac:chgData name="Disselhoff, Tim" userId="3b8b5473-7050-4f60-8279-e72cc8538d43" providerId="ADAL" clId="{952E53DB-5978-46BA-964C-5B55B87B6690}" dt="2021-08-16T18:33:43.216" v="2984" actId="208"/>
          <ac:spMkLst>
            <pc:docMk/>
            <pc:sldMk cId="1589727582" sldId="1385"/>
            <ac:spMk id="201" creationId="{60153D2B-67A4-4BD9-9702-351AD78AD926}"/>
          </ac:spMkLst>
        </pc:spChg>
        <pc:spChg chg="mod ord">
          <ac:chgData name="Disselhoff, Tim" userId="3b8b5473-7050-4f60-8279-e72cc8538d43" providerId="ADAL" clId="{952E53DB-5978-46BA-964C-5B55B87B6690}" dt="2021-08-16T18:39:07.197" v="3255"/>
          <ac:spMkLst>
            <pc:docMk/>
            <pc:sldMk cId="1589727582" sldId="1385"/>
            <ac:spMk id="202" creationId="{02218789-BB2C-4DF6-8226-EB9DB14783D6}"/>
          </ac:spMkLst>
        </pc:spChg>
        <pc:spChg chg="mod ord">
          <ac:chgData name="Disselhoff, Tim" userId="3b8b5473-7050-4f60-8279-e72cc8538d43" providerId="ADAL" clId="{952E53DB-5978-46BA-964C-5B55B87B6690}" dt="2021-08-16T18:39:07.198" v="3257"/>
          <ac:spMkLst>
            <pc:docMk/>
            <pc:sldMk cId="1589727582" sldId="1385"/>
            <ac:spMk id="203" creationId="{574A566D-36B0-4C0D-8434-34E020E4CD2C}"/>
          </ac:spMkLst>
        </pc:spChg>
        <pc:spChg chg="mod ord">
          <ac:chgData name="Disselhoff, Tim" userId="3b8b5473-7050-4f60-8279-e72cc8538d43" providerId="ADAL" clId="{952E53DB-5978-46BA-964C-5B55B87B6690}" dt="2021-08-16T18:39:07.198" v="3259"/>
          <ac:spMkLst>
            <pc:docMk/>
            <pc:sldMk cId="1589727582" sldId="1385"/>
            <ac:spMk id="204" creationId="{C87EE9CE-0A39-42B6-9AE6-CFFD383404CE}"/>
          </ac:spMkLst>
        </pc:spChg>
        <pc:spChg chg="mod ord">
          <ac:chgData name="Disselhoff, Tim" userId="3b8b5473-7050-4f60-8279-e72cc8538d43" providerId="ADAL" clId="{952E53DB-5978-46BA-964C-5B55B87B6690}" dt="2021-08-16T18:39:07.199" v="3261"/>
          <ac:spMkLst>
            <pc:docMk/>
            <pc:sldMk cId="1589727582" sldId="1385"/>
            <ac:spMk id="205" creationId="{E1792963-3546-4BFD-8D1A-BA34CA47745D}"/>
          </ac:spMkLst>
        </pc:spChg>
        <pc:spChg chg="mod ord">
          <ac:chgData name="Disselhoff, Tim" userId="3b8b5473-7050-4f60-8279-e72cc8538d43" providerId="ADAL" clId="{952E53DB-5978-46BA-964C-5B55B87B6690}" dt="2021-08-16T18:39:07.200" v="3263"/>
          <ac:spMkLst>
            <pc:docMk/>
            <pc:sldMk cId="1589727582" sldId="1385"/>
            <ac:spMk id="206" creationId="{4B3C7CAF-5C5E-47C4-8C7B-72CDF41A670A}"/>
          </ac:spMkLst>
        </pc:spChg>
        <pc:spChg chg="mod ord">
          <ac:chgData name="Disselhoff, Tim" userId="3b8b5473-7050-4f60-8279-e72cc8538d43" providerId="ADAL" clId="{952E53DB-5978-46BA-964C-5B55B87B6690}" dt="2021-08-16T18:39:07.202" v="3269"/>
          <ac:spMkLst>
            <pc:docMk/>
            <pc:sldMk cId="1589727582" sldId="1385"/>
            <ac:spMk id="214" creationId="{1DB6B88C-ECB5-4448-BD58-2C51BDCEE0A5}"/>
          </ac:spMkLst>
        </pc:spChg>
        <pc:spChg chg="mod ord">
          <ac:chgData name="Disselhoff, Tim" userId="3b8b5473-7050-4f60-8279-e72cc8538d43" providerId="ADAL" clId="{952E53DB-5978-46BA-964C-5B55B87B6690}" dt="2021-08-16T18:39:07.202" v="3271"/>
          <ac:spMkLst>
            <pc:docMk/>
            <pc:sldMk cId="1589727582" sldId="1385"/>
            <ac:spMk id="215" creationId="{75ECADE8-3103-4B20-BA19-0554069258A4}"/>
          </ac:spMkLst>
        </pc:spChg>
        <pc:spChg chg="mod ord">
          <ac:chgData name="Disselhoff, Tim" userId="3b8b5473-7050-4f60-8279-e72cc8538d43" providerId="ADAL" clId="{952E53DB-5978-46BA-964C-5B55B87B6690}" dt="2021-08-16T18:39:07.203" v="3273"/>
          <ac:spMkLst>
            <pc:docMk/>
            <pc:sldMk cId="1589727582" sldId="1385"/>
            <ac:spMk id="216" creationId="{06935711-88E4-4E58-B4C9-4F9FF8B6A7E7}"/>
          </ac:spMkLst>
        </pc:spChg>
        <pc:spChg chg="mod ord">
          <ac:chgData name="Disselhoff, Tim" userId="3b8b5473-7050-4f60-8279-e72cc8538d43" providerId="ADAL" clId="{952E53DB-5978-46BA-964C-5B55B87B6690}" dt="2021-08-16T18:39:07.203" v="3275"/>
          <ac:spMkLst>
            <pc:docMk/>
            <pc:sldMk cId="1589727582" sldId="1385"/>
            <ac:spMk id="217" creationId="{3D0E0F0B-E0A5-4F35-8CFB-F5AB6D6FB554}"/>
          </ac:spMkLst>
        </pc:spChg>
        <pc:spChg chg="mod ord">
          <ac:chgData name="Disselhoff, Tim" userId="3b8b5473-7050-4f60-8279-e72cc8538d43" providerId="ADAL" clId="{952E53DB-5978-46BA-964C-5B55B87B6690}" dt="2021-08-16T18:39:07.204" v="3277"/>
          <ac:spMkLst>
            <pc:docMk/>
            <pc:sldMk cId="1589727582" sldId="1385"/>
            <ac:spMk id="218" creationId="{C1EA8D65-1C1C-4350-95E1-07A4491AF15C}"/>
          </ac:spMkLst>
        </pc:spChg>
        <pc:spChg chg="add del mod">
          <ac:chgData name="Disselhoff, Tim" userId="3b8b5473-7050-4f60-8279-e72cc8538d43" providerId="ADAL" clId="{952E53DB-5978-46BA-964C-5B55B87B6690}" dt="2021-08-16T18:38:15.673" v="3011" actId="478"/>
          <ac:spMkLst>
            <pc:docMk/>
            <pc:sldMk cId="1589727582" sldId="1385"/>
            <ac:spMk id="219" creationId="{67FE8197-7169-4820-BA6C-DF17ABEE869B}"/>
          </ac:spMkLst>
        </pc:spChg>
        <pc:spChg chg="add mod ord">
          <ac:chgData name="Disselhoff, Tim" userId="3b8b5473-7050-4f60-8279-e72cc8538d43" providerId="ADAL" clId="{952E53DB-5978-46BA-964C-5B55B87B6690}" dt="2021-08-16T18:39:07.219" v="3321"/>
          <ac:spMkLst>
            <pc:docMk/>
            <pc:sldMk cId="1589727582" sldId="1385"/>
            <ac:spMk id="221" creationId="{F6A2D546-5AE9-4FE2-BA97-8F4A18B8D44B}"/>
          </ac:spMkLst>
        </pc:spChg>
        <pc:spChg chg="add mod ord">
          <ac:chgData name="Disselhoff, Tim" userId="3b8b5473-7050-4f60-8279-e72cc8538d43" providerId="ADAL" clId="{952E53DB-5978-46BA-964C-5B55B87B6690}" dt="2021-08-16T18:39:07.220" v="3323"/>
          <ac:spMkLst>
            <pc:docMk/>
            <pc:sldMk cId="1589727582" sldId="1385"/>
            <ac:spMk id="222" creationId="{D66ECD21-95FA-4189-8C7E-1737E2AB584E}"/>
          </ac:spMkLst>
        </pc:spChg>
        <pc:spChg chg="add mod ord">
          <ac:chgData name="Disselhoff, Tim" userId="3b8b5473-7050-4f60-8279-e72cc8538d43" providerId="ADAL" clId="{952E53DB-5978-46BA-964C-5B55B87B6690}" dt="2021-08-16T18:39:07.170" v="3201"/>
          <ac:spMkLst>
            <pc:docMk/>
            <pc:sldMk cId="1589727582" sldId="1385"/>
            <ac:spMk id="223" creationId="{8B6B9760-78C2-4147-8AD6-E3414895B3F9}"/>
          </ac:spMkLst>
        </pc:spChg>
        <pc:spChg chg="add del mod">
          <ac:chgData name="Disselhoff, Tim" userId="3b8b5473-7050-4f60-8279-e72cc8538d43" providerId="ADAL" clId="{952E53DB-5978-46BA-964C-5B55B87B6690}" dt="2021-08-16T18:39:51.410" v="3334"/>
          <ac:spMkLst>
            <pc:docMk/>
            <pc:sldMk cId="1589727582" sldId="1385"/>
            <ac:spMk id="224" creationId="{1939EDF9-A651-4C4E-9051-B44D3F013F41}"/>
          </ac:spMkLst>
        </pc:spChg>
        <pc:spChg chg="add del mod">
          <ac:chgData name="Disselhoff, Tim" userId="3b8b5473-7050-4f60-8279-e72cc8538d43" providerId="ADAL" clId="{952E53DB-5978-46BA-964C-5B55B87B6690}" dt="2021-08-16T18:42:58.404" v="3875" actId="478"/>
          <ac:spMkLst>
            <pc:docMk/>
            <pc:sldMk cId="1589727582" sldId="1385"/>
            <ac:spMk id="225" creationId="{8A0F7E42-AAE3-4F14-8BF5-1E2B03E9A0E4}"/>
          </ac:spMkLst>
        </pc:spChg>
        <pc:spChg chg="mod ord">
          <ac:chgData name="Disselhoff, Tim" userId="3b8b5473-7050-4f60-8279-e72cc8538d43" providerId="ADAL" clId="{952E53DB-5978-46BA-964C-5B55B87B6690}" dt="2021-08-16T18:39:07.205" v="3279"/>
          <ac:spMkLst>
            <pc:docMk/>
            <pc:sldMk cId="1589727582" sldId="1385"/>
            <ac:spMk id="226" creationId="{4608056B-4104-4663-94D5-07B238D0A2C6}"/>
          </ac:spMkLst>
        </pc:spChg>
        <pc:spChg chg="mod ord">
          <ac:chgData name="Disselhoff, Tim" userId="3b8b5473-7050-4f60-8279-e72cc8538d43" providerId="ADAL" clId="{952E53DB-5978-46BA-964C-5B55B87B6690}" dt="2021-08-16T18:39:07.205" v="3281"/>
          <ac:spMkLst>
            <pc:docMk/>
            <pc:sldMk cId="1589727582" sldId="1385"/>
            <ac:spMk id="227" creationId="{7FEDA1E9-9025-4222-8B3E-007DABE933E3}"/>
          </ac:spMkLst>
        </pc:spChg>
        <pc:spChg chg="mod ord">
          <ac:chgData name="Disselhoff, Tim" userId="3b8b5473-7050-4f60-8279-e72cc8538d43" providerId="ADAL" clId="{952E53DB-5978-46BA-964C-5B55B87B6690}" dt="2021-08-16T18:39:07.206" v="3283"/>
          <ac:spMkLst>
            <pc:docMk/>
            <pc:sldMk cId="1589727582" sldId="1385"/>
            <ac:spMk id="228" creationId="{341DB174-C2B6-4609-9BEA-1A41A014DFF6}"/>
          </ac:spMkLst>
        </pc:spChg>
        <pc:spChg chg="mod ord">
          <ac:chgData name="Disselhoff, Tim" userId="3b8b5473-7050-4f60-8279-e72cc8538d43" providerId="ADAL" clId="{952E53DB-5978-46BA-964C-5B55B87B6690}" dt="2021-08-16T18:39:07.206" v="3285"/>
          <ac:spMkLst>
            <pc:docMk/>
            <pc:sldMk cId="1589727582" sldId="1385"/>
            <ac:spMk id="229" creationId="{F2AE54A5-748B-45B5-8772-7F29C09500DB}"/>
          </ac:spMkLst>
        </pc:spChg>
        <pc:spChg chg="mod ord">
          <ac:chgData name="Disselhoff, Tim" userId="3b8b5473-7050-4f60-8279-e72cc8538d43" providerId="ADAL" clId="{952E53DB-5978-46BA-964C-5B55B87B6690}" dt="2021-08-16T18:39:07.207" v="3287"/>
          <ac:spMkLst>
            <pc:docMk/>
            <pc:sldMk cId="1589727582" sldId="1385"/>
            <ac:spMk id="230" creationId="{71248B5A-4534-4A22-B526-3476100187D4}"/>
          </ac:spMkLst>
        </pc:spChg>
        <pc:spChg chg="mod ord">
          <ac:chgData name="Disselhoff, Tim" userId="3b8b5473-7050-4f60-8279-e72cc8538d43" providerId="ADAL" clId="{952E53DB-5978-46BA-964C-5B55B87B6690}" dt="2021-08-16T18:39:07.208" v="3289"/>
          <ac:spMkLst>
            <pc:docMk/>
            <pc:sldMk cId="1589727582" sldId="1385"/>
            <ac:spMk id="231" creationId="{CC251BAF-13A4-4ECA-A47E-A0853474ED72}"/>
          </ac:spMkLst>
        </pc:spChg>
        <pc:spChg chg="mod ord">
          <ac:chgData name="Disselhoff, Tim" userId="3b8b5473-7050-4f60-8279-e72cc8538d43" providerId="ADAL" clId="{952E53DB-5978-46BA-964C-5B55B87B6690}" dt="2021-08-16T18:39:07.208" v="3291"/>
          <ac:spMkLst>
            <pc:docMk/>
            <pc:sldMk cId="1589727582" sldId="1385"/>
            <ac:spMk id="232" creationId="{2EF3E5C7-1C8A-47E8-8105-E633AC406B0F}"/>
          </ac:spMkLst>
        </pc:spChg>
        <pc:spChg chg="mod ord">
          <ac:chgData name="Disselhoff, Tim" userId="3b8b5473-7050-4f60-8279-e72cc8538d43" providerId="ADAL" clId="{952E53DB-5978-46BA-964C-5B55B87B6690}" dt="2021-08-16T18:39:07.209" v="3293"/>
          <ac:spMkLst>
            <pc:docMk/>
            <pc:sldMk cId="1589727582" sldId="1385"/>
            <ac:spMk id="233" creationId="{3F6ADF69-A80C-40A4-9F54-E20D16DB37A7}"/>
          </ac:spMkLst>
        </pc:spChg>
        <pc:spChg chg="add del mod">
          <ac:chgData name="Disselhoff, Tim" userId="3b8b5473-7050-4f60-8279-e72cc8538d43" providerId="ADAL" clId="{952E53DB-5978-46BA-964C-5B55B87B6690}" dt="2021-08-16T18:43:07.732" v="3877"/>
          <ac:spMkLst>
            <pc:docMk/>
            <pc:sldMk cId="1589727582" sldId="1385"/>
            <ac:spMk id="235" creationId="{23501032-37C3-4484-97E7-DAAC317D9378}"/>
          </ac:spMkLst>
        </pc:spChg>
        <pc:spChg chg="mod ord">
          <ac:chgData name="Disselhoff, Tim" userId="3b8b5473-7050-4f60-8279-e72cc8538d43" providerId="ADAL" clId="{952E53DB-5978-46BA-964C-5B55B87B6690}" dt="2021-08-16T18:39:07.210" v="3295"/>
          <ac:spMkLst>
            <pc:docMk/>
            <pc:sldMk cId="1589727582" sldId="1385"/>
            <ac:spMk id="236" creationId="{47E1E454-6BC6-4FE5-A45F-0AAE081AFE7A}"/>
          </ac:spMkLst>
        </pc:spChg>
        <pc:spChg chg="del mod ord">
          <ac:chgData name="Disselhoff, Tim" userId="3b8b5473-7050-4f60-8279-e72cc8538d43" providerId="ADAL" clId="{952E53DB-5978-46BA-964C-5B55B87B6690}" dt="2021-08-16T18:46:35.904" v="4165" actId="478"/>
          <ac:spMkLst>
            <pc:docMk/>
            <pc:sldMk cId="1589727582" sldId="1385"/>
            <ac:spMk id="238" creationId="{79A881F8-AF5B-4B1F-8158-3E93D8E8147B}"/>
          </ac:spMkLst>
        </pc:spChg>
        <pc:spChg chg="add del mod">
          <ac:chgData name="Disselhoff, Tim" userId="3b8b5473-7050-4f60-8279-e72cc8538d43" providerId="ADAL" clId="{952E53DB-5978-46BA-964C-5B55B87B6690}" dt="2021-08-16T18:45:02.111" v="4148"/>
          <ac:spMkLst>
            <pc:docMk/>
            <pc:sldMk cId="1589727582" sldId="1385"/>
            <ac:spMk id="239" creationId="{CCC47489-ECC3-4355-ADFA-8FE5D350EB39}"/>
          </ac:spMkLst>
        </pc:spChg>
        <pc:spChg chg="mod">
          <ac:chgData name="Disselhoff, Tim" userId="3b8b5473-7050-4f60-8279-e72cc8538d43" providerId="ADAL" clId="{952E53DB-5978-46BA-964C-5B55B87B6690}" dt="2021-08-16T18:44:58.454" v="4147"/>
          <ac:spMkLst>
            <pc:docMk/>
            <pc:sldMk cId="1589727582" sldId="1385"/>
            <ac:spMk id="241" creationId="{611AC63D-DB66-4E3E-8286-4C18BF6A3CE8}"/>
          </ac:spMkLst>
        </pc:spChg>
        <pc:spChg chg="mod">
          <ac:chgData name="Disselhoff, Tim" userId="3b8b5473-7050-4f60-8279-e72cc8538d43" providerId="ADAL" clId="{952E53DB-5978-46BA-964C-5B55B87B6690}" dt="2021-08-16T18:44:58.454" v="4147"/>
          <ac:spMkLst>
            <pc:docMk/>
            <pc:sldMk cId="1589727582" sldId="1385"/>
            <ac:spMk id="242" creationId="{78608447-EDC7-4047-A670-D6F24BB97FDD}"/>
          </ac:spMkLst>
        </pc:spChg>
        <pc:spChg chg="add del mod">
          <ac:chgData name="Disselhoff, Tim" userId="3b8b5473-7050-4f60-8279-e72cc8538d43" providerId="ADAL" clId="{952E53DB-5978-46BA-964C-5B55B87B6690}" dt="2021-08-16T18:45:02.111" v="4148"/>
          <ac:spMkLst>
            <pc:docMk/>
            <pc:sldMk cId="1589727582" sldId="1385"/>
            <ac:spMk id="243" creationId="{2BF08402-AAD3-4552-8EAE-85554AEEE75B}"/>
          </ac:spMkLst>
        </pc:spChg>
        <pc:spChg chg="add del mod">
          <ac:chgData name="Disselhoff, Tim" userId="3b8b5473-7050-4f60-8279-e72cc8538d43" providerId="ADAL" clId="{952E53DB-5978-46BA-964C-5B55B87B6690}" dt="2021-08-19T16:20:43.297" v="18021" actId="478"/>
          <ac:spMkLst>
            <pc:docMk/>
            <pc:sldMk cId="1589727582" sldId="1385"/>
            <ac:spMk id="244" creationId="{660032ED-4A05-4428-A3CD-27689E3C0B45}"/>
          </ac:spMkLst>
        </pc:spChg>
        <pc:spChg chg="add del mod">
          <ac:chgData name="Disselhoff, Tim" userId="3b8b5473-7050-4f60-8279-e72cc8538d43" providerId="ADAL" clId="{952E53DB-5978-46BA-964C-5B55B87B6690}" dt="2021-08-19T16:20:43.297" v="18021" actId="478"/>
          <ac:spMkLst>
            <pc:docMk/>
            <pc:sldMk cId="1589727582" sldId="1385"/>
            <ac:spMk id="245" creationId="{CA757F80-192D-4DCE-BF41-767793617462}"/>
          </ac:spMkLst>
        </pc:spChg>
        <pc:spChg chg="add del mod">
          <ac:chgData name="Disselhoff, Tim" userId="3b8b5473-7050-4f60-8279-e72cc8538d43" providerId="ADAL" clId="{952E53DB-5978-46BA-964C-5B55B87B6690}" dt="2021-08-19T16:20:37.516" v="18020" actId="478"/>
          <ac:spMkLst>
            <pc:docMk/>
            <pc:sldMk cId="1589727582" sldId="1385"/>
            <ac:spMk id="246" creationId="{737B3DCD-1D87-426D-87D6-4C805CD4C166}"/>
          </ac:spMkLst>
        </pc:spChg>
        <pc:spChg chg="mod">
          <ac:chgData name="Disselhoff, Tim" userId="3b8b5473-7050-4f60-8279-e72cc8538d43" providerId="ADAL" clId="{952E53DB-5978-46BA-964C-5B55B87B6690}" dt="2021-08-16T18:45:22.845" v="4150"/>
          <ac:spMkLst>
            <pc:docMk/>
            <pc:sldMk cId="1589727582" sldId="1385"/>
            <ac:spMk id="248" creationId="{922EE92F-633E-4FF2-8D44-A739629E4C02}"/>
          </ac:spMkLst>
        </pc:spChg>
        <pc:spChg chg="mod">
          <ac:chgData name="Disselhoff, Tim" userId="3b8b5473-7050-4f60-8279-e72cc8538d43" providerId="ADAL" clId="{952E53DB-5978-46BA-964C-5B55B87B6690}" dt="2021-08-16T18:45:22.845" v="4150"/>
          <ac:spMkLst>
            <pc:docMk/>
            <pc:sldMk cId="1589727582" sldId="1385"/>
            <ac:spMk id="249" creationId="{A48587E3-1320-4A49-89B9-6B4FDC1DB069}"/>
          </ac:spMkLst>
        </pc:spChg>
        <pc:spChg chg="add mod">
          <ac:chgData name="Disselhoff, Tim" userId="3b8b5473-7050-4f60-8279-e72cc8538d43" providerId="ADAL" clId="{952E53DB-5978-46BA-964C-5B55B87B6690}" dt="2021-08-19T16:34:26.737" v="19423" actId="20577"/>
          <ac:spMkLst>
            <pc:docMk/>
            <pc:sldMk cId="1589727582" sldId="1385"/>
            <ac:spMk id="250" creationId="{5E92F0B4-1D01-44B3-BA49-6AF5EFAB18C7}"/>
          </ac:spMkLst>
        </pc:spChg>
        <pc:spChg chg="add del mod">
          <ac:chgData name="Disselhoff, Tim" userId="3b8b5473-7050-4f60-8279-e72cc8538d43" providerId="ADAL" clId="{952E53DB-5978-46BA-964C-5B55B87B6690}" dt="2021-08-19T16:53:31.025" v="19815" actId="478"/>
          <ac:spMkLst>
            <pc:docMk/>
            <pc:sldMk cId="1589727582" sldId="1385"/>
            <ac:spMk id="251" creationId="{03E70225-F7E2-4D4A-B4C7-C3B2643F2263}"/>
          </ac:spMkLst>
        </pc:spChg>
        <pc:grpChg chg="mod">
          <ac:chgData name="Disselhoff, Tim" userId="3b8b5473-7050-4f60-8279-e72cc8538d43" providerId="ADAL" clId="{952E53DB-5978-46BA-964C-5B55B87B6690}" dt="2021-08-16T18:39:07.220" v="3324"/>
          <ac:grpSpMkLst>
            <pc:docMk/>
            <pc:sldMk cId="1589727582" sldId="1385"/>
            <ac:grpSpMk id="91" creationId="{F5381916-3B69-4B7C-B12D-7382BF2E17F3}"/>
          </ac:grpSpMkLst>
        </pc:grpChg>
        <pc:grpChg chg="mod">
          <ac:chgData name="Disselhoff, Tim" userId="3b8b5473-7050-4f60-8279-e72cc8538d43" providerId="ADAL" clId="{952E53DB-5978-46BA-964C-5B55B87B6690}" dt="2021-08-16T18:39:07.214" v="3308"/>
          <ac:grpSpMkLst>
            <pc:docMk/>
            <pc:sldMk cId="1589727582" sldId="1385"/>
            <ac:grpSpMk id="97" creationId="{9B40E6A5-1B02-42DD-9A18-9A5F72D94E4A}"/>
          </ac:grpSpMkLst>
        </pc:grpChg>
        <pc:grpChg chg="mod">
          <ac:chgData name="Disselhoff, Tim" userId="3b8b5473-7050-4f60-8279-e72cc8538d43" providerId="ADAL" clId="{952E53DB-5978-46BA-964C-5B55B87B6690}" dt="2021-08-16T18:39:07.215" v="3309"/>
          <ac:grpSpMkLst>
            <pc:docMk/>
            <pc:sldMk cId="1589727582" sldId="1385"/>
            <ac:grpSpMk id="108" creationId="{30514568-999C-43A9-BF17-5674020DDC87}"/>
          </ac:grpSpMkLst>
        </pc:grpChg>
        <pc:grpChg chg="mod">
          <ac:chgData name="Disselhoff, Tim" userId="3b8b5473-7050-4f60-8279-e72cc8538d43" providerId="ADAL" clId="{952E53DB-5978-46BA-964C-5B55B87B6690}" dt="2021-08-16T18:39:07.215" v="3310"/>
          <ac:grpSpMkLst>
            <pc:docMk/>
            <pc:sldMk cId="1589727582" sldId="1385"/>
            <ac:grpSpMk id="120" creationId="{0C14F3EA-29DE-4135-B1CF-DB39D859A514}"/>
          </ac:grpSpMkLst>
        </pc:grpChg>
        <pc:grpChg chg="mod">
          <ac:chgData name="Disselhoff, Tim" userId="3b8b5473-7050-4f60-8279-e72cc8538d43" providerId="ADAL" clId="{952E53DB-5978-46BA-964C-5B55B87B6690}" dt="2021-08-16T18:39:07.217" v="3315"/>
          <ac:grpSpMkLst>
            <pc:docMk/>
            <pc:sldMk cId="1589727582" sldId="1385"/>
            <ac:grpSpMk id="125" creationId="{A311A645-0F3A-49A7-B8F0-A3134A32483B}"/>
          </ac:grpSpMkLst>
        </pc:grpChg>
        <pc:grpChg chg="mod ord">
          <ac:chgData name="Disselhoff, Tim" userId="3b8b5473-7050-4f60-8279-e72cc8538d43" providerId="ADAL" clId="{952E53DB-5978-46BA-964C-5B55B87B6690}" dt="2021-08-16T18:39:07.196" v="3253"/>
          <ac:grpSpMkLst>
            <pc:docMk/>
            <pc:sldMk cId="1589727582" sldId="1385"/>
            <ac:grpSpMk id="157" creationId="{FC2AF88E-1B69-45F8-8E85-6207ADFDF830}"/>
          </ac:grpSpMkLst>
        </pc:grpChg>
        <pc:grpChg chg="del">
          <ac:chgData name="Disselhoff, Tim" userId="3b8b5473-7050-4f60-8279-e72cc8538d43" providerId="ADAL" clId="{952E53DB-5978-46BA-964C-5B55B87B6690}" dt="2021-08-16T18:34:27.637" v="3002" actId="478"/>
          <ac:grpSpMkLst>
            <pc:docMk/>
            <pc:sldMk cId="1589727582" sldId="1385"/>
            <ac:grpSpMk id="167" creationId="{BA6A66C4-6846-1943-B1EE-DB85329D95BB}"/>
          </ac:grpSpMkLst>
        </pc:grpChg>
        <pc:grpChg chg="del mod ord">
          <ac:chgData name="Disselhoff, Tim" userId="3b8b5473-7050-4f60-8279-e72cc8538d43" providerId="ADAL" clId="{952E53DB-5978-46BA-964C-5B55B87B6690}" dt="2021-08-16T18:39:21.174" v="3329" actId="478"/>
          <ac:grpSpMkLst>
            <pc:docMk/>
            <pc:sldMk cId="1589727582" sldId="1385"/>
            <ac:grpSpMk id="172" creationId="{00000000-0000-0000-0000-000000000000}"/>
          </ac:grpSpMkLst>
        </pc:grpChg>
        <pc:grpChg chg="del mod ord">
          <ac:chgData name="Disselhoff, Tim" userId="3b8b5473-7050-4f60-8279-e72cc8538d43" providerId="ADAL" clId="{952E53DB-5978-46BA-964C-5B55B87B6690}" dt="2021-08-16T18:39:22.464" v="3330" actId="478"/>
          <ac:grpSpMkLst>
            <pc:docMk/>
            <pc:sldMk cId="1589727582" sldId="1385"/>
            <ac:grpSpMk id="175" creationId="{00000000-0000-0000-0000-000000000000}"/>
          </ac:grpSpMkLst>
        </pc:grpChg>
        <pc:grpChg chg="del mod ord">
          <ac:chgData name="Disselhoff, Tim" userId="3b8b5473-7050-4f60-8279-e72cc8538d43" providerId="ADAL" clId="{952E53DB-5978-46BA-964C-5B55B87B6690}" dt="2021-08-16T18:39:23.836" v="3331" actId="478"/>
          <ac:grpSpMkLst>
            <pc:docMk/>
            <pc:sldMk cId="1589727582" sldId="1385"/>
            <ac:grpSpMk id="178" creationId="{00000000-0000-0000-0000-000000000000}"/>
          </ac:grpSpMkLst>
        </pc:grpChg>
        <pc:grpChg chg="add del mod ord">
          <ac:chgData name="Disselhoff, Tim" userId="3b8b5473-7050-4f60-8279-e72cc8538d43" providerId="ADAL" clId="{952E53DB-5978-46BA-964C-5B55B87B6690}" dt="2021-08-16T18:44:48.457" v="4145" actId="478"/>
          <ac:grpSpMkLst>
            <pc:docMk/>
            <pc:sldMk cId="1589727582" sldId="1385"/>
            <ac:grpSpMk id="190" creationId="{36F09277-490D-4A7C-9488-83D49677B817}"/>
          </ac:grpSpMkLst>
        </pc:grpChg>
        <pc:grpChg chg="mod ord">
          <ac:chgData name="Disselhoff, Tim" userId="3b8b5473-7050-4f60-8279-e72cc8538d43" providerId="ADAL" clId="{952E53DB-5978-46BA-964C-5B55B87B6690}" dt="2021-08-16T18:39:07.200" v="3265"/>
          <ac:grpSpMkLst>
            <pc:docMk/>
            <pc:sldMk cId="1589727582" sldId="1385"/>
            <ac:grpSpMk id="207" creationId="{BE75C26D-288F-4048-BAF5-13CDAB244A66}"/>
          </ac:grpSpMkLst>
        </pc:grpChg>
        <pc:grpChg chg="mod ord">
          <ac:chgData name="Disselhoff, Tim" userId="3b8b5473-7050-4f60-8279-e72cc8538d43" providerId="ADAL" clId="{952E53DB-5978-46BA-964C-5B55B87B6690}" dt="2021-08-16T18:39:07.201" v="3267"/>
          <ac:grpSpMkLst>
            <pc:docMk/>
            <pc:sldMk cId="1589727582" sldId="1385"/>
            <ac:grpSpMk id="211" creationId="{9089C857-37A3-4736-929C-6D0D47610D60}"/>
          </ac:grpSpMkLst>
        </pc:grpChg>
        <pc:grpChg chg="add del mod">
          <ac:chgData name="Disselhoff, Tim" userId="3b8b5473-7050-4f60-8279-e72cc8538d43" providerId="ADAL" clId="{952E53DB-5978-46BA-964C-5B55B87B6690}" dt="2021-08-16T18:45:02.111" v="4148"/>
          <ac:grpSpMkLst>
            <pc:docMk/>
            <pc:sldMk cId="1589727582" sldId="1385"/>
            <ac:grpSpMk id="240" creationId="{EF4CB434-85E3-489F-B49D-B502AC82C754}"/>
          </ac:grpSpMkLst>
        </pc:grpChg>
        <pc:grpChg chg="add mod">
          <ac:chgData name="Disselhoff, Tim" userId="3b8b5473-7050-4f60-8279-e72cc8538d43" providerId="ADAL" clId="{952E53DB-5978-46BA-964C-5B55B87B6690}" dt="2021-08-16T18:45:22.845" v="4150"/>
          <ac:grpSpMkLst>
            <pc:docMk/>
            <pc:sldMk cId="1589727582" sldId="1385"/>
            <ac:grpSpMk id="247" creationId="{6454D665-349F-493D-8858-454376068319}"/>
          </ac:grpSpMkLst>
        </pc:grpChg>
        <pc:graphicFrameChg chg="mod">
          <ac:chgData name="Disselhoff, Tim" userId="3b8b5473-7050-4f60-8279-e72cc8538d43" providerId="ADAL" clId="{952E53DB-5978-46BA-964C-5B55B87B6690}" dt="2021-08-16T18:43:18.269" v="4035"/>
          <ac:graphicFrameMkLst>
            <pc:docMk/>
            <pc:sldMk cId="1589727582" sldId="1385"/>
            <ac:graphicFrameMk id="8" creationId="{00000000-0000-0000-0000-000000000000}"/>
          </ac:graphicFrameMkLst>
        </pc:graphicFrameChg>
        <pc:cxnChg chg="del mod ord">
          <ac:chgData name="Disselhoff, Tim" userId="3b8b5473-7050-4f60-8279-e72cc8538d43" providerId="ADAL" clId="{952E53DB-5978-46BA-964C-5B55B87B6690}" dt="2021-08-16T18:39:11.893" v="3327" actId="478"/>
          <ac:cxnSpMkLst>
            <pc:docMk/>
            <pc:sldMk cId="1589727582" sldId="1385"/>
            <ac:cxnSpMk id="88" creationId="{813E85F0-8D5F-4D5D-8CE1-892E465819FA}"/>
          </ac:cxnSpMkLst>
        </pc:cxnChg>
        <pc:cxnChg chg="mod ord">
          <ac:chgData name="Disselhoff, Tim" userId="3b8b5473-7050-4f60-8279-e72cc8538d43" providerId="ADAL" clId="{952E53DB-5978-46BA-964C-5B55B87B6690}" dt="2021-08-16T18:39:07.184" v="3213"/>
          <ac:cxnSpMkLst>
            <pc:docMk/>
            <pc:sldMk cId="1589727582" sldId="1385"/>
            <ac:cxnSpMk id="13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39:07.185" v="3215"/>
          <ac:cxnSpMkLst>
            <pc:docMk/>
            <pc:sldMk cId="1589727582" sldId="1385"/>
            <ac:cxnSpMk id="14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39:07.186" v="3221"/>
          <ac:cxnSpMkLst>
            <pc:docMk/>
            <pc:sldMk cId="1589727582" sldId="1385"/>
            <ac:cxnSpMk id="146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16T18:39:07.194" v="3245"/>
          <ac:cxnSpMkLst>
            <pc:docMk/>
            <pc:sldMk cId="1589727582" sldId="1385"/>
            <ac:cxnSpMk id="194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6T18:46:20.374" v="4162" actId="208"/>
          <ac:cxnSpMkLst>
            <pc:docMk/>
            <pc:sldMk cId="1589727582" sldId="1385"/>
            <ac:cxnSpMk id="209" creationId="{2CBEF1FD-75A0-43E4-8BC3-0E04C7EB86FD}"/>
          </ac:cxnSpMkLst>
        </pc:cxnChg>
        <pc:cxnChg chg="mod">
          <ac:chgData name="Disselhoff, Tim" userId="3b8b5473-7050-4f60-8279-e72cc8538d43" providerId="ADAL" clId="{952E53DB-5978-46BA-964C-5B55B87B6690}" dt="2021-08-16T18:46:20.374" v="4162" actId="208"/>
          <ac:cxnSpMkLst>
            <pc:docMk/>
            <pc:sldMk cId="1589727582" sldId="1385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6T18:46:25.219" v="4163" actId="208"/>
          <ac:cxnSpMkLst>
            <pc:docMk/>
            <pc:sldMk cId="1589727582" sldId="1385"/>
            <ac:cxnSpMk id="212" creationId="{097C9AE1-C019-4ECF-9A3D-A604F9CA8C15}"/>
          </ac:cxnSpMkLst>
        </pc:cxnChg>
        <pc:cxnChg chg="add del mod ord">
          <ac:chgData name="Disselhoff, Tim" userId="3b8b5473-7050-4f60-8279-e72cc8538d43" providerId="ADAL" clId="{952E53DB-5978-46BA-964C-5B55B87B6690}" dt="2021-08-16T18:39:48.752" v="3332" actId="478"/>
          <ac:cxnSpMkLst>
            <pc:docMk/>
            <pc:sldMk cId="1589727582" sldId="1385"/>
            <ac:cxnSpMk id="220" creationId="{34C78477-CB84-4B3F-A2C8-F8BF72D624C8}"/>
          </ac:cxnSpMkLst>
        </pc:cxnChg>
        <pc:cxnChg chg="add mod">
          <ac:chgData name="Disselhoff, Tim" userId="3b8b5473-7050-4f60-8279-e72cc8538d43" providerId="ADAL" clId="{952E53DB-5978-46BA-964C-5B55B87B6690}" dt="2021-08-16T18:40:19.570" v="3337" actId="1076"/>
          <ac:cxnSpMkLst>
            <pc:docMk/>
            <pc:sldMk cId="1589727582" sldId="1385"/>
            <ac:cxnSpMk id="234" creationId="{E2C5D19B-9D81-4967-BB13-5BB2DFCDABF1}"/>
          </ac:cxnSpMkLst>
        </pc:cxnChg>
        <pc:cxnChg chg="mod ord">
          <ac:chgData name="Disselhoff, Tim" userId="3b8b5473-7050-4f60-8279-e72cc8538d43" providerId="ADAL" clId="{952E53DB-5978-46BA-964C-5B55B87B6690}" dt="2021-08-16T18:46:27.370" v="4164" actId="208"/>
          <ac:cxnSpMkLst>
            <pc:docMk/>
            <pc:sldMk cId="1589727582" sldId="1385"/>
            <ac:cxnSpMk id="237" creationId="{F0AD7F1F-DECA-4AA0-953E-372CA19338A9}"/>
          </ac:cxnSpMkLst>
        </pc:cxnChg>
      </pc:sldChg>
      <pc:sldChg chg="addSp modSp add del mod">
        <pc:chgData name="Disselhoff, Tim" userId="3b8b5473-7050-4f60-8279-e72cc8538d43" providerId="ADAL" clId="{952E53DB-5978-46BA-964C-5B55B87B6690}" dt="2021-08-16T19:14:56.273" v="4445" actId="47"/>
        <pc:sldMkLst>
          <pc:docMk/>
          <pc:sldMk cId="142516827" sldId="1386"/>
        </pc:sldMkLst>
        <pc:spChg chg="mod">
          <ac:chgData name="Disselhoff, Tim" userId="3b8b5473-7050-4f60-8279-e72cc8538d43" providerId="ADAL" clId="{952E53DB-5978-46BA-964C-5B55B87B6690}" dt="2021-08-16T18:54:53.404" v="4300" actId="14100"/>
          <ac:spMkLst>
            <pc:docMk/>
            <pc:sldMk cId="142516827" sldId="1386"/>
            <ac:spMk id="47" creationId="{5553C366-34D3-4C4D-8838-66A1AE2012A0}"/>
          </ac:spMkLst>
        </pc:spChg>
        <pc:spChg chg="mod">
          <ac:chgData name="Disselhoff, Tim" userId="3b8b5473-7050-4f60-8279-e72cc8538d43" providerId="ADAL" clId="{952E53DB-5978-46BA-964C-5B55B87B6690}" dt="2021-08-16T18:53:33.473" v="4283" actId="1076"/>
          <ac:spMkLst>
            <pc:docMk/>
            <pc:sldMk cId="142516827" sldId="1386"/>
            <ac:spMk id="48" creationId="{931EBFD0-CF6F-404D-BF78-39FD17EBEA3D}"/>
          </ac:spMkLst>
        </pc:spChg>
        <pc:spChg chg="mod">
          <ac:chgData name="Disselhoff, Tim" userId="3b8b5473-7050-4f60-8279-e72cc8538d43" providerId="ADAL" clId="{952E53DB-5978-46BA-964C-5B55B87B6690}" dt="2021-08-16T18:55:05.076" v="4303" actId="14100"/>
          <ac:spMkLst>
            <pc:docMk/>
            <pc:sldMk cId="142516827" sldId="1386"/>
            <ac:spMk id="363" creationId="{8C64AD55-B81D-452C-9459-62982C8F010C}"/>
          </ac:spMkLst>
        </pc:spChg>
        <pc:spChg chg="mod">
          <ac:chgData name="Disselhoff, Tim" userId="3b8b5473-7050-4f60-8279-e72cc8538d43" providerId="ADAL" clId="{952E53DB-5978-46BA-964C-5B55B87B6690}" dt="2021-08-16T18:53:04.694" v="4264" actId="1076"/>
          <ac:spMkLst>
            <pc:docMk/>
            <pc:sldMk cId="142516827" sldId="1386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6T18:53:13.283" v="4274"/>
          <ac:spMkLst>
            <pc:docMk/>
            <pc:sldMk cId="142516827" sldId="1386"/>
            <ac:spMk id="378" creationId="{6911EA98-B3B2-4B3E-AD44-B6DC6A498943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1" creationId="{CF6A4010-1BFF-4EAB-981E-BDB750A3B219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2" creationId="{DB2819B9-0828-4700-848D-A1B71D6FA9EA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3" creationId="{C7D8CFF6-0B32-4BD7-A71E-2BFAEB2B7623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4" creationId="{1D1290A5-B112-411B-BF33-96FE38E7860C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5" creationId="{EEEDC35A-F507-4C47-8775-FBBE6E5D6FB6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6" creationId="{B49CF3E2-40B3-407B-8C66-3CE2EDC38D3D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7" creationId="{E15F1D9A-883E-4CF1-96FC-C559930E96D2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8" creationId="{9BE1DEF4-C171-4211-875D-A6B7930BBF0E}"/>
          </ac:spMkLst>
        </pc:spChg>
        <pc:spChg chg="mod">
          <ac:chgData name="Disselhoff, Tim" userId="3b8b5473-7050-4f60-8279-e72cc8538d43" providerId="ADAL" clId="{952E53DB-5978-46BA-964C-5B55B87B6690}" dt="2021-08-16T19:14:18.769" v="4438"/>
          <ac:spMkLst>
            <pc:docMk/>
            <pc:sldMk cId="142516827" sldId="1386"/>
            <ac:spMk id="389" creationId="{A2FEEE2B-BD3A-432E-BA8D-EE1924866C8E}"/>
          </ac:spMkLst>
        </pc:spChg>
        <pc:grpChg chg="add mod">
          <ac:chgData name="Disselhoff, Tim" userId="3b8b5473-7050-4f60-8279-e72cc8538d43" providerId="ADAL" clId="{952E53DB-5978-46BA-964C-5B55B87B6690}" dt="2021-08-16T18:54:33.570" v="4297" actId="14100"/>
          <ac:grpSpMkLst>
            <pc:docMk/>
            <pc:sldMk cId="142516827" sldId="1386"/>
            <ac:grpSpMk id="6" creationId="{9A9D86E5-9626-4E70-AF5C-30CA856FBE14}"/>
          </ac:grpSpMkLst>
        </pc:grpChg>
        <pc:grpChg chg="add mod">
          <ac:chgData name="Disselhoff, Tim" userId="3b8b5473-7050-4f60-8279-e72cc8538d43" providerId="ADAL" clId="{952E53DB-5978-46BA-964C-5B55B87B6690}" dt="2021-08-16T19:14:18.769" v="4438"/>
          <ac:grpSpMkLst>
            <pc:docMk/>
            <pc:sldMk cId="142516827" sldId="1386"/>
            <ac:grpSpMk id="362" creationId="{D4624ACE-1227-44D1-8A33-2BEB4CADF972}"/>
          </ac:grpSpMkLst>
        </pc:grpChg>
        <pc:grpChg chg="mod">
          <ac:chgData name="Disselhoff, Tim" userId="3b8b5473-7050-4f60-8279-e72cc8538d43" providerId="ADAL" clId="{952E53DB-5978-46BA-964C-5B55B87B6690}" dt="2021-08-16T18:53:13.283" v="4275"/>
          <ac:grpSpMkLst>
            <pc:docMk/>
            <pc:sldMk cId="142516827" sldId="1386"/>
            <ac:grpSpMk id="366" creationId="{ADD1861F-955A-47C0-A199-B30FAF33822F}"/>
          </ac:grpSpMkLst>
        </pc:grpChg>
      </pc:sldChg>
      <pc:sldChg chg="addSp delSp modSp add del mod modNotes">
        <pc:chgData name="Disselhoff, Tim" userId="3b8b5473-7050-4f60-8279-e72cc8538d43" providerId="ADAL" clId="{952E53DB-5978-46BA-964C-5B55B87B6690}" dt="2021-08-17T08:13:13.517" v="6736" actId="47"/>
        <pc:sldMkLst>
          <pc:docMk/>
          <pc:sldMk cId="704247816" sldId="1387"/>
        </pc:sldMkLst>
        <pc:spChg chg="mod">
          <ac:chgData name="Disselhoff, Tim" userId="3b8b5473-7050-4f60-8279-e72cc8538d43" providerId="ADAL" clId="{952E53DB-5978-46BA-964C-5B55B87B6690}" dt="2021-08-16T19:12:39.615" v="4378" actId="790"/>
          <ac:spMkLst>
            <pc:docMk/>
            <pc:sldMk cId="704247816" sldId="1387"/>
            <ac:spMk id="5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12:39.291" v="4367"/>
          <ac:spMkLst>
            <pc:docMk/>
            <pc:sldMk cId="704247816" sldId="1387"/>
            <ac:spMk id="23" creationId="{8C3B98C7-24CF-4AFC-9256-7F2858C522B2}"/>
          </ac:spMkLst>
        </pc:spChg>
        <pc:spChg chg="del">
          <ac:chgData name="Disselhoff, Tim" userId="3b8b5473-7050-4f60-8279-e72cc8538d43" providerId="ADAL" clId="{952E53DB-5978-46BA-964C-5B55B87B6690}" dt="2021-08-16T19:12:39.290" v="4361"/>
          <ac:spMkLst>
            <pc:docMk/>
            <pc:sldMk cId="704247816" sldId="1387"/>
            <ac:spMk id="25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12:39.290" v="4363"/>
          <ac:spMkLst>
            <pc:docMk/>
            <pc:sldMk cId="704247816" sldId="1387"/>
            <ac:spMk id="26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12:39.291" v="4365"/>
          <ac:spMkLst>
            <pc:docMk/>
            <pc:sldMk cId="704247816" sldId="1387"/>
            <ac:spMk id="27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9:12:39.628" v="4393"/>
          <ac:spMkLst>
            <pc:docMk/>
            <pc:sldMk cId="704247816" sldId="1387"/>
            <ac:spMk id="30" creationId="{9C6B7D50-4C8A-4FAB-B907-AFB2AF3B16DB}"/>
          </ac:spMkLst>
        </pc:spChg>
        <pc:spChg chg="mod topLvl">
          <ac:chgData name="Disselhoff, Tim" userId="3b8b5473-7050-4f60-8279-e72cc8538d43" providerId="ADAL" clId="{952E53DB-5978-46BA-964C-5B55B87B6690}" dt="2021-08-16T19:12:39.642" v="4394" actId="790"/>
          <ac:spMkLst>
            <pc:docMk/>
            <pc:sldMk cId="704247816" sldId="1387"/>
            <ac:spMk id="31" creationId="{455D5A59-A949-4EBE-AA9E-A1BCF8033780}"/>
          </ac:spMkLst>
        </pc:spChg>
        <pc:spChg chg="mod topLvl">
          <ac:chgData name="Disselhoff, Tim" userId="3b8b5473-7050-4f60-8279-e72cc8538d43" providerId="ADAL" clId="{952E53DB-5978-46BA-964C-5B55B87B6690}" dt="2021-08-16T19:12:39.644" v="4395" actId="790"/>
          <ac:spMkLst>
            <pc:docMk/>
            <pc:sldMk cId="704247816" sldId="1387"/>
            <ac:spMk id="32" creationId="{EABF353F-B75B-4505-9332-F2349C689464}"/>
          </ac:spMkLst>
        </pc:spChg>
        <pc:spChg chg="mod topLvl">
          <ac:chgData name="Disselhoff, Tim" userId="3b8b5473-7050-4f60-8279-e72cc8538d43" providerId="ADAL" clId="{952E53DB-5978-46BA-964C-5B55B87B6690}" dt="2021-08-16T19:12:39.652" v="4396" actId="790"/>
          <ac:spMkLst>
            <pc:docMk/>
            <pc:sldMk cId="704247816" sldId="1387"/>
            <ac:spMk id="33" creationId="{E6D70B1E-D348-49B8-B8BF-9D865596E14F}"/>
          </ac:spMkLst>
        </pc:spChg>
        <pc:spChg chg="mod">
          <ac:chgData name="Disselhoff, Tim" userId="3b8b5473-7050-4f60-8279-e72cc8538d43" providerId="ADAL" clId="{952E53DB-5978-46BA-964C-5B55B87B6690}" dt="2021-08-16T19:14:02.283" v="4437" actId="207"/>
          <ac:spMkLst>
            <pc:docMk/>
            <pc:sldMk cId="704247816" sldId="1387"/>
            <ac:spMk id="34" creationId="{BEAB855E-8F25-4347-9AD3-69FD1BF0249E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35" creationId="{B765560C-210F-4F57-A381-6E60F7AA525F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36" creationId="{389566FC-09AC-4CF4-8333-970FDEA10DDA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37" creationId="{FD95AF8E-17FE-4FEE-8DD8-3A92C808CF41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38" creationId="{1A42645F-5EDD-4301-B7B8-492E3B63A854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39" creationId="{812004EE-2BCB-42AB-B786-0162116F394E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40" creationId="{C0A452CD-64F4-4C29-A98E-4CA758AB433C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41" creationId="{FAE64869-C310-403B-B561-E34FB60736A7}"/>
          </ac:spMkLst>
        </pc:spChg>
        <pc:spChg chg="mod">
          <ac:chgData name="Disselhoff, Tim" userId="3b8b5473-7050-4f60-8279-e72cc8538d43" providerId="ADAL" clId="{952E53DB-5978-46BA-964C-5B55B87B6690}" dt="2021-08-16T19:13:58.323" v="4436" actId="207"/>
          <ac:spMkLst>
            <pc:docMk/>
            <pc:sldMk cId="704247816" sldId="1387"/>
            <ac:spMk id="42" creationId="{8E8EDB4E-19B7-4140-83CB-1F6DDE267CBB}"/>
          </ac:spMkLst>
        </pc:spChg>
        <pc:spChg chg="mod">
          <ac:chgData name="Disselhoff, Tim" userId="3b8b5473-7050-4f60-8279-e72cc8538d43" providerId="ADAL" clId="{952E53DB-5978-46BA-964C-5B55B87B6690}" dt="2021-08-16T19:12:39.617" v="4380" actId="790"/>
          <ac:spMkLst>
            <pc:docMk/>
            <pc:sldMk cId="704247816" sldId="1387"/>
            <ac:spMk id="43" creationId="{45C80BF5-8C93-43A9-B308-2A095E0D0B6C}"/>
          </ac:spMkLst>
        </pc:spChg>
        <pc:spChg chg="mod">
          <ac:chgData name="Disselhoff, Tim" userId="3b8b5473-7050-4f60-8279-e72cc8538d43" providerId="ADAL" clId="{952E53DB-5978-46BA-964C-5B55B87B6690}" dt="2021-08-16T19:12:39.618" v="4381" actId="790"/>
          <ac:spMkLst>
            <pc:docMk/>
            <pc:sldMk cId="704247816" sldId="1387"/>
            <ac:spMk id="44" creationId="{1DAA31BB-1297-4C8A-AAE6-9C8F732AD40C}"/>
          </ac:spMkLst>
        </pc:spChg>
        <pc:spChg chg="mod">
          <ac:chgData name="Disselhoff, Tim" userId="3b8b5473-7050-4f60-8279-e72cc8538d43" providerId="ADAL" clId="{952E53DB-5978-46BA-964C-5B55B87B6690}" dt="2021-08-16T19:12:39.620" v="4382" actId="790"/>
          <ac:spMkLst>
            <pc:docMk/>
            <pc:sldMk cId="704247816" sldId="1387"/>
            <ac:spMk id="45" creationId="{50E95786-0C62-4FD0-AECB-02FD45044976}"/>
          </ac:spMkLst>
        </pc:spChg>
        <pc:spChg chg="mod">
          <ac:chgData name="Disselhoff, Tim" userId="3b8b5473-7050-4f60-8279-e72cc8538d43" providerId="ADAL" clId="{952E53DB-5978-46BA-964C-5B55B87B6690}" dt="2021-08-16T19:12:39.621" v="4383" actId="790"/>
          <ac:spMkLst>
            <pc:docMk/>
            <pc:sldMk cId="704247816" sldId="1387"/>
            <ac:spMk id="46" creationId="{473CC132-A11B-416F-BBFF-5C94943D5396}"/>
          </ac:spMkLst>
        </pc:spChg>
        <pc:spChg chg="mod">
          <ac:chgData name="Disselhoff, Tim" userId="3b8b5473-7050-4f60-8279-e72cc8538d43" providerId="ADAL" clId="{952E53DB-5978-46BA-964C-5B55B87B6690}" dt="2021-08-16T19:12:39.616" v="4379" actId="790"/>
          <ac:spMkLst>
            <pc:docMk/>
            <pc:sldMk cId="704247816" sldId="1387"/>
            <ac:spMk id="696321" creationId="{00000000-0000-0000-0000-000000000000}"/>
          </ac:spMkLst>
        </pc:spChg>
        <pc:grpChg chg="add del mod">
          <ac:chgData name="Disselhoff, Tim" userId="3b8b5473-7050-4f60-8279-e72cc8538d43" providerId="ADAL" clId="{952E53DB-5978-46BA-964C-5B55B87B6690}" dt="2021-08-16T19:12:39.329" v="4375"/>
          <ac:grpSpMkLst>
            <pc:docMk/>
            <pc:sldMk cId="704247816" sldId="1387"/>
            <ac:grpSpMk id="24" creationId="{82C71EDA-D802-4B40-B999-17E0A452007E}"/>
          </ac:grpSpMkLst>
        </pc:grpChg>
        <pc:grpChg chg="mod topLvl">
          <ac:chgData name="Disselhoff, Tim" userId="3b8b5473-7050-4f60-8279-e72cc8538d43" providerId="ADAL" clId="{952E53DB-5978-46BA-964C-5B55B87B6690}" dt="2021-08-16T19:12:39.329" v="4375"/>
          <ac:grpSpMkLst>
            <pc:docMk/>
            <pc:sldMk cId="704247816" sldId="1387"/>
            <ac:grpSpMk id="28" creationId="{A0BB1DC5-D5F7-4930-B1F4-E970F2974B3B}"/>
          </ac:grpSpMkLst>
        </pc:grpChg>
        <pc:grpChg chg="mod topLvl">
          <ac:chgData name="Disselhoff, Tim" userId="3b8b5473-7050-4f60-8279-e72cc8538d43" providerId="ADAL" clId="{952E53DB-5978-46BA-964C-5B55B87B6690}" dt="2021-08-16T19:12:39.329" v="4375"/>
          <ac:grpSpMkLst>
            <pc:docMk/>
            <pc:sldMk cId="704247816" sldId="1387"/>
            <ac:grpSpMk id="29" creationId="{FE90F375-B592-4840-856D-CC85FF1F434B}"/>
          </ac:grpSpMkLst>
        </pc:grpChg>
        <pc:grpChg chg="del">
          <ac:chgData name="Disselhoff, Tim" userId="3b8b5473-7050-4f60-8279-e72cc8538d43" providerId="ADAL" clId="{952E53DB-5978-46BA-964C-5B55B87B6690}" dt="2021-08-16T19:12:39.289" v="4358"/>
          <ac:grpSpMkLst>
            <pc:docMk/>
            <pc:sldMk cId="704247816" sldId="1387"/>
            <ac:grpSpMk id="696323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9:12:39.290" v="4360"/>
          <ac:grpSpMkLst>
            <pc:docMk/>
            <pc:sldMk cId="704247816" sldId="1387"/>
            <ac:grpSpMk id="696324" creationId="{00000000-0000-0000-0000-000000000000}"/>
          </ac:grpSpMkLst>
        </pc:grpChg>
      </pc:sldChg>
      <pc:sldChg chg="modSp add del mod modNotes">
        <pc:chgData name="Disselhoff, Tim" userId="3b8b5473-7050-4f60-8279-e72cc8538d43" providerId="ADAL" clId="{952E53DB-5978-46BA-964C-5B55B87B6690}" dt="2021-08-16T19:11:53.382" v="4354" actId="47"/>
        <pc:sldMkLst>
          <pc:docMk/>
          <pc:sldMk cId="2408078788" sldId="1387"/>
        </pc:sldMkLst>
        <pc:spChg chg="mod">
          <ac:chgData name="Disselhoff, Tim" userId="3b8b5473-7050-4f60-8279-e72cc8538d43" providerId="ADAL" clId="{952E53DB-5978-46BA-964C-5B55B87B6690}" dt="2021-08-16T19:11:47.406" v="4309" actId="790"/>
          <ac:spMkLst>
            <pc:docMk/>
            <pc:sldMk cId="2408078788" sldId="1387"/>
            <ac:spMk id="7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504" v="4349" actId="790"/>
          <ac:spMkLst>
            <pc:docMk/>
            <pc:sldMk cId="2408078788" sldId="1387"/>
            <ac:spMk id="5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505" v="4350" actId="790"/>
          <ac:spMkLst>
            <pc:docMk/>
            <pc:sldMk cId="2408078788" sldId="1387"/>
            <ac:spMk id="5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6" v="4343" actId="790"/>
          <ac:spMkLst>
            <pc:docMk/>
            <pc:sldMk cId="2408078788" sldId="1387"/>
            <ac:spMk id="6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7" v="4344" actId="790"/>
          <ac:spMkLst>
            <pc:docMk/>
            <pc:sldMk cId="2408078788" sldId="1387"/>
            <ac:spMk id="6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501" v="4347" actId="790"/>
          <ac:spMkLst>
            <pc:docMk/>
            <pc:sldMk cId="2408078788" sldId="1387"/>
            <ac:spMk id="7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503" v="4348" actId="790"/>
          <ac:spMkLst>
            <pc:docMk/>
            <pc:sldMk cId="2408078788" sldId="1387"/>
            <ac:spMk id="7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59" v="4325" actId="790"/>
          <ac:spMkLst>
            <pc:docMk/>
            <pc:sldMk cId="2408078788" sldId="1387"/>
            <ac:spMk id="26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39" v="4320" actId="790"/>
          <ac:spMkLst>
            <pc:docMk/>
            <pc:sldMk cId="2408078788" sldId="1387"/>
            <ac:spMk id="26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22" v="4313" actId="790"/>
          <ac:spMkLst>
            <pc:docMk/>
            <pc:sldMk cId="2408078788" sldId="1387"/>
            <ac:spMk id="264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75" v="4331" actId="790"/>
          <ac:spMkLst>
            <pc:docMk/>
            <pc:sldMk cId="2408078788" sldId="1387"/>
            <ac:spMk id="26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4" v="4336" actId="790"/>
          <ac:spMkLst>
            <pc:docMk/>
            <pc:sldMk cId="2408078788" sldId="1387"/>
            <ac:spMk id="29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6" v="4337" actId="790"/>
          <ac:spMkLst>
            <pc:docMk/>
            <pc:sldMk cId="2408078788" sldId="1387"/>
            <ac:spMk id="29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9" v="4338" actId="790"/>
          <ac:spMkLst>
            <pc:docMk/>
            <pc:sldMk cId="2408078788" sldId="1387"/>
            <ac:spMk id="29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9" v="4345" actId="790"/>
          <ac:spMkLst>
            <pc:docMk/>
            <pc:sldMk cId="2408078788" sldId="1387"/>
            <ac:spMk id="29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500" v="4346" actId="790"/>
          <ac:spMkLst>
            <pc:docMk/>
            <pc:sldMk cId="2408078788" sldId="1387"/>
            <ac:spMk id="294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24" v="4314" actId="790"/>
          <ac:spMkLst>
            <pc:docMk/>
            <pc:sldMk cId="2408078788" sldId="1387"/>
            <ac:spMk id="30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28" v="4315" actId="790"/>
          <ac:spMkLst>
            <pc:docMk/>
            <pc:sldMk cId="2408078788" sldId="1387"/>
            <ac:spMk id="30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62" v="4326" actId="790"/>
          <ac:spMkLst>
            <pc:docMk/>
            <pc:sldMk cId="2408078788" sldId="1387"/>
            <ac:spMk id="30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64" v="4327" actId="790"/>
          <ac:spMkLst>
            <pc:docMk/>
            <pc:sldMk cId="2408078788" sldId="1387"/>
            <ac:spMk id="30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70" v="4328" actId="790"/>
          <ac:spMkLst>
            <pc:docMk/>
            <pc:sldMk cId="2408078788" sldId="1387"/>
            <ac:spMk id="31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47" v="4321" actId="790"/>
          <ac:spMkLst>
            <pc:docMk/>
            <pc:sldMk cId="2408078788" sldId="1387"/>
            <ac:spMk id="31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54" v="4322" actId="790"/>
          <ac:spMkLst>
            <pc:docMk/>
            <pc:sldMk cId="2408078788" sldId="1387"/>
            <ac:spMk id="31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78" v="4332" actId="790"/>
          <ac:spMkLst>
            <pc:docMk/>
            <pc:sldMk cId="2408078788" sldId="1387"/>
            <ac:spMk id="31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0" v="4333" actId="790"/>
          <ac:spMkLst>
            <pc:docMk/>
            <pc:sldMk cId="2408078788" sldId="1387"/>
            <ac:spMk id="314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29" v="4316" actId="790"/>
          <ac:spMkLst>
            <pc:docMk/>
            <pc:sldMk cId="2408078788" sldId="1387"/>
            <ac:spMk id="31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31" v="4317" actId="790"/>
          <ac:spMkLst>
            <pc:docMk/>
            <pc:sldMk cId="2408078788" sldId="1387"/>
            <ac:spMk id="31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32" v="4318" actId="790"/>
          <ac:spMkLst>
            <pc:docMk/>
            <pc:sldMk cId="2408078788" sldId="1387"/>
            <ac:spMk id="31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2" v="4341" actId="790"/>
          <ac:spMkLst>
            <pc:docMk/>
            <pc:sldMk cId="2408078788" sldId="1387"/>
            <ac:spMk id="321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4" v="4342" actId="790"/>
          <ac:spMkLst>
            <pc:docMk/>
            <pc:sldMk cId="2408078788" sldId="1387"/>
            <ac:spMk id="322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10" v="4312" actId="790"/>
          <ac:spMkLst>
            <pc:docMk/>
            <pc:sldMk cId="2408078788" sldId="1387"/>
            <ac:spMk id="387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09" v="4311" actId="790"/>
          <ac:spMkLst>
            <pc:docMk/>
            <pc:sldMk cId="2408078788" sldId="1387"/>
            <ac:spMk id="38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55" v="4323" actId="790"/>
          <ac:spMkLst>
            <pc:docMk/>
            <pc:sldMk cId="2408078788" sldId="1387"/>
            <ac:spMk id="393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71" v="4329" actId="790"/>
          <ac:spMkLst>
            <pc:docMk/>
            <pc:sldMk cId="2408078788" sldId="1387"/>
            <ac:spMk id="394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56" v="4324" actId="790"/>
          <ac:spMkLst>
            <pc:docMk/>
            <pc:sldMk cId="2408078788" sldId="1387"/>
            <ac:spMk id="39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72" v="4330" actId="790"/>
          <ac:spMkLst>
            <pc:docMk/>
            <pc:sldMk cId="2408078788" sldId="1387"/>
            <ac:spMk id="39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1" v="4334" actId="790"/>
          <ac:spMkLst>
            <pc:docMk/>
            <pc:sldMk cId="2408078788" sldId="1387"/>
            <ac:spMk id="397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0" v="4339" actId="790"/>
          <ac:spMkLst>
            <pc:docMk/>
            <pc:sldMk cId="2408078788" sldId="1387"/>
            <ac:spMk id="398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82" v="4335" actId="790"/>
          <ac:spMkLst>
            <pc:docMk/>
            <pc:sldMk cId="2408078788" sldId="1387"/>
            <ac:spMk id="39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91" v="4340" actId="790"/>
          <ac:spMkLst>
            <pc:docMk/>
            <pc:sldMk cId="2408078788" sldId="1387"/>
            <ac:spMk id="400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08" v="4310" actId="790"/>
          <ac:spMkLst>
            <pc:docMk/>
            <pc:sldMk cId="2408078788" sldId="1387"/>
            <ac:spMk id="765955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1:47.436" v="4319" actId="790"/>
          <ac:spMkLst>
            <pc:docMk/>
            <pc:sldMk cId="2408078788" sldId="1387"/>
            <ac:spMk id="765977" creationId="{00000000-0000-0000-0000-000000000000}"/>
          </ac:spMkLst>
        </pc:spChg>
      </pc:sldChg>
      <pc:sldChg chg="addSp delSp modSp add del mod modNotes">
        <pc:chgData name="Disselhoff, Tim" userId="3b8b5473-7050-4f60-8279-e72cc8538d43" providerId="ADAL" clId="{952E53DB-5978-46BA-964C-5B55B87B6690}" dt="2021-08-17T08:13:13.517" v="6736" actId="47"/>
        <pc:sldMkLst>
          <pc:docMk/>
          <pc:sldMk cId="834274089" sldId="1388"/>
        </pc:sldMkLst>
        <pc:spChg chg="mod">
          <ac:chgData name="Disselhoff, Tim" userId="3b8b5473-7050-4f60-8279-e72cc8538d43" providerId="ADAL" clId="{952E53DB-5978-46BA-964C-5B55B87B6690}" dt="2021-08-16T19:12:46.758" v="4425" actId="790"/>
          <ac:spMkLst>
            <pc:docMk/>
            <pc:sldMk cId="834274089" sldId="1388"/>
            <ac:spMk id="8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12:46.432" v="4408"/>
          <ac:spMkLst>
            <pc:docMk/>
            <pc:sldMk cId="834274089" sldId="1388"/>
            <ac:spMk id="13" creationId="{4E884A17-B658-4847-B239-B379680409E5}"/>
          </ac:spMkLst>
        </pc:spChg>
        <pc:spChg chg="mod topLvl">
          <ac:chgData name="Disselhoff, Tim" userId="3b8b5473-7050-4f60-8279-e72cc8538d43" providerId="ADAL" clId="{952E53DB-5978-46BA-964C-5B55B87B6690}" dt="2021-08-16T19:12:46.781" v="4430" actId="790"/>
          <ac:spMkLst>
            <pc:docMk/>
            <pc:sldMk cId="834274089" sldId="1388"/>
            <ac:spMk id="16" creationId="{ACFE1739-5638-49C3-89E9-E175C141EFC4}"/>
          </ac:spMkLst>
        </pc:spChg>
        <pc:spChg chg="del">
          <ac:chgData name="Disselhoff, Tim" userId="3b8b5473-7050-4f60-8279-e72cc8538d43" providerId="ADAL" clId="{952E53DB-5978-46BA-964C-5B55B87B6690}" dt="2021-08-16T19:12:46.430" v="4405"/>
          <ac:spMkLst>
            <pc:docMk/>
            <pc:sldMk cId="834274089" sldId="1388"/>
            <ac:spMk id="17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12:46.430" v="4406"/>
          <ac:spMkLst>
            <pc:docMk/>
            <pc:sldMk cId="834274089" sldId="1388"/>
            <ac:spMk id="18" creationId="{00000000-0000-0000-0000-000000000000}"/>
          </ac:spMkLst>
        </pc:spChg>
        <pc:spChg chg="mod topLvl">
          <ac:chgData name="Disselhoff, Tim" userId="3b8b5473-7050-4f60-8279-e72cc8538d43" providerId="ADAL" clId="{952E53DB-5978-46BA-964C-5B55B87B6690}" dt="2021-08-16T19:12:46.795" v="4431"/>
          <ac:spMkLst>
            <pc:docMk/>
            <pc:sldMk cId="834274089" sldId="1388"/>
            <ac:spMk id="19" creationId="{01246EA6-32F1-4339-8750-61A4301F6EF4}"/>
          </ac:spMkLst>
        </pc:spChg>
        <pc:spChg chg="mod topLvl">
          <ac:chgData name="Disselhoff, Tim" userId="3b8b5473-7050-4f60-8279-e72cc8538d43" providerId="ADAL" clId="{952E53DB-5978-46BA-964C-5B55B87B6690}" dt="2021-08-16T19:12:46.810" v="4432" actId="790"/>
          <ac:spMkLst>
            <pc:docMk/>
            <pc:sldMk cId="834274089" sldId="1388"/>
            <ac:spMk id="20" creationId="{C1A06272-AB6E-4AD0-A78C-DE204C22AC06}"/>
          </ac:spMkLst>
        </pc:spChg>
        <pc:spChg chg="mod">
          <ac:chgData name="Disselhoff, Tim" userId="3b8b5473-7050-4f60-8279-e72cc8538d43" providerId="ADAL" clId="{952E53DB-5978-46BA-964C-5B55B87B6690}" dt="2021-08-16T19:12:46.760" v="4426" actId="790"/>
          <ac:spMkLst>
            <pc:docMk/>
            <pc:sldMk cId="834274089" sldId="1388"/>
            <ac:spMk id="21" creationId="{7A068F28-E793-4E1D-9DFF-AFC8626F2F63}"/>
          </ac:spMkLst>
        </pc:spChg>
        <pc:spChg chg="mod">
          <ac:chgData name="Disselhoff, Tim" userId="3b8b5473-7050-4f60-8279-e72cc8538d43" providerId="ADAL" clId="{952E53DB-5978-46BA-964C-5B55B87B6690}" dt="2021-08-16T19:12:46.763" v="4427" actId="790"/>
          <ac:spMkLst>
            <pc:docMk/>
            <pc:sldMk cId="834274089" sldId="1388"/>
            <ac:spMk id="22" creationId="{7B6FB033-B60D-4F17-BE3B-5FBC7B0D3FCB}"/>
          </ac:spMkLst>
        </pc:spChg>
        <pc:spChg chg="mod">
          <ac:chgData name="Disselhoff, Tim" userId="3b8b5473-7050-4f60-8279-e72cc8538d43" providerId="ADAL" clId="{952E53DB-5978-46BA-964C-5B55B87B6690}" dt="2021-08-16T19:12:46.766" v="4428" actId="790"/>
          <ac:spMkLst>
            <pc:docMk/>
            <pc:sldMk cId="834274089" sldId="1388"/>
            <ac:spMk id="23" creationId="{4B604DAD-5C65-49D2-AB3D-260B52DBCE86}"/>
          </ac:spMkLst>
        </pc:spChg>
        <pc:spChg chg="mod">
          <ac:chgData name="Disselhoff, Tim" userId="3b8b5473-7050-4f60-8279-e72cc8538d43" providerId="ADAL" clId="{952E53DB-5978-46BA-964C-5B55B87B6690}" dt="2021-08-16T19:12:46.768" v="4429" actId="790"/>
          <ac:spMkLst>
            <pc:docMk/>
            <pc:sldMk cId="834274089" sldId="1388"/>
            <ac:spMk id="24" creationId="{698FB2F9-46A0-4DF5-A255-10F5C3075ED2}"/>
          </ac:spMkLst>
        </pc:spChg>
        <pc:spChg chg="mod">
          <ac:chgData name="Disselhoff, Tim" userId="3b8b5473-7050-4f60-8279-e72cc8538d43" providerId="ADAL" clId="{952E53DB-5978-46BA-964C-5B55B87B6690}" dt="2021-08-16T19:12:46.746" v="4424" actId="790"/>
          <ac:spMkLst>
            <pc:docMk/>
            <pc:sldMk cId="834274089" sldId="1388"/>
            <ac:spMk id="698369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6T19:12:46.743" v="4423" actId="790"/>
          <ac:spMkLst>
            <pc:docMk/>
            <pc:sldMk cId="834274089" sldId="1388"/>
            <ac:spMk id="698370" creationId="{00000000-0000-0000-0000-000000000000}"/>
          </ac:spMkLst>
        </pc:spChg>
        <pc:grpChg chg="add del mod">
          <ac:chgData name="Disselhoff, Tim" userId="3b8b5473-7050-4f60-8279-e72cc8538d43" providerId="ADAL" clId="{952E53DB-5978-46BA-964C-5B55B87B6690}" dt="2021-08-16T19:12:46.450" v="4420"/>
          <ac:grpSpMkLst>
            <pc:docMk/>
            <pc:sldMk cId="834274089" sldId="1388"/>
            <ac:grpSpMk id="14" creationId="{5993844B-C5E6-425C-90EC-9FE3FAAB31E1}"/>
          </ac:grpSpMkLst>
        </pc:grpChg>
        <pc:grpChg chg="mod topLvl">
          <ac:chgData name="Disselhoff, Tim" userId="3b8b5473-7050-4f60-8279-e72cc8538d43" providerId="ADAL" clId="{952E53DB-5978-46BA-964C-5B55B87B6690}" dt="2021-08-16T19:12:46.450" v="4420"/>
          <ac:grpSpMkLst>
            <pc:docMk/>
            <pc:sldMk cId="834274089" sldId="1388"/>
            <ac:grpSpMk id="15" creationId="{CD38E29B-277A-4790-A0CA-22F8DC9D5DD7}"/>
          </ac:grpSpMkLst>
        </pc:grpChg>
        <pc:grpChg chg="del">
          <ac:chgData name="Disselhoff, Tim" userId="3b8b5473-7050-4f60-8279-e72cc8538d43" providerId="ADAL" clId="{952E53DB-5978-46BA-964C-5B55B87B6690}" dt="2021-08-16T19:12:46.428" v="4403"/>
          <ac:grpSpMkLst>
            <pc:docMk/>
            <pc:sldMk cId="834274089" sldId="1388"/>
            <ac:grpSpMk id="698371" creationId="{00000000-0000-0000-0000-000000000000}"/>
          </ac:grpSpMkLst>
        </pc:grpChg>
      </pc:sldChg>
      <pc:sldChg chg="modSp add del mod">
        <pc:chgData name="Disselhoff, Tim" userId="3b8b5473-7050-4f60-8279-e72cc8538d43" providerId="ADAL" clId="{952E53DB-5978-46BA-964C-5B55B87B6690}" dt="2021-08-17T08:16:47.778" v="6742" actId="47"/>
        <pc:sldMkLst>
          <pc:docMk/>
          <pc:sldMk cId="2416520558" sldId="1389"/>
        </pc:sldMkLst>
        <pc:spChg chg="mod">
          <ac:chgData name="Disselhoff, Tim" userId="3b8b5473-7050-4f60-8279-e72cc8538d43" providerId="ADAL" clId="{952E53DB-5978-46BA-964C-5B55B87B6690}" dt="2021-08-16T19:14:39.092" v="4442" actId="208"/>
          <ac:spMkLst>
            <pc:docMk/>
            <pc:sldMk cId="2416520558" sldId="1389"/>
            <ac:spMk id="381" creationId="{CF6A4010-1BFF-4EAB-981E-BDB750A3B219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2" creationId="{DB2819B9-0828-4700-848D-A1B71D6FA9EA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3" creationId="{C7D8CFF6-0B32-4BD7-A71E-2BFAEB2B7623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4" creationId="{1D1290A5-B112-411B-BF33-96FE38E7860C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5" creationId="{EEEDC35A-F507-4C47-8775-FBBE6E5D6FB6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6" creationId="{B49CF3E2-40B3-407B-8C66-3CE2EDC38D3D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7" creationId="{E15F1D9A-883E-4CF1-96FC-C559930E96D2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8" creationId="{9BE1DEF4-C171-4211-875D-A6B7930BBF0E}"/>
          </ac:spMkLst>
        </pc:spChg>
        <pc:spChg chg="mod">
          <ac:chgData name="Disselhoff, Tim" userId="3b8b5473-7050-4f60-8279-e72cc8538d43" providerId="ADAL" clId="{952E53DB-5978-46BA-964C-5B55B87B6690}" dt="2021-08-16T19:14:36.534" v="4441" actId="208"/>
          <ac:spMkLst>
            <pc:docMk/>
            <pc:sldMk cId="2416520558" sldId="1389"/>
            <ac:spMk id="389" creationId="{A2FEEE2B-BD3A-432E-BA8D-EE1924866C8E}"/>
          </ac:spMkLst>
        </pc:spChg>
        <pc:grpChg chg="mod">
          <ac:chgData name="Disselhoff, Tim" userId="3b8b5473-7050-4f60-8279-e72cc8538d43" providerId="ADAL" clId="{952E53DB-5978-46BA-964C-5B55B87B6690}" dt="2021-08-16T19:14:52.768" v="4444" actId="1076"/>
          <ac:grpSpMkLst>
            <pc:docMk/>
            <pc:sldMk cId="2416520558" sldId="1389"/>
            <ac:grpSpMk id="362" creationId="{D4624ACE-1227-44D1-8A33-2BEB4CADF972}"/>
          </ac:grpSpMkLst>
        </pc:grpChg>
      </pc:sldChg>
      <pc:sldChg chg="addSp delSp modSp add del mod ord">
        <pc:chgData name="Disselhoff, Tim" userId="3b8b5473-7050-4f60-8279-e72cc8538d43" providerId="ADAL" clId="{952E53DB-5978-46BA-964C-5B55B87B6690}" dt="2021-08-19T16:39:21.726" v="19782" actId="47"/>
        <pc:sldMkLst>
          <pc:docMk/>
          <pc:sldMk cId="129154394" sldId="1390"/>
        </pc:sldMkLst>
        <pc:spChg chg="mod ord">
          <ac:chgData name="Disselhoff, Tim" userId="3b8b5473-7050-4f60-8279-e72cc8538d43" providerId="ADAL" clId="{952E53DB-5978-46BA-964C-5B55B87B6690}" dt="2021-08-16T19:22:09.243" v="5353"/>
          <ac:spMkLst>
            <pc:docMk/>
            <pc:sldMk cId="129154394" sldId="1390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6T19:22:09.244" v="5355"/>
          <ac:spMkLst>
            <pc:docMk/>
            <pc:sldMk cId="129154394" sldId="1390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6T19:22:09.244" v="5357"/>
          <ac:spMkLst>
            <pc:docMk/>
            <pc:sldMk cId="129154394" sldId="1390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6T19:22:09.245" v="5359"/>
          <ac:spMkLst>
            <pc:docMk/>
            <pc:sldMk cId="129154394" sldId="1390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6T19:22:09.245" v="5361"/>
          <ac:spMkLst>
            <pc:docMk/>
            <pc:sldMk cId="129154394" sldId="1390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6T19:22:09.247" v="5369"/>
          <ac:spMkLst>
            <pc:docMk/>
            <pc:sldMk cId="129154394" sldId="1390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6T19:22:09.248" v="5371"/>
          <ac:spMkLst>
            <pc:docMk/>
            <pc:sldMk cId="129154394" sldId="1390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6T19:22:09.248" v="5373"/>
          <ac:spMkLst>
            <pc:docMk/>
            <pc:sldMk cId="129154394" sldId="1390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6T19:22:09.250" v="5381"/>
          <ac:spMkLst>
            <pc:docMk/>
            <pc:sldMk cId="129154394" sldId="1390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6T19:22:09.264" v="5435"/>
          <ac:spMkLst>
            <pc:docMk/>
            <pc:sldMk cId="129154394" sldId="1390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6T19:22:09.252" v="5389"/>
          <ac:spMkLst>
            <pc:docMk/>
            <pc:sldMk cId="129154394" sldId="1390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6T19:22:09.259" v="5411"/>
          <ac:spMkLst>
            <pc:docMk/>
            <pc:sldMk cId="129154394" sldId="1390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6T19:22:09.259" v="5413"/>
          <ac:spMkLst>
            <pc:docMk/>
            <pc:sldMk cId="129154394" sldId="1390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6T19:22:09.260" v="5415"/>
          <ac:spMkLst>
            <pc:docMk/>
            <pc:sldMk cId="129154394" sldId="1390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6T19:22:09.260" v="5417"/>
          <ac:spMkLst>
            <pc:docMk/>
            <pc:sldMk cId="129154394" sldId="1390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6T19:22:09.261" v="5419"/>
          <ac:spMkLst>
            <pc:docMk/>
            <pc:sldMk cId="129154394" sldId="1390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6T19:22:09.261" v="5421"/>
          <ac:spMkLst>
            <pc:docMk/>
            <pc:sldMk cId="129154394" sldId="1390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6T19:22:09.262" v="5425"/>
          <ac:spMkLst>
            <pc:docMk/>
            <pc:sldMk cId="129154394" sldId="1390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6T19:22:09.263" v="5427"/>
          <ac:spMkLst>
            <pc:docMk/>
            <pc:sldMk cId="129154394" sldId="1390"/>
            <ac:spMk id="42" creationId="{B5D8FFB3-E6A3-42FB-A328-4EF1E0D455B8}"/>
          </ac:spMkLst>
        </pc:spChg>
        <pc:spChg chg="mod">
          <ac:chgData name="Disselhoff, Tim" userId="3b8b5473-7050-4f60-8279-e72cc8538d43" providerId="ADAL" clId="{952E53DB-5978-46BA-964C-5B55B87B6690}" dt="2021-08-16T19:21:41.064" v="5343"/>
          <ac:spMkLst>
            <pc:docMk/>
            <pc:sldMk cId="129154394" sldId="1390"/>
            <ac:spMk id="47" creationId="{5553C366-34D3-4C4D-8838-66A1AE2012A0}"/>
          </ac:spMkLst>
        </pc:spChg>
        <pc:spChg chg="mod or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6T19:22:09.263" v="5431"/>
          <ac:spMkLst>
            <pc:docMk/>
            <pc:sldMk cId="129154394" sldId="1390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6T19:22:26.068" v="5466" actId="14100"/>
          <ac:spMkLst>
            <pc:docMk/>
            <pc:sldMk cId="129154394" sldId="1390"/>
            <ac:spMk id="361" creationId="{216FF5D1-F5EE-4B51-AD15-F796A02CE247}"/>
          </ac:spMkLst>
        </pc:spChg>
        <pc:spChg chg="mod">
          <ac:chgData name="Disselhoff, Tim" userId="3b8b5473-7050-4f60-8279-e72cc8538d43" providerId="ADAL" clId="{952E53DB-5978-46BA-964C-5B55B87B6690}" dt="2021-08-16T19:21:41.064" v="5343"/>
          <ac:spMkLst>
            <pc:docMk/>
            <pc:sldMk cId="129154394" sldId="1390"/>
            <ac:spMk id="363" creationId="{8C64AD55-B81D-452C-9459-62982C8F010C}"/>
          </ac:spMkLst>
        </pc:spChg>
        <pc:spChg chg="mod ord">
          <ac:chgData name="Disselhoff, Tim" userId="3b8b5473-7050-4f60-8279-e72cc8538d43" providerId="ADAL" clId="{952E53DB-5978-46BA-964C-5B55B87B6690}" dt="2021-08-16T19:22:21.811" v="5465" actId="14100"/>
          <ac:spMkLst>
            <pc:docMk/>
            <pc:sldMk cId="129154394" sldId="1390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6T19:22:14.007" v="5464" actId="404"/>
          <ac:spMkLst>
            <pc:docMk/>
            <pc:sldMk cId="129154394" sldId="1390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6T19:21:41.067" v="5347"/>
          <ac:spMkLst>
            <pc:docMk/>
            <pc:sldMk cId="129154394" sldId="1390"/>
            <ac:spMk id="378" creationId="{6911EA98-B3B2-4B3E-AD44-B6DC6A498943}"/>
          </ac:spMkLst>
        </pc:spChg>
        <pc:spChg chg="add del mod">
          <ac:chgData name="Disselhoff, Tim" userId="3b8b5473-7050-4f60-8279-e72cc8538d43" providerId="ADAL" clId="{952E53DB-5978-46BA-964C-5B55B87B6690}" dt="2021-08-16T19:15:07.391" v="4449"/>
          <ac:spMkLst>
            <pc:docMk/>
            <pc:sldMk cId="129154394" sldId="1390"/>
            <ac:spMk id="390" creationId="{AEFF1C5D-0FAE-43F4-A682-3445E03DB18D}"/>
          </ac:spMkLst>
        </pc:spChg>
        <pc:spChg chg="mod">
          <ac:chgData name="Disselhoff, Tim" userId="3b8b5473-7050-4f60-8279-e72cc8538d43" providerId="ADAL" clId="{952E53DB-5978-46BA-964C-5B55B87B6690}" dt="2021-08-16T19:17:06.201" v="4719"/>
          <ac:spMkLst>
            <pc:docMk/>
            <pc:sldMk cId="129154394" sldId="1390"/>
            <ac:spMk id="392" creationId="{672730F7-7BA3-4451-AD55-858FE1429C76}"/>
          </ac:spMkLst>
        </pc:spChg>
        <pc:spChg chg="mod">
          <ac:chgData name="Disselhoff, Tim" userId="3b8b5473-7050-4f60-8279-e72cc8538d43" providerId="ADAL" clId="{952E53DB-5978-46BA-964C-5B55B87B6690}" dt="2021-08-16T19:19:09.667" v="4771" actId="207"/>
          <ac:spMkLst>
            <pc:docMk/>
            <pc:sldMk cId="129154394" sldId="1390"/>
            <ac:spMk id="393" creationId="{134F3A9B-E1C1-49A8-A22B-AB5EB0B2B609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395" creationId="{DA02732A-D855-4003-B31A-3F3370072899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396" creationId="{82B7998C-70AB-4754-B846-B3E76E3B6A5F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398" creationId="{DDBECA55-D3F9-4F90-9D46-539FDC82D0D1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399" creationId="{1101CCFB-F19B-472B-B23E-0E7C51DD3D34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01" creationId="{2F60057E-8559-4757-961C-B2FDE5D9641B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02" creationId="{92C13A09-2A96-4B73-9156-DA915698E159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04" creationId="{B4E8C00C-DC1A-461D-995C-2180FF0E3B41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05" creationId="{625365F3-6F1F-4426-9883-92C06AB81542}"/>
          </ac:spMkLst>
        </pc:spChg>
        <pc:spChg chg="mod">
          <ac:chgData name="Disselhoff, Tim" userId="3b8b5473-7050-4f60-8279-e72cc8538d43" providerId="ADAL" clId="{952E53DB-5978-46BA-964C-5B55B87B6690}" dt="2021-08-16T19:21:37.766" v="5333"/>
          <ac:spMkLst>
            <pc:docMk/>
            <pc:sldMk cId="129154394" sldId="1390"/>
            <ac:spMk id="407" creationId="{44CDA1A2-2267-42F9-8749-BFF5C6072F20}"/>
          </ac:spMkLst>
        </pc:spChg>
        <pc:spChg chg="mod">
          <ac:chgData name="Disselhoff, Tim" userId="3b8b5473-7050-4f60-8279-e72cc8538d43" providerId="ADAL" clId="{952E53DB-5978-46BA-964C-5B55B87B6690}" dt="2021-08-16T19:21:37.766" v="5333"/>
          <ac:spMkLst>
            <pc:docMk/>
            <pc:sldMk cId="129154394" sldId="1390"/>
            <ac:spMk id="408" creationId="{E14305F8-5597-4608-9646-F200E3DF2E45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10" creationId="{B299C615-AF30-4A24-A66E-7842F10C8A7F}"/>
          </ac:spMkLst>
        </pc:spChg>
        <pc:spChg chg="mod">
          <ac:chgData name="Disselhoff, Tim" userId="3b8b5473-7050-4f60-8279-e72cc8538d43" providerId="ADAL" clId="{952E53DB-5978-46BA-964C-5B55B87B6690}" dt="2021-08-16T19:20:27.904" v="4986" actId="165"/>
          <ac:spMkLst>
            <pc:docMk/>
            <pc:sldMk cId="129154394" sldId="1390"/>
            <ac:spMk id="411" creationId="{923AC9D9-B296-4810-9B2A-92EE8B8B158F}"/>
          </ac:spMkLst>
        </pc:spChg>
        <pc:grpChg chg="mod ord">
          <ac:chgData name="Disselhoff, Tim" userId="3b8b5473-7050-4f60-8279-e72cc8538d43" providerId="ADAL" clId="{952E53DB-5978-46BA-964C-5B55B87B6690}" dt="2021-08-16T19:22:09.271" v="5457"/>
          <ac:grpSpMkLst>
            <pc:docMk/>
            <pc:sldMk cId="129154394" sldId="1390"/>
            <ac:grpSpMk id="6" creationId="{9A9D86E5-9626-4E70-AF5C-30CA856FBE14}"/>
          </ac:grpSpMkLst>
        </pc:grpChg>
        <pc:grpChg chg="mod ord">
          <ac:chgData name="Disselhoff, Tim" userId="3b8b5473-7050-4f60-8279-e72cc8538d43" providerId="ADAL" clId="{952E53DB-5978-46BA-964C-5B55B87B6690}" dt="2021-08-16T19:22:09.246" v="5363"/>
          <ac:grpSpMkLst>
            <pc:docMk/>
            <pc:sldMk cId="129154394" sldId="1390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6T19:22:09.246" v="5365"/>
          <ac:grpSpMkLst>
            <pc:docMk/>
            <pc:sldMk cId="129154394" sldId="1390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6T19:22:09.247" v="5367"/>
          <ac:grpSpMkLst>
            <pc:docMk/>
            <pc:sldMk cId="129154394" sldId="1390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6T19:22:09.249" v="5375"/>
          <ac:grpSpMkLst>
            <pc:docMk/>
            <pc:sldMk cId="129154394" sldId="1390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6T19:22:09.249" v="5377"/>
          <ac:grpSpMkLst>
            <pc:docMk/>
            <pc:sldMk cId="129154394" sldId="1390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6T19:22:09.250" v="5379"/>
          <ac:grpSpMkLst>
            <pc:docMk/>
            <pc:sldMk cId="129154394" sldId="1390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6T19:22:09.251" v="5383"/>
          <ac:grpSpMkLst>
            <pc:docMk/>
            <pc:sldMk cId="129154394" sldId="1390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6T19:22:09.251" v="5385"/>
          <ac:grpSpMkLst>
            <pc:docMk/>
            <pc:sldMk cId="129154394" sldId="1390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6T19:22:09.252" v="5387"/>
          <ac:grpSpMkLst>
            <pc:docMk/>
            <pc:sldMk cId="129154394" sldId="1390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6T19:22:09.265" v="5436"/>
          <ac:grpSpMkLst>
            <pc:docMk/>
            <pc:sldMk cId="129154394" sldId="1390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6T19:22:09.262" v="5423"/>
          <ac:grpSpMkLst>
            <pc:docMk/>
            <pc:sldMk cId="129154394" sldId="1390"/>
            <ac:grpSpMk id="40" creationId="{37AB0EBD-FC68-47BC-BCDE-00708884834E}"/>
          </ac:grpSpMkLst>
        </pc:grpChg>
        <pc:grpChg chg="add del mod ord">
          <ac:chgData name="Disselhoff, Tim" userId="3b8b5473-7050-4f60-8279-e72cc8538d43" providerId="ADAL" clId="{952E53DB-5978-46BA-964C-5B55B87B6690}" dt="2021-08-16T19:20:27.904" v="4986" actId="165"/>
          <ac:grpSpMkLst>
            <pc:docMk/>
            <pc:sldMk cId="129154394" sldId="1390"/>
            <ac:grpSpMk id="44" creationId="{A86B1C75-102B-42ED-B273-991DF96BB3CF}"/>
          </ac:grpSpMkLst>
        </pc:grpChg>
        <pc:grpChg chg="add del mod ord">
          <ac:chgData name="Disselhoff, Tim" userId="3b8b5473-7050-4f60-8279-e72cc8538d43" providerId="ADAL" clId="{952E53DB-5978-46BA-964C-5B55B87B6690}" dt="2021-08-16T19:20:27.904" v="4986" actId="165"/>
          <ac:grpSpMkLst>
            <pc:docMk/>
            <pc:sldMk cId="129154394" sldId="1390"/>
            <ac:grpSpMk id="45" creationId="{CFEF4D4A-4630-40BA-A41D-C744D3C0864D}"/>
          </ac:grpSpMkLst>
        </pc:grpChg>
        <pc:grpChg chg="add del mod ord">
          <ac:chgData name="Disselhoff, Tim" userId="3b8b5473-7050-4f60-8279-e72cc8538d43" providerId="ADAL" clId="{952E53DB-5978-46BA-964C-5B55B87B6690}" dt="2021-08-16T19:20:27.904" v="4986" actId="165"/>
          <ac:grpSpMkLst>
            <pc:docMk/>
            <pc:sldMk cId="129154394" sldId="1390"/>
            <ac:grpSpMk id="46" creationId="{C93F728D-9A1D-458E-B83E-4BD72EA8F6FA}"/>
          </ac:grpSpMkLst>
        </pc:grpChg>
        <pc:grpChg chg="add mod">
          <ac:chgData name="Disselhoff, Tim" userId="3b8b5473-7050-4f60-8279-e72cc8538d43" providerId="ADAL" clId="{952E53DB-5978-46BA-964C-5B55B87B6690}" dt="2021-08-16T19:22:09.267" v="5447"/>
          <ac:grpSpMkLst>
            <pc:docMk/>
            <pc:sldMk cId="129154394" sldId="1390"/>
            <ac:grpSpMk id="49" creationId="{DC529951-9179-4D42-B8EA-3ABBCAC7C924}"/>
          </ac:grpSpMkLst>
        </pc:grpChg>
        <pc:grpChg chg="del">
          <ac:chgData name="Disselhoff, Tim" userId="3b8b5473-7050-4f60-8279-e72cc8538d43" providerId="ADAL" clId="{952E53DB-5978-46BA-964C-5B55B87B6690}" dt="2021-08-16T19:15:02.206" v="4447" actId="478"/>
          <ac:grpSpMkLst>
            <pc:docMk/>
            <pc:sldMk cId="129154394" sldId="1390"/>
            <ac:grpSpMk id="362" creationId="{D4624ACE-1227-44D1-8A33-2BEB4CADF972}"/>
          </ac:grpSpMkLst>
        </pc:grpChg>
        <pc:grpChg chg="mod">
          <ac:chgData name="Disselhoff, Tim" userId="3b8b5473-7050-4f60-8279-e72cc8538d43" providerId="ADAL" clId="{952E53DB-5978-46BA-964C-5B55B87B6690}" dt="2021-08-16T19:21:41.067" v="5347"/>
          <ac:grpSpMkLst>
            <pc:docMk/>
            <pc:sldMk cId="129154394" sldId="1390"/>
            <ac:grpSpMk id="366" creationId="{ADD1861F-955A-47C0-A199-B30FAF33822F}"/>
          </ac:grpSpMkLst>
        </pc:grpChg>
        <pc:grpChg chg="add mod ord">
          <ac:chgData name="Disselhoff, Tim" userId="3b8b5473-7050-4f60-8279-e72cc8538d43" providerId="ADAL" clId="{952E53DB-5978-46BA-964C-5B55B87B6690}" dt="2021-08-16T19:22:09.266" v="5442"/>
          <ac:grpSpMkLst>
            <pc:docMk/>
            <pc:sldMk cId="129154394" sldId="1390"/>
            <ac:grpSpMk id="391" creationId="{E89B9E0C-9979-49E4-95FB-A34610C588E1}"/>
          </ac:grpSpMkLst>
        </pc:grpChg>
        <pc:grpChg chg="add mod ord topLvl">
          <ac:chgData name="Disselhoff, Tim" userId="3b8b5473-7050-4f60-8279-e72cc8538d43" providerId="ADAL" clId="{952E53DB-5978-46BA-964C-5B55B87B6690}" dt="2021-08-16T19:22:09.268" v="5449"/>
          <ac:grpSpMkLst>
            <pc:docMk/>
            <pc:sldMk cId="129154394" sldId="1390"/>
            <ac:grpSpMk id="394" creationId="{1F94C9EB-E2BA-441D-A7F9-8C52556B2A85}"/>
          </ac:grpSpMkLst>
        </pc:grpChg>
        <pc:grpChg chg="add mod ord topLvl">
          <ac:chgData name="Disselhoff, Tim" userId="3b8b5473-7050-4f60-8279-e72cc8538d43" providerId="ADAL" clId="{952E53DB-5978-46BA-964C-5B55B87B6690}" dt="2021-08-16T19:22:09.268" v="5451"/>
          <ac:grpSpMkLst>
            <pc:docMk/>
            <pc:sldMk cId="129154394" sldId="1390"/>
            <ac:grpSpMk id="397" creationId="{2D09B194-2FFE-484C-B9E9-7A74E13AD118}"/>
          </ac:grpSpMkLst>
        </pc:grpChg>
        <pc:grpChg chg="add mod ord topLvl">
          <ac:chgData name="Disselhoff, Tim" userId="3b8b5473-7050-4f60-8279-e72cc8538d43" providerId="ADAL" clId="{952E53DB-5978-46BA-964C-5B55B87B6690}" dt="2021-08-16T19:22:09.267" v="5444"/>
          <ac:grpSpMkLst>
            <pc:docMk/>
            <pc:sldMk cId="129154394" sldId="1390"/>
            <ac:grpSpMk id="400" creationId="{226F00AD-1A7D-4541-BBBC-D6C50CF5BA49}"/>
          </ac:grpSpMkLst>
        </pc:grpChg>
        <pc:grpChg chg="add mod ord topLvl">
          <ac:chgData name="Disselhoff, Tim" userId="3b8b5473-7050-4f60-8279-e72cc8538d43" providerId="ADAL" clId="{952E53DB-5978-46BA-964C-5B55B87B6690}" dt="2021-08-16T19:22:09.271" v="5455"/>
          <ac:grpSpMkLst>
            <pc:docMk/>
            <pc:sldMk cId="129154394" sldId="1390"/>
            <ac:grpSpMk id="403" creationId="{8BE8141B-4698-4D9B-8A80-571EF118DE98}"/>
          </ac:grpSpMkLst>
        </pc:grpChg>
        <pc:grpChg chg="add mod ord topLvl">
          <ac:chgData name="Disselhoff, Tim" userId="3b8b5473-7050-4f60-8279-e72cc8538d43" providerId="ADAL" clId="{952E53DB-5978-46BA-964C-5B55B87B6690}" dt="2021-08-16T19:22:09.269" v="5453"/>
          <ac:grpSpMkLst>
            <pc:docMk/>
            <pc:sldMk cId="129154394" sldId="1390"/>
            <ac:grpSpMk id="406" creationId="{B50E1CB8-50D2-491A-A395-991E3C3E0B35}"/>
          </ac:grpSpMkLst>
        </pc:grpChg>
        <pc:grpChg chg="add mod ord topLvl">
          <ac:chgData name="Disselhoff, Tim" userId="3b8b5473-7050-4f60-8279-e72cc8538d43" providerId="ADAL" clId="{952E53DB-5978-46BA-964C-5B55B87B6690}" dt="2021-08-16T19:22:09.267" v="5446"/>
          <ac:grpSpMkLst>
            <pc:docMk/>
            <pc:sldMk cId="129154394" sldId="1390"/>
            <ac:grpSpMk id="409" creationId="{FCC4E508-0AFD-4D0F-A6CE-E51EC7B084AD}"/>
          </ac:grpSpMkLst>
        </pc:grpChg>
        <pc:graphicFrameChg chg="mod">
          <ac:chgData name="Disselhoff, Tim" userId="3b8b5473-7050-4f60-8279-e72cc8538d43" providerId="ADAL" clId="{952E53DB-5978-46BA-964C-5B55B87B6690}" dt="2021-08-19T16:39:18.175" v="19781"/>
          <ac:graphicFrameMkLst>
            <pc:docMk/>
            <pc:sldMk cId="129154394" sldId="1390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6T19:22:09.265" v="5438"/>
          <ac:picMkLst>
            <pc:docMk/>
            <pc:sldMk cId="129154394" sldId="1390"/>
            <ac:picMk id="379" creationId="{7100A991-7A62-4038-B790-C800CC86B1E6}"/>
          </ac:picMkLst>
        </pc:picChg>
        <pc:picChg chg="mod ord">
          <ac:chgData name="Disselhoff, Tim" userId="3b8b5473-7050-4f60-8279-e72cc8538d43" providerId="ADAL" clId="{952E53DB-5978-46BA-964C-5B55B87B6690}" dt="2021-08-19T12:24:21.036" v="13926" actId="1076"/>
          <ac:picMkLst>
            <pc:docMk/>
            <pc:sldMk cId="129154394" sldId="1390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6T19:22:09.253" v="5391"/>
          <ac:cxnSpMkLst>
            <pc:docMk/>
            <pc:sldMk cId="129154394" sldId="1390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6T19:22:09.254" v="5393"/>
          <ac:cxnSpMkLst>
            <pc:docMk/>
            <pc:sldMk cId="129154394" sldId="1390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6T19:22:09.255" v="5395"/>
          <ac:cxnSpMkLst>
            <pc:docMk/>
            <pc:sldMk cId="129154394" sldId="1390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6T19:22:09.256" v="5397"/>
          <ac:cxnSpMkLst>
            <pc:docMk/>
            <pc:sldMk cId="129154394" sldId="1390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6T19:22:09.256" v="5399"/>
          <ac:cxnSpMkLst>
            <pc:docMk/>
            <pc:sldMk cId="129154394" sldId="1390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6T19:22:09.257" v="5401"/>
          <ac:cxnSpMkLst>
            <pc:docMk/>
            <pc:sldMk cId="129154394" sldId="1390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6T19:22:09.257" v="5403"/>
          <ac:cxnSpMkLst>
            <pc:docMk/>
            <pc:sldMk cId="129154394" sldId="1390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6T19:22:09.258" v="5405"/>
          <ac:cxnSpMkLst>
            <pc:docMk/>
            <pc:sldMk cId="129154394" sldId="1390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6T19:22:09.258" v="5407"/>
          <ac:cxnSpMkLst>
            <pc:docMk/>
            <pc:sldMk cId="129154394" sldId="1390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6T19:22:09.258" v="5409"/>
          <ac:cxnSpMkLst>
            <pc:docMk/>
            <pc:sldMk cId="129154394" sldId="1390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6T19:22:09.263" v="5429"/>
          <ac:cxnSpMkLst>
            <pc:docMk/>
            <pc:sldMk cId="129154394" sldId="1390"/>
            <ac:cxnSpMk id="43" creationId="{1AC0A2C5-4B94-40F9-88E2-D3C10215517A}"/>
          </ac:cxnSpMkLst>
        </pc:cxnChg>
      </pc:sldChg>
      <pc:sldChg chg="addSp delSp modSp add del mod">
        <pc:chgData name="Disselhoff, Tim" userId="3b8b5473-7050-4f60-8279-e72cc8538d43" providerId="ADAL" clId="{952E53DB-5978-46BA-964C-5B55B87B6690}" dt="2021-08-18T16:10:11.926" v="10803" actId="47"/>
        <pc:sldMkLst>
          <pc:docMk/>
          <pc:sldMk cId="792728164" sldId="1391"/>
        </pc:sldMkLst>
        <pc:spChg chg="mod ord">
          <ac:chgData name="Disselhoff, Tim" userId="3b8b5473-7050-4f60-8279-e72cc8538d43" providerId="ADAL" clId="{952E53DB-5978-46BA-964C-5B55B87B6690}" dt="2021-08-16T19:34:35.401" v="6454"/>
          <ac:spMkLst>
            <pc:docMk/>
            <pc:sldMk cId="792728164" sldId="1391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6T19:34:35.401" v="6456"/>
          <ac:spMkLst>
            <pc:docMk/>
            <pc:sldMk cId="792728164" sldId="1391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6T19:34:35.402" v="6458"/>
          <ac:spMkLst>
            <pc:docMk/>
            <pc:sldMk cId="792728164" sldId="1391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6T19:34:35.403" v="6460"/>
          <ac:spMkLst>
            <pc:docMk/>
            <pc:sldMk cId="792728164" sldId="1391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6T19:34:35.403" v="6462"/>
          <ac:spMkLst>
            <pc:docMk/>
            <pc:sldMk cId="792728164" sldId="1391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6T19:34:35.406" v="6470"/>
          <ac:spMkLst>
            <pc:docMk/>
            <pc:sldMk cId="792728164" sldId="1391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6T19:34:35.407" v="6472"/>
          <ac:spMkLst>
            <pc:docMk/>
            <pc:sldMk cId="792728164" sldId="1391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6T19:34:35.408" v="6474"/>
          <ac:spMkLst>
            <pc:docMk/>
            <pc:sldMk cId="792728164" sldId="1391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6T19:34:35.411" v="6482"/>
          <ac:spMkLst>
            <pc:docMk/>
            <pc:sldMk cId="792728164" sldId="1391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6T19:34:35.431" v="6536"/>
          <ac:spMkLst>
            <pc:docMk/>
            <pc:sldMk cId="792728164" sldId="1391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6T19:34:35.414" v="6490"/>
          <ac:spMkLst>
            <pc:docMk/>
            <pc:sldMk cId="792728164" sldId="1391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6T19:34:35.422" v="6512"/>
          <ac:spMkLst>
            <pc:docMk/>
            <pc:sldMk cId="792728164" sldId="1391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6T19:34:35.423" v="6514"/>
          <ac:spMkLst>
            <pc:docMk/>
            <pc:sldMk cId="792728164" sldId="1391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6T19:34:35.423" v="6516"/>
          <ac:spMkLst>
            <pc:docMk/>
            <pc:sldMk cId="792728164" sldId="1391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6T19:34:35.424" v="6518"/>
          <ac:spMkLst>
            <pc:docMk/>
            <pc:sldMk cId="792728164" sldId="1391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6T19:34:35.425" v="6520"/>
          <ac:spMkLst>
            <pc:docMk/>
            <pc:sldMk cId="792728164" sldId="1391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6T19:34:35.425" v="6522"/>
          <ac:spMkLst>
            <pc:docMk/>
            <pc:sldMk cId="792728164" sldId="1391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6T19:34:35.427" v="6526"/>
          <ac:spMkLst>
            <pc:docMk/>
            <pc:sldMk cId="792728164" sldId="1391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6T19:34:35.428" v="6528"/>
          <ac:spMkLst>
            <pc:docMk/>
            <pc:sldMk cId="792728164" sldId="1391"/>
            <ac:spMk id="42" creationId="{B5D8FFB3-E6A3-42FB-A328-4EF1E0D455B8}"/>
          </ac:spMkLst>
        </pc:spChg>
        <pc:spChg chg="mod">
          <ac:chgData name="Disselhoff, Tim" userId="3b8b5473-7050-4f60-8279-e72cc8538d43" providerId="ADAL" clId="{952E53DB-5978-46BA-964C-5B55B87B6690}" dt="2021-08-16T19:28:28.488" v="6085"/>
          <ac:spMkLst>
            <pc:docMk/>
            <pc:sldMk cId="792728164" sldId="1391"/>
            <ac:spMk id="47" creationId="{5553C366-34D3-4C4D-8838-66A1AE2012A0}"/>
          </ac:spMkLst>
        </pc:spChg>
        <pc:spChg chg="mod ord topLvl">
          <ac:chgData name="Disselhoff, Tim" userId="3b8b5473-7050-4f60-8279-e72cc8538d43" providerId="ADAL" clId="{952E53DB-5978-46BA-964C-5B55B87B6690}" dt="2021-08-17T08:17:31.696" v="6746" actId="1076"/>
          <ac:spMkLst>
            <pc:docMk/>
            <pc:sldMk cId="792728164" sldId="1391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6T19:34:35.429" v="6532"/>
          <ac:spMkLst>
            <pc:docMk/>
            <pc:sldMk cId="792728164" sldId="1391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6T19:34:35.395" v="6452"/>
          <ac:spMkLst>
            <pc:docMk/>
            <pc:sldMk cId="792728164" sldId="1391"/>
            <ac:spMk id="361" creationId="{216FF5D1-F5EE-4B51-AD15-F796A02CE247}"/>
          </ac:spMkLst>
        </pc:spChg>
        <pc:spChg chg="mod">
          <ac:chgData name="Disselhoff, Tim" userId="3b8b5473-7050-4f60-8279-e72cc8538d43" providerId="ADAL" clId="{952E53DB-5978-46BA-964C-5B55B87B6690}" dt="2021-08-16T19:28:28.488" v="6085"/>
          <ac:spMkLst>
            <pc:docMk/>
            <pc:sldMk cId="792728164" sldId="1391"/>
            <ac:spMk id="363" creationId="{8C64AD55-B81D-452C-9459-62982C8F010C}"/>
          </ac:spMkLst>
        </pc:spChg>
        <pc:spChg chg="mod ord">
          <ac:chgData name="Disselhoff, Tim" userId="3b8b5473-7050-4f60-8279-e72cc8538d43" providerId="ADAL" clId="{952E53DB-5978-46BA-964C-5B55B87B6690}" dt="2021-08-16T19:34:35.430" v="6534"/>
          <ac:spMkLst>
            <pc:docMk/>
            <pc:sldMk cId="792728164" sldId="1391"/>
            <ac:spMk id="364" creationId="{B83EC4C5-B661-4674-8BE6-256C108497F2}"/>
          </ac:spMkLst>
        </pc:spChg>
        <pc:spChg chg="mod ord topLvl">
          <ac:chgData name="Disselhoff, Tim" userId="3b8b5473-7050-4f60-8279-e72cc8538d43" providerId="ADAL" clId="{952E53DB-5978-46BA-964C-5B55B87B6690}" dt="2021-08-16T19:34:35.439" v="6557"/>
          <ac:spMkLst>
            <pc:docMk/>
            <pc:sldMk cId="792728164" sldId="1391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6T19:31:01.654" v="6140" actId="2085"/>
          <ac:spMkLst>
            <pc:docMk/>
            <pc:sldMk cId="792728164" sldId="1391"/>
            <ac:spMk id="378" creationId="{6911EA98-B3B2-4B3E-AD44-B6DC6A498943}"/>
          </ac:spMkLst>
        </pc:spChg>
        <pc:spChg chg="mod">
          <ac:chgData name="Disselhoff, Tim" userId="3b8b5473-7050-4f60-8279-e72cc8538d43" providerId="ADAL" clId="{952E53DB-5978-46BA-964C-5B55B87B6690}" dt="2021-08-16T19:28:38.721" v="6115"/>
          <ac:spMkLst>
            <pc:docMk/>
            <pc:sldMk cId="792728164" sldId="1391"/>
            <ac:spMk id="381" creationId="{7DC4EEF1-204D-402D-B785-CDBCACCEBD4F}"/>
          </ac:spMkLst>
        </pc:spChg>
        <pc:spChg chg="mod">
          <ac:chgData name="Disselhoff, Tim" userId="3b8b5473-7050-4f60-8279-e72cc8538d43" providerId="ADAL" clId="{952E53DB-5978-46BA-964C-5B55B87B6690}" dt="2021-08-16T19:28:38.721" v="6115"/>
          <ac:spMkLst>
            <pc:docMk/>
            <pc:sldMk cId="792728164" sldId="1391"/>
            <ac:spMk id="382" creationId="{38FFCDA8-F48A-49EF-AAFE-AE084AE6FAC1}"/>
          </ac:spMkLst>
        </pc:spChg>
        <pc:spChg chg="add mod">
          <ac:chgData name="Disselhoff, Tim" userId="3b8b5473-7050-4f60-8279-e72cc8538d43" providerId="ADAL" clId="{952E53DB-5978-46BA-964C-5B55B87B6690}" dt="2021-08-16T19:28:38.721" v="6115"/>
          <ac:spMkLst>
            <pc:docMk/>
            <pc:sldMk cId="792728164" sldId="1391"/>
            <ac:spMk id="383" creationId="{BA485D0D-A8E6-4FE5-9546-4DB3BC0BECB3}"/>
          </ac:spMkLst>
        </pc:spChg>
        <pc:spChg chg="add mod ord">
          <ac:chgData name="Disselhoff, Tim" userId="3b8b5473-7050-4f60-8279-e72cc8538d43" providerId="ADAL" clId="{952E53DB-5978-46BA-964C-5B55B87B6690}" dt="2021-08-16T19:34:35.440" v="6559"/>
          <ac:spMkLst>
            <pc:docMk/>
            <pc:sldMk cId="792728164" sldId="1391"/>
            <ac:spMk id="384" creationId="{9E62869D-6BAD-49C5-AB9B-3898E1044009}"/>
          </ac:spMkLst>
        </pc:spChg>
        <pc:spChg chg="add mod ord">
          <ac:chgData name="Disselhoff, Tim" userId="3b8b5473-7050-4f60-8279-e72cc8538d43" providerId="ADAL" clId="{952E53DB-5978-46BA-964C-5B55B87B6690}" dt="2021-08-16T19:34:35.441" v="6561"/>
          <ac:spMkLst>
            <pc:docMk/>
            <pc:sldMk cId="792728164" sldId="1391"/>
            <ac:spMk id="385" creationId="{2FEF2853-BD2C-4F66-A827-9F3A70E17A21}"/>
          </ac:spMkLst>
        </pc:spChg>
        <pc:spChg chg="add mod ord">
          <ac:chgData name="Disselhoff, Tim" userId="3b8b5473-7050-4f60-8279-e72cc8538d43" providerId="ADAL" clId="{952E53DB-5978-46BA-964C-5B55B87B6690}" dt="2021-08-16T19:34:35.441" v="6563"/>
          <ac:spMkLst>
            <pc:docMk/>
            <pc:sldMk cId="792728164" sldId="1391"/>
            <ac:spMk id="386" creationId="{FD3000A9-52BB-4F24-A2F7-DF30C8763CCB}"/>
          </ac:spMkLst>
        </pc:spChg>
        <pc:spChg chg="add mod ord">
          <ac:chgData name="Disselhoff, Tim" userId="3b8b5473-7050-4f60-8279-e72cc8538d43" providerId="ADAL" clId="{952E53DB-5978-46BA-964C-5B55B87B6690}" dt="2021-08-16T19:34:35.442" v="6565"/>
          <ac:spMkLst>
            <pc:docMk/>
            <pc:sldMk cId="792728164" sldId="1391"/>
            <ac:spMk id="387" creationId="{F22FFF5C-8571-4CFD-81A4-7B18B2AC66AB}"/>
          </ac:spMkLst>
        </pc:spChg>
        <pc:spChg chg="add mod ord">
          <ac:chgData name="Disselhoff, Tim" userId="3b8b5473-7050-4f60-8279-e72cc8538d43" providerId="ADAL" clId="{952E53DB-5978-46BA-964C-5B55B87B6690}" dt="2021-08-16T19:34:35.442" v="6567"/>
          <ac:spMkLst>
            <pc:docMk/>
            <pc:sldMk cId="792728164" sldId="1391"/>
            <ac:spMk id="388" creationId="{0A83D9C8-6D23-41C8-812A-6D6664EBA787}"/>
          </ac:spMkLst>
        </pc:spChg>
        <pc:spChg chg="add mod ord">
          <ac:chgData name="Disselhoff, Tim" userId="3b8b5473-7050-4f60-8279-e72cc8538d43" providerId="ADAL" clId="{952E53DB-5978-46BA-964C-5B55B87B6690}" dt="2021-08-16T19:34:35.443" v="6569"/>
          <ac:spMkLst>
            <pc:docMk/>
            <pc:sldMk cId="792728164" sldId="1391"/>
            <ac:spMk id="389" creationId="{2B44649A-B4E0-4013-A2D8-ADEE9FC2D0A6}"/>
          </ac:spMkLst>
        </pc:spChg>
        <pc:spChg chg="add mod ord">
          <ac:chgData name="Disselhoff, Tim" userId="3b8b5473-7050-4f60-8279-e72cc8538d43" providerId="ADAL" clId="{952E53DB-5978-46BA-964C-5B55B87B6690}" dt="2021-08-16T19:34:35.444" v="6571"/>
          <ac:spMkLst>
            <pc:docMk/>
            <pc:sldMk cId="792728164" sldId="1391"/>
            <ac:spMk id="390" creationId="{55C60B76-5103-42DC-83D7-36B18DAC247F}"/>
          </ac:spMkLst>
        </pc:spChg>
        <pc:spChg chg="add del mod">
          <ac:chgData name="Disselhoff, Tim" userId="3b8b5473-7050-4f60-8279-e72cc8538d43" providerId="ADAL" clId="{952E53DB-5978-46BA-964C-5B55B87B6690}" dt="2021-08-17T08:26:36.379" v="6846" actId="478"/>
          <ac:spMkLst>
            <pc:docMk/>
            <pc:sldMk cId="792728164" sldId="1391"/>
            <ac:spMk id="391" creationId="{EA6ED26B-16B6-4AA5-806B-37025AD7AAEC}"/>
          </ac:spMkLst>
        </pc:spChg>
        <pc:spChg chg="mod ord topLvl">
          <ac:chgData name="Disselhoff, Tim" userId="3b8b5473-7050-4f60-8279-e72cc8538d43" providerId="ADAL" clId="{952E53DB-5978-46BA-964C-5B55B87B6690}" dt="2021-08-16T19:34:35.448" v="6583"/>
          <ac:spMkLst>
            <pc:docMk/>
            <pc:sldMk cId="792728164" sldId="1391"/>
            <ac:spMk id="392" creationId="{672730F7-7BA3-4451-AD55-858FE1429C76}"/>
          </ac:spMkLst>
        </pc:spChg>
        <pc:spChg chg="mod ord topLvl">
          <ac:chgData name="Disselhoff, Tim" userId="3b8b5473-7050-4f60-8279-e72cc8538d43" providerId="ADAL" clId="{952E53DB-5978-46BA-964C-5B55B87B6690}" dt="2021-08-16T19:34:35.450" v="6587"/>
          <ac:spMkLst>
            <pc:docMk/>
            <pc:sldMk cId="792728164" sldId="1391"/>
            <ac:spMk id="393" creationId="{134F3A9B-E1C1-49A8-A22B-AB5EB0B2B609}"/>
          </ac:spMkLst>
        </pc:spChg>
        <pc:spChg chg="mod">
          <ac:chgData name="Disselhoff, Tim" userId="3b8b5473-7050-4f60-8279-e72cc8538d43" providerId="ADAL" clId="{952E53DB-5978-46BA-964C-5B55B87B6690}" dt="2021-08-16T19:25:00.999" v="5603"/>
          <ac:spMkLst>
            <pc:docMk/>
            <pc:sldMk cId="792728164" sldId="1391"/>
            <ac:spMk id="395" creationId="{DA02732A-D855-4003-B31A-3F3370072899}"/>
          </ac:spMkLst>
        </pc:spChg>
        <pc:spChg chg="mod">
          <ac:chgData name="Disselhoff, Tim" userId="3b8b5473-7050-4f60-8279-e72cc8538d43" providerId="ADAL" clId="{952E53DB-5978-46BA-964C-5B55B87B6690}" dt="2021-08-16T19:25:00.999" v="5603"/>
          <ac:spMkLst>
            <pc:docMk/>
            <pc:sldMk cId="792728164" sldId="1391"/>
            <ac:spMk id="396" creationId="{82B7998C-70AB-4754-B846-B3E76E3B6A5F}"/>
          </ac:spMkLst>
        </pc:spChg>
        <pc:spChg chg="mod">
          <ac:chgData name="Disselhoff, Tim" userId="3b8b5473-7050-4f60-8279-e72cc8538d43" providerId="ADAL" clId="{952E53DB-5978-46BA-964C-5B55B87B6690}" dt="2021-08-16T19:25:00.993" v="5591"/>
          <ac:spMkLst>
            <pc:docMk/>
            <pc:sldMk cId="792728164" sldId="1391"/>
            <ac:spMk id="398" creationId="{DDBECA55-D3F9-4F90-9D46-539FDC82D0D1}"/>
          </ac:spMkLst>
        </pc:spChg>
        <pc:spChg chg="mod">
          <ac:chgData name="Disselhoff, Tim" userId="3b8b5473-7050-4f60-8279-e72cc8538d43" providerId="ADAL" clId="{952E53DB-5978-46BA-964C-5B55B87B6690}" dt="2021-08-16T19:25:00.993" v="5591"/>
          <ac:spMkLst>
            <pc:docMk/>
            <pc:sldMk cId="792728164" sldId="1391"/>
            <ac:spMk id="399" creationId="{1101CCFB-F19B-472B-B23E-0E7C51DD3D34}"/>
          </ac:spMkLst>
        </pc:spChg>
        <pc:spChg chg="mod">
          <ac:chgData name="Disselhoff, Tim" userId="3b8b5473-7050-4f60-8279-e72cc8538d43" providerId="ADAL" clId="{952E53DB-5978-46BA-964C-5B55B87B6690}" dt="2021-08-16T19:25:00.999" v="5603"/>
          <ac:spMkLst>
            <pc:docMk/>
            <pc:sldMk cId="792728164" sldId="1391"/>
            <ac:spMk id="401" creationId="{2F60057E-8559-4757-961C-B2FDE5D9641B}"/>
          </ac:spMkLst>
        </pc:spChg>
        <pc:spChg chg="mod">
          <ac:chgData name="Disselhoff, Tim" userId="3b8b5473-7050-4f60-8279-e72cc8538d43" providerId="ADAL" clId="{952E53DB-5978-46BA-964C-5B55B87B6690}" dt="2021-08-16T19:25:00.999" v="5603"/>
          <ac:spMkLst>
            <pc:docMk/>
            <pc:sldMk cId="792728164" sldId="1391"/>
            <ac:spMk id="402" creationId="{92C13A09-2A96-4B73-9156-DA915698E159}"/>
          </ac:spMkLst>
        </pc:spChg>
        <pc:spChg chg="mod">
          <ac:chgData name="Disselhoff, Tim" userId="3b8b5473-7050-4f60-8279-e72cc8538d43" providerId="ADAL" clId="{952E53DB-5978-46BA-964C-5B55B87B6690}" dt="2021-08-16T19:25:00.993" v="5591"/>
          <ac:spMkLst>
            <pc:docMk/>
            <pc:sldMk cId="792728164" sldId="1391"/>
            <ac:spMk id="404" creationId="{B4E8C00C-DC1A-461D-995C-2180FF0E3B41}"/>
          </ac:spMkLst>
        </pc:spChg>
        <pc:spChg chg="mod">
          <ac:chgData name="Disselhoff, Tim" userId="3b8b5473-7050-4f60-8279-e72cc8538d43" providerId="ADAL" clId="{952E53DB-5978-46BA-964C-5B55B87B6690}" dt="2021-08-16T19:25:00.993" v="5591"/>
          <ac:spMkLst>
            <pc:docMk/>
            <pc:sldMk cId="792728164" sldId="1391"/>
            <ac:spMk id="405" creationId="{625365F3-6F1F-4426-9883-92C06AB81542}"/>
          </ac:spMkLst>
        </pc:spChg>
        <pc:spChg chg="mod">
          <ac:chgData name="Disselhoff, Tim" userId="3b8b5473-7050-4f60-8279-e72cc8538d43" providerId="ADAL" clId="{952E53DB-5978-46BA-964C-5B55B87B6690}" dt="2021-08-16T19:25:00.996" v="5597"/>
          <ac:spMkLst>
            <pc:docMk/>
            <pc:sldMk cId="792728164" sldId="1391"/>
            <ac:spMk id="407" creationId="{44CDA1A2-2267-42F9-8749-BFF5C6072F20}"/>
          </ac:spMkLst>
        </pc:spChg>
        <pc:spChg chg="mod">
          <ac:chgData name="Disselhoff, Tim" userId="3b8b5473-7050-4f60-8279-e72cc8538d43" providerId="ADAL" clId="{952E53DB-5978-46BA-964C-5B55B87B6690}" dt="2021-08-16T19:25:00.996" v="5597"/>
          <ac:spMkLst>
            <pc:docMk/>
            <pc:sldMk cId="792728164" sldId="1391"/>
            <ac:spMk id="408" creationId="{E14305F8-5597-4608-9646-F200E3DF2E45}"/>
          </ac:spMkLst>
        </pc:spChg>
        <pc:spChg chg="mod">
          <ac:chgData name="Disselhoff, Tim" userId="3b8b5473-7050-4f60-8279-e72cc8538d43" providerId="ADAL" clId="{952E53DB-5978-46BA-964C-5B55B87B6690}" dt="2021-08-16T19:25:00.996" v="5597"/>
          <ac:spMkLst>
            <pc:docMk/>
            <pc:sldMk cId="792728164" sldId="1391"/>
            <ac:spMk id="410" creationId="{B299C615-AF30-4A24-A66E-7842F10C8A7F}"/>
          </ac:spMkLst>
        </pc:spChg>
        <pc:spChg chg="mod">
          <ac:chgData name="Disselhoff, Tim" userId="3b8b5473-7050-4f60-8279-e72cc8538d43" providerId="ADAL" clId="{952E53DB-5978-46BA-964C-5B55B87B6690}" dt="2021-08-16T19:25:00.996" v="5597"/>
          <ac:spMkLst>
            <pc:docMk/>
            <pc:sldMk cId="792728164" sldId="1391"/>
            <ac:spMk id="411" creationId="{923AC9D9-B296-4810-9B2A-92EE8B8B158F}"/>
          </ac:spMkLst>
        </pc:spChg>
        <pc:spChg chg="add mod ord">
          <ac:chgData name="Disselhoff, Tim" userId="3b8b5473-7050-4f60-8279-e72cc8538d43" providerId="ADAL" clId="{952E53DB-5978-46BA-964C-5B55B87B6690}" dt="2021-08-16T19:34:35.444" v="6573"/>
          <ac:spMkLst>
            <pc:docMk/>
            <pc:sldMk cId="792728164" sldId="1391"/>
            <ac:spMk id="412" creationId="{58AD9DD5-9FF5-49B7-910B-EC9F75F19A6F}"/>
          </ac:spMkLst>
        </pc:spChg>
        <pc:spChg chg="add del mod">
          <ac:chgData name="Disselhoff, Tim" userId="3b8b5473-7050-4f60-8279-e72cc8538d43" providerId="ADAL" clId="{952E53DB-5978-46BA-964C-5B55B87B6690}" dt="2021-08-17T08:26:34.514" v="6845" actId="478"/>
          <ac:spMkLst>
            <pc:docMk/>
            <pc:sldMk cId="792728164" sldId="1391"/>
            <ac:spMk id="420" creationId="{B7E61C55-B168-4FD1-9440-705B0A066DBB}"/>
          </ac:spMkLst>
        </pc:spChg>
        <pc:grpChg chg="mod ord">
          <ac:chgData name="Disselhoff, Tim" userId="3b8b5473-7050-4f60-8279-e72cc8538d43" providerId="ADAL" clId="{952E53DB-5978-46BA-964C-5B55B87B6690}" dt="2021-08-16T19:34:35.437" v="6549"/>
          <ac:grpSpMkLst>
            <pc:docMk/>
            <pc:sldMk cId="792728164" sldId="1391"/>
            <ac:grpSpMk id="6" creationId="{9A9D86E5-9626-4E70-AF5C-30CA856FBE14}"/>
          </ac:grpSpMkLst>
        </pc:grpChg>
        <pc:grpChg chg="mod ord">
          <ac:chgData name="Disselhoff, Tim" userId="3b8b5473-7050-4f60-8279-e72cc8538d43" providerId="ADAL" clId="{952E53DB-5978-46BA-964C-5B55B87B6690}" dt="2021-08-16T19:34:35.404" v="6464"/>
          <ac:grpSpMkLst>
            <pc:docMk/>
            <pc:sldMk cId="792728164" sldId="1391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6T19:34:35.405" v="6466"/>
          <ac:grpSpMkLst>
            <pc:docMk/>
            <pc:sldMk cId="792728164" sldId="1391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6T19:34:35.406" v="6468"/>
          <ac:grpSpMkLst>
            <pc:docMk/>
            <pc:sldMk cId="792728164" sldId="1391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6T19:34:35.409" v="6476"/>
          <ac:grpSpMkLst>
            <pc:docMk/>
            <pc:sldMk cId="792728164" sldId="1391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6T19:34:35.409" v="6478"/>
          <ac:grpSpMkLst>
            <pc:docMk/>
            <pc:sldMk cId="792728164" sldId="1391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6T19:34:35.410" v="6480"/>
          <ac:grpSpMkLst>
            <pc:docMk/>
            <pc:sldMk cId="792728164" sldId="1391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6T19:34:35.412" v="6484"/>
          <ac:grpSpMkLst>
            <pc:docMk/>
            <pc:sldMk cId="792728164" sldId="1391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6T19:34:35.412" v="6486"/>
          <ac:grpSpMkLst>
            <pc:docMk/>
            <pc:sldMk cId="792728164" sldId="1391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6T19:34:35.413" v="6488"/>
          <ac:grpSpMkLst>
            <pc:docMk/>
            <pc:sldMk cId="792728164" sldId="1391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6T19:34:35.432" v="6537"/>
          <ac:grpSpMkLst>
            <pc:docMk/>
            <pc:sldMk cId="792728164" sldId="1391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6T19:34:35.426" v="6524"/>
          <ac:grpSpMkLst>
            <pc:docMk/>
            <pc:sldMk cId="792728164" sldId="1391"/>
            <ac:grpSpMk id="40" creationId="{37AB0EBD-FC68-47BC-BCDE-00708884834E}"/>
          </ac:grpSpMkLst>
        </pc:grpChg>
        <pc:grpChg chg="add mod ord">
          <ac:chgData name="Disselhoff, Tim" userId="3b8b5473-7050-4f60-8279-e72cc8538d43" providerId="ADAL" clId="{952E53DB-5978-46BA-964C-5B55B87B6690}" dt="2021-08-16T19:34:35.434" v="6543"/>
          <ac:grpSpMkLst>
            <pc:docMk/>
            <pc:sldMk cId="792728164" sldId="1391"/>
            <ac:grpSpMk id="44" creationId="{0EEC5F23-7686-4B7A-B875-58992DC836A4}"/>
          </ac:grpSpMkLst>
        </pc:grpChg>
        <pc:grpChg chg="add mod ord">
          <ac:chgData name="Disselhoff, Tim" userId="3b8b5473-7050-4f60-8279-e72cc8538d43" providerId="ADAL" clId="{952E53DB-5978-46BA-964C-5B55B87B6690}" dt="2021-08-16T19:34:35.435" v="6545"/>
          <ac:grpSpMkLst>
            <pc:docMk/>
            <pc:sldMk cId="792728164" sldId="1391"/>
            <ac:grpSpMk id="45" creationId="{D763C554-807A-4160-9F4D-F734D7B85E01}"/>
          </ac:grpSpMkLst>
        </pc:grpChg>
        <pc:grpChg chg="add mod ord">
          <ac:chgData name="Disselhoff, Tim" userId="3b8b5473-7050-4f60-8279-e72cc8538d43" providerId="ADAL" clId="{952E53DB-5978-46BA-964C-5B55B87B6690}" dt="2021-08-16T19:34:35.436" v="6547"/>
          <ac:grpSpMkLst>
            <pc:docMk/>
            <pc:sldMk cId="792728164" sldId="1391"/>
            <ac:grpSpMk id="46" creationId="{562FB735-5A93-41F8-9251-D8A6E689378C}"/>
          </ac:grpSpMkLst>
        </pc:grpChg>
        <pc:grpChg chg="del mod">
          <ac:chgData name="Disselhoff, Tim" userId="3b8b5473-7050-4f60-8279-e72cc8538d43" providerId="ADAL" clId="{952E53DB-5978-46BA-964C-5B55B87B6690}" dt="2021-08-16T19:24:13.577" v="5544" actId="165"/>
          <ac:grpSpMkLst>
            <pc:docMk/>
            <pc:sldMk cId="792728164" sldId="1391"/>
            <ac:grpSpMk id="49" creationId="{DC529951-9179-4D42-B8EA-3ABBCAC7C924}"/>
          </ac:grpSpMkLst>
        </pc:grpChg>
        <pc:grpChg chg="add del mod">
          <ac:chgData name="Disselhoff, Tim" userId="3b8b5473-7050-4f60-8279-e72cc8538d43" providerId="ADAL" clId="{952E53DB-5978-46BA-964C-5B55B87B6690}" dt="2021-08-16T19:30:49.187" v="6138" actId="165"/>
          <ac:grpSpMkLst>
            <pc:docMk/>
            <pc:sldMk cId="792728164" sldId="1391"/>
            <ac:grpSpMk id="50" creationId="{8C66D8B3-5CAB-444E-8A41-6D909A41359C}"/>
          </ac:grpSpMkLst>
        </pc:grpChg>
        <pc:grpChg chg="add mod ord">
          <ac:chgData name="Disselhoff, Tim" userId="3b8b5473-7050-4f60-8279-e72cc8538d43" providerId="ADAL" clId="{952E53DB-5978-46BA-964C-5B55B87B6690}" dt="2021-08-16T19:34:35.437" v="6551"/>
          <ac:grpSpMkLst>
            <pc:docMk/>
            <pc:sldMk cId="792728164" sldId="1391"/>
            <ac:grpSpMk id="51" creationId="{956DF3ED-DEA7-4D8B-8AEC-52328FD80F7A}"/>
          </ac:grpSpMkLst>
        </pc:grpChg>
        <pc:grpChg chg="add mod ord">
          <ac:chgData name="Disselhoff, Tim" userId="3b8b5473-7050-4f60-8279-e72cc8538d43" providerId="ADAL" clId="{952E53DB-5978-46BA-964C-5B55B87B6690}" dt="2021-08-16T19:28:38.721" v="6115"/>
          <ac:grpSpMkLst>
            <pc:docMk/>
            <pc:sldMk cId="792728164" sldId="1391"/>
            <ac:grpSpMk id="362" creationId="{8B009D61-7265-42F3-98FB-7696D10119B7}"/>
          </ac:grpSpMkLst>
        </pc:grpChg>
        <pc:grpChg chg="mod ord topLvl">
          <ac:chgData name="Disselhoff, Tim" userId="3b8b5473-7050-4f60-8279-e72cc8538d43" providerId="ADAL" clId="{952E53DB-5978-46BA-964C-5B55B87B6690}" dt="2021-08-16T19:34:35.439" v="6555"/>
          <ac:grpSpMkLst>
            <pc:docMk/>
            <pc:sldMk cId="792728164" sldId="1391"/>
            <ac:grpSpMk id="366" creationId="{ADD1861F-955A-47C0-A199-B30FAF33822F}"/>
          </ac:grpSpMkLst>
        </pc:grpChg>
        <pc:grpChg chg="del mod ord">
          <ac:chgData name="Disselhoff, Tim" userId="3b8b5473-7050-4f60-8279-e72cc8538d43" providerId="ADAL" clId="{952E53DB-5978-46BA-964C-5B55B87B6690}" dt="2021-08-16T19:34:32.056" v="6450" actId="165"/>
          <ac:grpSpMkLst>
            <pc:docMk/>
            <pc:sldMk cId="792728164" sldId="1391"/>
            <ac:grpSpMk id="391" creationId="{E89B9E0C-9979-49E4-95FB-A34610C588E1}"/>
          </ac:grpSpMkLst>
        </pc:grpChg>
        <pc:grpChg chg="mod">
          <ac:chgData name="Disselhoff, Tim" userId="3b8b5473-7050-4f60-8279-e72cc8538d43" providerId="ADAL" clId="{952E53DB-5978-46BA-964C-5B55B87B6690}" dt="2021-08-16T19:25:00.999" v="5603"/>
          <ac:grpSpMkLst>
            <pc:docMk/>
            <pc:sldMk cId="792728164" sldId="1391"/>
            <ac:grpSpMk id="394" creationId="{1F94C9EB-E2BA-441D-A7F9-8C52556B2A85}"/>
          </ac:grpSpMkLst>
        </pc:grpChg>
        <pc:grpChg chg="mod">
          <ac:chgData name="Disselhoff, Tim" userId="3b8b5473-7050-4f60-8279-e72cc8538d43" providerId="ADAL" clId="{952E53DB-5978-46BA-964C-5B55B87B6690}" dt="2021-08-16T19:25:00.993" v="5591"/>
          <ac:grpSpMkLst>
            <pc:docMk/>
            <pc:sldMk cId="792728164" sldId="1391"/>
            <ac:grpSpMk id="397" creationId="{2D09B194-2FFE-484C-B9E9-7A74E13AD118}"/>
          </ac:grpSpMkLst>
        </pc:grpChg>
        <pc:grpChg chg="mod">
          <ac:chgData name="Disselhoff, Tim" userId="3b8b5473-7050-4f60-8279-e72cc8538d43" providerId="ADAL" clId="{952E53DB-5978-46BA-964C-5B55B87B6690}" dt="2021-08-16T19:25:00.999" v="5603"/>
          <ac:grpSpMkLst>
            <pc:docMk/>
            <pc:sldMk cId="792728164" sldId="1391"/>
            <ac:grpSpMk id="400" creationId="{226F00AD-1A7D-4541-BBBC-D6C50CF5BA49}"/>
          </ac:grpSpMkLst>
        </pc:grpChg>
        <pc:grpChg chg="mod">
          <ac:chgData name="Disselhoff, Tim" userId="3b8b5473-7050-4f60-8279-e72cc8538d43" providerId="ADAL" clId="{952E53DB-5978-46BA-964C-5B55B87B6690}" dt="2021-08-16T19:25:00.993" v="5591"/>
          <ac:grpSpMkLst>
            <pc:docMk/>
            <pc:sldMk cId="792728164" sldId="1391"/>
            <ac:grpSpMk id="403" creationId="{8BE8141B-4698-4D9B-8A80-571EF118DE98}"/>
          </ac:grpSpMkLst>
        </pc:grpChg>
        <pc:grpChg chg="mod">
          <ac:chgData name="Disselhoff, Tim" userId="3b8b5473-7050-4f60-8279-e72cc8538d43" providerId="ADAL" clId="{952E53DB-5978-46BA-964C-5B55B87B6690}" dt="2021-08-16T19:25:00.996" v="5597"/>
          <ac:grpSpMkLst>
            <pc:docMk/>
            <pc:sldMk cId="792728164" sldId="1391"/>
            <ac:grpSpMk id="406" creationId="{B50E1CB8-50D2-491A-A395-991E3C3E0B35}"/>
          </ac:grpSpMkLst>
        </pc:grpChg>
        <pc:grpChg chg="mod">
          <ac:chgData name="Disselhoff, Tim" userId="3b8b5473-7050-4f60-8279-e72cc8538d43" providerId="ADAL" clId="{952E53DB-5978-46BA-964C-5B55B87B6690}" dt="2021-08-16T19:25:00.996" v="5597"/>
          <ac:grpSpMkLst>
            <pc:docMk/>
            <pc:sldMk cId="792728164" sldId="1391"/>
            <ac:grpSpMk id="409" creationId="{FCC4E508-0AFD-4D0F-A6CE-E51EC7B084AD}"/>
          </ac:grpSpMkLst>
        </pc:grpChg>
        <pc:graphicFrameChg chg="mod">
          <ac:chgData name="Disselhoff, Tim" userId="3b8b5473-7050-4f60-8279-e72cc8538d43" providerId="ADAL" clId="{952E53DB-5978-46BA-964C-5B55B87B6690}" dt="2021-08-16T19:34:35.456" v="6589"/>
          <ac:graphicFrameMkLst>
            <pc:docMk/>
            <pc:sldMk cId="792728164" sldId="1391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8T08:31:29.171" v="8551" actId="1076"/>
          <ac:picMkLst>
            <pc:docMk/>
            <pc:sldMk cId="792728164" sldId="1391"/>
            <ac:picMk id="379" creationId="{7100A991-7A62-4038-B790-C800CC86B1E6}"/>
          </ac:picMkLst>
        </pc:picChg>
        <pc:picChg chg="mod ord">
          <ac:chgData name="Disselhoff, Tim" userId="3b8b5473-7050-4f60-8279-e72cc8538d43" providerId="ADAL" clId="{952E53DB-5978-46BA-964C-5B55B87B6690}" dt="2021-08-18T08:31:31.928" v="8552" actId="1076"/>
          <ac:picMkLst>
            <pc:docMk/>
            <pc:sldMk cId="792728164" sldId="1391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6T19:34:35.415" v="6492"/>
          <ac:cxnSpMkLst>
            <pc:docMk/>
            <pc:sldMk cId="792728164" sldId="1391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6T19:34:35.416" v="6494"/>
          <ac:cxnSpMkLst>
            <pc:docMk/>
            <pc:sldMk cId="792728164" sldId="1391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6T19:34:35.416" v="6496"/>
          <ac:cxnSpMkLst>
            <pc:docMk/>
            <pc:sldMk cId="792728164" sldId="1391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6T19:34:35.417" v="6498"/>
          <ac:cxnSpMkLst>
            <pc:docMk/>
            <pc:sldMk cId="792728164" sldId="1391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6T19:34:35.418" v="6500"/>
          <ac:cxnSpMkLst>
            <pc:docMk/>
            <pc:sldMk cId="792728164" sldId="1391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6T19:34:35.419" v="6502"/>
          <ac:cxnSpMkLst>
            <pc:docMk/>
            <pc:sldMk cId="792728164" sldId="1391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6T19:34:35.419" v="6504"/>
          <ac:cxnSpMkLst>
            <pc:docMk/>
            <pc:sldMk cId="792728164" sldId="1391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6T19:34:35.420" v="6506"/>
          <ac:cxnSpMkLst>
            <pc:docMk/>
            <pc:sldMk cId="792728164" sldId="1391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6T19:34:35.421" v="6508"/>
          <ac:cxnSpMkLst>
            <pc:docMk/>
            <pc:sldMk cId="792728164" sldId="1391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6T19:34:35.421" v="6510"/>
          <ac:cxnSpMkLst>
            <pc:docMk/>
            <pc:sldMk cId="792728164" sldId="1391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6T19:34:35.428" v="6530"/>
          <ac:cxnSpMkLst>
            <pc:docMk/>
            <pc:sldMk cId="792728164" sldId="1391"/>
            <ac:cxnSpMk id="43" creationId="{1AC0A2C5-4B94-40F9-88E2-D3C10215517A}"/>
          </ac:cxnSpMkLst>
        </pc:cxnChg>
        <pc:cxnChg chg="add mod ord">
          <ac:chgData name="Disselhoff, Tim" userId="3b8b5473-7050-4f60-8279-e72cc8538d43" providerId="ADAL" clId="{952E53DB-5978-46BA-964C-5B55B87B6690}" dt="2021-08-16T19:34:35.445" v="6575"/>
          <ac:cxnSpMkLst>
            <pc:docMk/>
            <pc:sldMk cId="792728164" sldId="1391"/>
            <ac:cxnSpMk id="53" creationId="{C8EA1E70-4CB8-43A4-824C-3F6475366CC3}"/>
          </ac:cxnSpMkLst>
        </pc:cxnChg>
        <pc:cxnChg chg="add mod ord">
          <ac:chgData name="Disselhoff, Tim" userId="3b8b5473-7050-4f60-8279-e72cc8538d43" providerId="ADAL" clId="{952E53DB-5978-46BA-964C-5B55B87B6690}" dt="2021-08-16T19:34:35.446" v="6577"/>
          <ac:cxnSpMkLst>
            <pc:docMk/>
            <pc:sldMk cId="792728164" sldId="1391"/>
            <ac:cxnSpMk id="413" creationId="{2245B7BA-355D-4691-ADE4-672443F3B559}"/>
          </ac:cxnSpMkLst>
        </pc:cxnChg>
        <pc:cxnChg chg="add mod ord">
          <ac:chgData name="Disselhoff, Tim" userId="3b8b5473-7050-4f60-8279-e72cc8538d43" providerId="ADAL" clId="{952E53DB-5978-46BA-964C-5B55B87B6690}" dt="2021-08-16T19:34:35.447" v="6579"/>
          <ac:cxnSpMkLst>
            <pc:docMk/>
            <pc:sldMk cId="792728164" sldId="1391"/>
            <ac:cxnSpMk id="414" creationId="{F904BE67-87E5-441D-94E7-534801CC16D8}"/>
          </ac:cxnSpMkLst>
        </pc:cxnChg>
        <pc:cxnChg chg="add mod ord">
          <ac:chgData name="Disselhoff, Tim" userId="3b8b5473-7050-4f60-8279-e72cc8538d43" providerId="ADAL" clId="{952E53DB-5978-46BA-964C-5B55B87B6690}" dt="2021-08-16T19:34:35.447" v="6581"/>
          <ac:cxnSpMkLst>
            <pc:docMk/>
            <pc:sldMk cId="792728164" sldId="1391"/>
            <ac:cxnSpMk id="415" creationId="{297676C3-DCEB-4D6E-8BE7-BE2E1C95DED2}"/>
          </ac:cxnSpMkLst>
        </pc:cxnChg>
        <pc:cxnChg chg="add mod ord">
          <ac:chgData name="Disselhoff, Tim" userId="3b8b5473-7050-4f60-8279-e72cc8538d43" providerId="ADAL" clId="{952E53DB-5978-46BA-964C-5B55B87B6690}" dt="2021-08-16T19:34:35.449" v="6585"/>
          <ac:cxnSpMkLst>
            <pc:docMk/>
            <pc:sldMk cId="792728164" sldId="1391"/>
            <ac:cxnSpMk id="416" creationId="{29D6F1F4-746A-4081-9B98-B26D983DFD46}"/>
          </ac:cxnSpMkLst>
        </pc:cxnChg>
        <pc:cxnChg chg="add mod">
          <ac:chgData name="Disselhoff, Tim" userId="3b8b5473-7050-4f60-8279-e72cc8538d43" providerId="ADAL" clId="{952E53DB-5978-46BA-964C-5B55B87B6690}" dt="2021-08-16T19:35:05.437" v="6595" actId="14100"/>
          <ac:cxnSpMkLst>
            <pc:docMk/>
            <pc:sldMk cId="792728164" sldId="1391"/>
            <ac:cxnSpMk id="417" creationId="{43BC2A5D-9F0C-40E1-8909-5D59EE2E5AE2}"/>
          </ac:cxnSpMkLst>
        </pc:cxnChg>
        <pc:cxnChg chg="add mod">
          <ac:chgData name="Disselhoff, Tim" userId="3b8b5473-7050-4f60-8279-e72cc8538d43" providerId="ADAL" clId="{952E53DB-5978-46BA-964C-5B55B87B6690}" dt="2021-08-16T19:35:14.432" v="6599" actId="14100"/>
          <ac:cxnSpMkLst>
            <pc:docMk/>
            <pc:sldMk cId="792728164" sldId="1391"/>
            <ac:cxnSpMk id="418" creationId="{0DF519AE-EA58-4965-B386-1F1919F3DB81}"/>
          </ac:cxnSpMkLst>
        </pc:cxnChg>
        <pc:cxnChg chg="add mod">
          <ac:chgData name="Disselhoff, Tim" userId="3b8b5473-7050-4f60-8279-e72cc8538d43" providerId="ADAL" clId="{952E53DB-5978-46BA-964C-5B55B87B6690}" dt="2021-08-16T19:35:25.163" v="6603" actId="14100"/>
          <ac:cxnSpMkLst>
            <pc:docMk/>
            <pc:sldMk cId="792728164" sldId="1391"/>
            <ac:cxnSpMk id="419" creationId="{88C8EF85-98D3-4F21-A348-A78664FC024C}"/>
          </ac:cxnSpMkLst>
        </pc:cxnChg>
      </pc:sldChg>
      <pc:sldChg chg="addSp delSp modSp new add mod ord">
        <pc:chgData name="Disselhoff, Tim" userId="3b8b5473-7050-4f60-8279-e72cc8538d43" providerId="ADAL" clId="{952E53DB-5978-46BA-964C-5B55B87B6690}" dt="2021-08-18T16:30:35.293" v="11452"/>
        <pc:sldMkLst>
          <pc:docMk/>
          <pc:sldMk cId="925981991" sldId="1392"/>
        </pc:sldMkLst>
        <pc:spChg chg="mod ord">
          <ac:chgData name="Disselhoff, Tim" userId="3b8b5473-7050-4f60-8279-e72cc8538d43" providerId="ADAL" clId="{952E53DB-5978-46BA-964C-5B55B87B6690}" dt="2021-08-17T09:28:26.827" v="8373"/>
          <ac:spMkLst>
            <pc:docMk/>
            <pc:sldMk cId="925981991" sldId="1392"/>
            <ac:spMk id="2" creationId="{1A62DA7D-F702-414C-995C-38EB30BE03EC}"/>
          </ac:spMkLst>
        </pc:spChg>
        <pc:spChg chg="mod ord">
          <ac:chgData name="Disselhoff, Tim" userId="3b8b5473-7050-4f60-8279-e72cc8538d43" providerId="ADAL" clId="{952E53DB-5978-46BA-964C-5B55B87B6690}" dt="2021-08-17T09:28:26.831" v="8375"/>
          <ac:spMkLst>
            <pc:docMk/>
            <pc:sldMk cId="925981991" sldId="1392"/>
            <ac:spMk id="3" creationId="{53BDDF1C-B8B3-4674-A7C7-965F0C5B4F58}"/>
          </ac:spMkLst>
        </pc:spChg>
        <pc:spChg chg="mod ord">
          <ac:chgData name="Disselhoff, Tim" userId="3b8b5473-7050-4f60-8279-e72cc8538d43" providerId="ADAL" clId="{952E53DB-5978-46BA-964C-5B55B87B6690}" dt="2021-08-17T09:28:26.835" v="8377"/>
          <ac:spMkLst>
            <pc:docMk/>
            <pc:sldMk cId="925981991" sldId="1392"/>
            <ac:spMk id="4" creationId="{E509D3B8-FECA-468D-AD8D-189F20C47FD2}"/>
          </ac:spMkLst>
        </pc:spChg>
        <pc:spChg chg="mod ord">
          <ac:chgData name="Disselhoff, Tim" userId="3b8b5473-7050-4f60-8279-e72cc8538d43" providerId="ADAL" clId="{952E53DB-5978-46BA-964C-5B55B87B6690}" dt="2021-08-17T09:28:26.840" v="8379"/>
          <ac:spMkLst>
            <pc:docMk/>
            <pc:sldMk cId="925981991" sldId="1392"/>
            <ac:spMk id="5" creationId="{400A61B4-75F2-4A31-8790-E85DE98FE3C4}"/>
          </ac:spMkLst>
        </pc:spChg>
        <pc:spChg chg="add del mod ord">
          <ac:chgData name="Disselhoff, Tim" userId="3b8b5473-7050-4f60-8279-e72cc8538d43" providerId="ADAL" clId="{952E53DB-5978-46BA-964C-5B55B87B6690}" dt="2021-08-17T08:53:57.231" v="7679" actId="478"/>
          <ac:spMkLst>
            <pc:docMk/>
            <pc:sldMk cId="925981991" sldId="1392"/>
            <ac:spMk id="6" creationId="{6788561D-FF2C-40DB-8E0E-8A02C145E542}"/>
          </ac:spMkLst>
        </pc:spChg>
        <pc:spChg chg="add del mod ord">
          <ac:chgData name="Disselhoff, Tim" userId="3b8b5473-7050-4f60-8279-e72cc8538d43" providerId="ADAL" clId="{952E53DB-5978-46BA-964C-5B55B87B6690}" dt="2021-08-17T08:58:51.476" v="7842" actId="478"/>
          <ac:spMkLst>
            <pc:docMk/>
            <pc:sldMk cId="925981991" sldId="1392"/>
            <ac:spMk id="7" creationId="{1F4544D9-92A1-49DA-9DDA-AC251B563411}"/>
          </ac:spMkLst>
        </pc:spChg>
        <pc:spChg chg="add del mod">
          <ac:chgData name="Disselhoff, Tim" userId="3b8b5473-7050-4f60-8279-e72cc8538d43" providerId="ADAL" clId="{952E53DB-5978-46BA-964C-5B55B87B6690}" dt="2021-08-17T08:39:22.892" v="6897"/>
          <ac:spMkLst>
            <pc:docMk/>
            <pc:sldMk cId="925981991" sldId="1392"/>
            <ac:spMk id="8" creationId="{DFB1C166-331E-4AD6-AB3F-8633C57D238C}"/>
          </ac:spMkLst>
        </pc:spChg>
        <pc:spChg chg="del mod topLvl">
          <ac:chgData name="Disselhoff, Tim" userId="3b8b5473-7050-4f60-8279-e72cc8538d43" providerId="ADAL" clId="{952E53DB-5978-46BA-964C-5B55B87B6690}" dt="2021-08-17T08:39:31.177" v="6899" actId="478"/>
          <ac:spMkLst>
            <pc:docMk/>
            <pc:sldMk cId="925981991" sldId="1392"/>
            <ac:spMk id="11" creationId="{CD8C81DF-5DB9-4627-9E25-431349E4FAE3}"/>
          </ac:spMkLst>
        </pc:spChg>
        <pc:spChg chg="mod ord topLvl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12" creationId="{8DFEE520-95CB-4291-9CD9-2F642601E704}"/>
          </ac:spMkLst>
        </pc:spChg>
        <pc:spChg chg="mod ord topLvl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13" creationId="{9AC01976-33AD-4455-A7F8-631404AF3EF6}"/>
          </ac:spMkLst>
        </pc:spChg>
        <pc:spChg chg="del mod ord topLvl">
          <ac:chgData name="Disselhoff, Tim" userId="3b8b5473-7050-4f60-8279-e72cc8538d43" providerId="ADAL" clId="{952E53DB-5978-46BA-964C-5B55B87B6690}" dt="2021-08-17T08:58:51.476" v="7842" actId="478"/>
          <ac:spMkLst>
            <pc:docMk/>
            <pc:sldMk cId="925981991" sldId="1392"/>
            <ac:spMk id="16" creationId="{8C3EF2B2-2271-4A37-9539-70DDCE1897EF}"/>
          </ac:spMkLst>
        </pc:spChg>
        <pc:spChg chg="del mod ord topLvl">
          <ac:chgData name="Disselhoff, Tim" userId="3b8b5473-7050-4f60-8279-e72cc8538d43" providerId="ADAL" clId="{952E53DB-5978-46BA-964C-5B55B87B6690}" dt="2021-08-17T08:47:26.751" v="7509" actId="478"/>
          <ac:spMkLst>
            <pc:docMk/>
            <pc:sldMk cId="925981991" sldId="1392"/>
            <ac:spMk id="17" creationId="{5C131B38-12EA-477C-84B1-0C6B188C8E0D}"/>
          </ac:spMkLst>
        </pc:spChg>
        <pc:spChg chg="mod ord topLvl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19" creationId="{B2500A0A-CE86-4961-97AA-E117AAB14F55}"/>
          </ac:spMkLst>
        </pc:spChg>
        <pc:spChg chg="mod ord topLvl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20" creationId="{3D8D360A-1DDB-448B-ABC8-E62376D841E0}"/>
          </ac:spMkLst>
        </pc:spChg>
        <pc:spChg chg="del mod ord topLvl">
          <ac:chgData name="Disselhoff, Tim" userId="3b8b5473-7050-4f60-8279-e72cc8538d43" providerId="ADAL" clId="{952E53DB-5978-46BA-964C-5B55B87B6690}" dt="2021-08-17T08:53:55.231" v="7678" actId="478"/>
          <ac:spMkLst>
            <pc:docMk/>
            <pc:sldMk cId="925981991" sldId="1392"/>
            <ac:spMk id="22" creationId="{E871DB71-E955-45D7-A0AB-C1F5BFE6357D}"/>
          </ac:spMkLst>
        </pc:spChg>
        <pc:spChg chg="del mod ord topLvl">
          <ac:chgData name="Disselhoff, Tim" userId="3b8b5473-7050-4f60-8279-e72cc8538d43" providerId="ADAL" clId="{952E53DB-5978-46BA-964C-5B55B87B6690}" dt="2021-08-17T08:57:56.929" v="7832" actId="478"/>
          <ac:spMkLst>
            <pc:docMk/>
            <pc:sldMk cId="925981991" sldId="1392"/>
            <ac:spMk id="23" creationId="{39363DD8-3618-43D6-A88A-FB1DA1C42266}"/>
          </ac:spMkLst>
        </pc:spChg>
        <pc:spChg chg="mod ord topLvl">
          <ac:chgData name="Disselhoff, Tim" userId="3b8b5473-7050-4f60-8279-e72cc8538d43" providerId="ADAL" clId="{952E53DB-5978-46BA-964C-5B55B87B6690}" dt="2021-08-17T08:45:53.277" v="7458"/>
          <ac:spMkLst>
            <pc:docMk/>
            <pc:sldMk cId="925981991" sldId="1392"/>
            <ac:spMk id="25" creationId="{A0247EF7-F5DD-41BD-8379-F8EEF7038760}"/>
          </ac:spMkLst>
        </pc:spChg>
        <pc:spChg chg="mod ord topLvl">
          <ac:chgData name="Disselhoff, Tim" userId="3b8b5473-7050-4f60-8279-e72cc8538d43" providerId="ADAL" clId="{952E53DB-5978-46BA-964C-5B55B87B6690}" dt="2021-08-17T08:45:53.277" v="7458"/>
          <ac:spMkLst>
            <pc:docMk/>
            <pc:sldMk cId="925981991" sldId="1392"/>
            <ac:spMk id="26" creationId="{F4392485-0845-4529-8997-468B62316A33}"/>
          </ac:spMkLst>
        </pc:spChg>
        <pc:spChg chg="mod ord topLvl">
          <ac:chgData name="Disselhoff, Tim" userId="3b8b5473-7050-4f60-8279-e72cc8538d43" providerId="ADAL" clId="{952E53DB-5978-46BA-964C-5B55B87B6690}" dt="2021-08-17T08:43:31.879" v="7377"/>
          <ac:spMkLst>
            <pc:docMk/>
            <pc:sldMk cId="925981991" sldId="1392"/>
            <ac:spMk id="28" creationId="{823A3227-DDF6-46BA-AC0B-216237FF0AA5}"/>
          </ac:spMkLst>
        </pc:spChg>
        <pc:spChg chg="add del mod ord topLvl">
          <ac:chgData name="Disselhoff, Tim" userId="3b8b5473-7050-4f60-8279-e72cc8538d43" providerId="ADAL" clId="{952E53DB-5978-46BA-964C-5B55B87B6690}" dt="2021-08-17T08:43:31.879" v="7377"/>
          <ac:spMkLst>
            <pc:docMk/>
            <pc:sldMk cId="925981991" sldId="1392"/>
            <ac:spMk id="29" creationId="{A71C932C-3BFF-419A-8436-7FB484B6F4DA}"/>
          </ac:spMkLst>
        </pc:spChg>
        <pc:spChg chg="add del mod ord">
          <ac:chgData name="Disselhoff, Tim" userId="3b8b5473-7050-4f60-8279-e72cc8538d43" providerId="ADAL" clId="{952E53DB-5978-46BA-964C-5B55B87B6690}" dt="2021-08-17T08:43:26.335" v="7362"/>
          <ac:spMkLst>
            <pc:docMk/>
            <pc:sldMk cId="925981991" sldId="1392"/>
            <ac:spMk id="30" creationId="{C94DAF1E-3381-43D2-8AFC-CE3FD8E8F5D3}"/>
          </ac:spMkLst>
        </pc:spChg>
        <pc:spChg chg="mod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32" creationId="{E204EE0C-8673-418F-B127-E29708CA5911}"/>
          </ac:spMkLst>
        </pc:spChg>
        <pc:spChg chg="mod">
          <ac:chgData name="Disselhoff, Tim" userId="3b8b5473-7050-4f60-8279-e72cc8538d43" providerId="ADAL" clId="{952E53DB-5978-46BA-964C-5B55B87B6690}" dt="2021-08-17T08:46:02.125" v="7459"/>
          <ac:spMkLst>
            <pc:docMk/>
            <pc:sldMk cId="925981991" sldId="1392"/>
            <ac:spMk id="33" creationId="{DF177662-FE77-4028-B93B-13DEA57E47AB}"/>
          </ac:spMkLst>
        </pc:spChg>
        <pc:spChg chg="del mod ord topLvl">
          <ac:chgData name="Disselhoff, Tim" userId="3b8b5473-7050-4f60-8279-e72cc8538d43" providerId="ADAL" clId="{952E53DB-5978-46BA-964C-5B55B87B6690}" dt="2021-08-17T08:48:31.347" v="7565"/>
          <ac:spMkLst>
            <pc:docMk/>
            <pc:sldMk cId="925981991" sldId="1392"/>
            <ac:spMk id="35" creationId="{8204849F-83D2-4633-A58F-5645354D4AB6}"/>
          </ac:spMkLst>
        </pc:spChg>
        <pc:spChg chg="del mod topLvl">
          <ac:chgData name="Disselhoff, Tim" userId="3b8b5473-7050-4f60-8279-e72cc8538d43" providerId="ADAL" clId="{952E53DB-5978-46BA-964C-5B55B87B6690}" dt="2021-08-17T08:46:28.020" v="7463" actId="478"/>
          <ac:spMkLst>
            <pc:docMk/>
            <pc:sldMk cId="925981991" sldId="1392"/>
            <ac:spMk id="36" creationId="{01E68550-F333-4BF5-AB34-3DCE7AA1DBA3}"/>
          </ac:spMkLst>
        </pc:spChg>
        <pc:spChg chg="del mod ord topLvl">
          <ac:chgData name="Disselhoff, Tim" userId="3b8b5473-7050-4f60-8279-e72cc8538d43" providerId="ADAL" clId="{952E53DB-5978-46BA-964C-5B55B87B6690}" dt="2021-08-17T08:48:31.347" v="7565"/>
          <ac:spMkLst>
            <pc:docMk/>
            <pc:sldMk cId="925981991" sldId="1392"/>
            <ac:spMk id="38" creationId="{5A166235-FFDE-4603-97EC-A873EB1CBC35}"/>
          </ac:spMkLst>
        </pc:spChg>
        <pc:spChg chg="del mod topLvl">
          <ac:chgData name="Disselhoff, Tim" userId="3b8b5473-7050-4f60-8279-e72cc8538d43" providerId="ADAL" clId="{952E53DB-5978-46BA-964C-5B55B87B6690}" dt="2021-08-17T08:46:25.294" v="7462" actId="478"/>
          <ac:spMkLst>
            <pc:docMk/>
            <pc:sldMk cId="925981991" sldId="1392"/>
            <ac:spMk id="39" creationId="{1705EB50-886E-4CD0-9A48-BB4D2E4B8CA5}"/>
          </ac:spMkLst>
        </pc:spChg>
        <pc:spChg chg="del mod">
          <ac:chgData name="Disselhoff, Tim" userId="3b8b5473-7050-4f60-8279-e72cc8538d43" providerId="ADAL" clId="{952E53DB-5978-46BA-964C-5B55B87B6690}" dt="2021-08-17T08:58:51.476" v="7842" actId="478"/>
          <ac:spMkLst>
            <pc:docMk/>
            <pc:sldMk cId="925981991" sldId="1392"/>
            <ac:spMk id="40" creationId="{61FACF64-9672-457A-8725-FF9FEB7B18E4}"/>
          </ac:spMkLst>
        </pc:spChg>
        <pc:spChg chg="add del mod">
          <ac:chgData name="Disselhoff, Tim" userId="3b8b5473-7050-4f60-8279-e72cc8538d43" providerId="ADAL" clId="{952E53DB-5978-46BA-964C-5B55B87B6690}" dt="2021-08-17T08:52:09.347" v="7640" actId="478"/>
          <ac:spMkLst>
            <pc:docMk/>
            <pc:sldMk cId="925981991" sldId="1392"/>
            <ac:spMk id="41" creationId="{99E91EC6-A98A-407A-AFA7-226FEA4A2804}"/>
          </ac:spMkLst>
        </pc:spChg>
        <pc:spChg chg="add 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2" creationId="{944DE1DD-49CB-475F-8480-A0E2CD46291A}"/>
          </ac:spMkLst>
        </pc:spChg>
        <pc:spChg chg="add 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3" creationId="{34D5071A-8AA9-4D95-A5DD-F28E1F549464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4" creationId="{86117ACD-3B2B-4365-867D-E6214BF0FF28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5" creationId="{CE9DF211-55D3-49A5-92E3-640A19147E04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6" creationId="{D6172AF4-5739-42A3-8DDF-00DD3E1FB266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7" creationId="{BE3A7346-FCF5-44B5-8C6A-EFA6DE5601FA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8" creationId="{62D470E9-CAAA-4D71-B58E-0865149A1473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49" creationId="{350AF9ED-8D2B-4DC7-B260-F406766387AC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0" creationId="{5AF5A7A7-30ED-4B94-942C-2B08553D66D6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1" creationId="{3F5BBFDF-9E28-417B-BD66-AC4A0AF80293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2" creationId="{F4B5C616-D419-42B6-B29F-A7BE596ED88A}"/>
          </ac:spMkLst>
        </pc:spChg>
        <pc:spChg chg="add 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3" creationId="{ED32261F-0029-45A3-9EBB-E82DB63B99C3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7" creationId="{2DB17DDC-6273-4DDF-A490-5258BD8A6530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8" creationId="{A91D1F05-45F8-4444-A33C-C2C19593AF7F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59" creationId="{87B4005C-A28C-4127-B93A-EFD303ED7A69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0" creationId="{31F97E44-D9EA-481A-B4AE-4871D8861416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1" creationId="{D5E14A22-E617-4BFC-AE8C-CB369691373B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2" creationId="{D9044577-B1A0-427F-95A3-CAFB6EABD175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3" creationId="{C26DDD81-EECE-4CF3-BAD0-88DD6702DDA9}"/>
          </ac:spMkLst>
        </pc:spChg>
        <pc:spChg chg="mod topLvl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4" creationId="{B68DCB17-1070-4983-90C6-97557B31FD18}"/>
          </ac:spMkLst>
        </pc:spChg>
        <pc:spChg chg="add 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69" creationId="{56BFFF02-3747-47AC-AB24-071906B0D31A}"/>
          </ac:spMkLst>
        </pc:spChg>
        <pc:spChg chg="add 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0" creationId="{D8CD817A-8384-4EBB-976A-A5462CD9FAD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2" creationId="{A8CEE927-08FB-4483-A9ED-26AAC840315D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3" creationId="{655E7C69-D88D-473A-9DF8-CE5CBDF249B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4" creationId="{DF0DE88A-E8BA-4385-B4DE-84C87C59D48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5" creationId="{C29BAC5E-689A-4496-BAC1-E1C5B5BF4F5C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6" creationId="{5D946DE7-C966-490C-9AC5-97E54A5FA05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77" creationId="{4C8D9A30-D125-4C28-9626-EE63A830C633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81" creationId="{1B75BD41-8DA9-4118-B3F3-4CEBDFDB03A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82" creationId="{69EE38F8-99F7-425D-8A96-C68E8F02F5F8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83" creationId="{B4B37C17-8534-4A40-A65C-847C27F22E03}"/>
          </ac:spMkLst>
        </pc:spChg>
        <pc:spChg chg="mod">
          <ac:chgData name="Disselhoff, Tim" userId="3b8b5473-7050-4f60-8279-e72cc8538d43" providerId="ADAL" clId="{952E53DB-5978-46BA-964C-5B55B87B6690}" dt="2021-08-17T09:15:46.298" v="8151" actId="1076"/>
          <ac:spMkLst>
            <pc:docMk/>
            <pc:sldMk cId="925981991" sldId="1392"/>
            <ac:spMk id="85" creationId="{77718084-8AA7-42FF-B23F-9119E486FC7E}"/>
          </ac:spMkLst>
        </pc:spChg>
        <pc:spChg chg="mod">
          <ac:chgData name="Disselhoff, Tim" userId="3b8b5473-7050-4f60-8279-e72cc8538d43" providerId="ADAL" clId="{952E53DB-5978-46BA-964C-5B55B87B6690}" dt="2021-08-17T09:15:46.298" v="8151" actId="1076"/>
          <ac:spMkLst>
            <pc:docMk/>
            <pc:sldMk cId="925981991" sldId="1392"/>
            <ac:spMk id="86" creationId="{E23E77F6-67CD-4518-A05E-7B94AE062F16}"/>
          </ac:spMkLst>
        </pc:spChg>
        <pc:spChg chg="mod">
          <ac:chgData name="Disselhoff, Tim" userId="3b8b5473-7050-4f60-8279-e72cc8538d43" providerId="ADAL" clId="{952E53DB-5978-46BA-964C-5B55B87B6690}" dt="2021-08-17T09:15:46.298" v="8151" actId="1076"/>
          <ac:spMkLst>
            <pc:docMk/>
            <pc:sldMk cId="925981991" sldId="1392"/>
            <ac:spMk id="87" creationId="{9B993357-EDF5-4D9E-A87C-718A500933D4}"/>
          </ac:spMkLst>
        </pc:spChg>
        <pc:spChg chg="mod">
          <ac:chgData name="Disselhoff, Tim" userId="3b8b5473-7050-4f60-8279-e72cc8538d43" providerId="ADAL" clId="{952E53DB-5978-46BA-964C-5B55B87B6690}" dt="2021-08-17T09:15:46.298" v="8151" actId="1076"/>
          <ac:spMkLst>
            <pc:docMk/>
            <pc:sldMk cId="925981991" sldId="1392"/>
            <ac:spMk id="88" creationId="{0CB694B7-E727-4773-825C-B21D83973EF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0" creationId="{36C86358-B395-4EE0-9C88-8B330A2DF193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1" creationId="{44A53B0E-38FF-4AB5-AA78-33D9B4319E4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2" creationId="{BD9055FA-2FAD-4F13-8C06-67E914AA456B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3" creationId="{EA0F71FB-D94E-4FEA-848F-68B4DCEA141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4" creationId="{A9CA6422-ECD2-4CC9-B659-A42B71A3EDE6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5" creationId="{A55B2778-DC73-4EF1-9D71-1B3FACE3451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6" creationId="{1FAF39A6-7E0F-45CE-AB5E-0894B46A351F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7" creationId="{C48303D7-3CBE-4CC5-8786-E5966BA2753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8" creationId="{2C3C7792-64C6-4368-B8B6-851A25F4EB9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99" creationId="{2A7EED95-80DE-49B4-B39F-59CD41C02ED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0" creationId="{9BEDA4E8-1542-4C63-9D9A-CD5988ECE0FC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1" creationId="{F0AD83FC-088D-44E1-A054-C37113F290E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2" creationId="{F423C92F-AA3F-4ED7-8455-1C8948CA4AEC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3" creationId="{FDDB6377-258C-40FC-81FE-DC80B389F243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4" creationId="{9AEB4E1F-DB2A-4200-AE36-75AB8BF5784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5" creationId="{81F475DA-452D-4BF5-9AB7-31FA19F0A7C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6" creationId="{94BA1CE3-7EF3-4A1E-ADFA-B039DE21502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7" creationId="{00F47315-F950-41A3-A1B0-01C422AE91F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8" creationId="{27056743-81E4-4FBD-9932-BD5415E8CC49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09" creationId="{3CA075C3-600A-4BC6-8C41-741E9570772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0" creationId="{ABC66AD6-B4BC-4282-9470-E0016CA2B3B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1" creationId="{9C8E73E4-FC1B-4109-9327-1ACF1C923E2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2" creationId="{AF2E3D7C-ACBB-491B-A46A-762CD99C30BF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3" creationId="{DA530B64-2B41-41A1-B426-2D4C60285D70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4" creationId="{15DFF7D1-2CC7-43CA-BD11-FDA70DDB7DF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5" creationId="{9A5E6850-B7A2-4A1E-90CC-ED28958A643C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6" creationId="{B009B4F2-9343-4BD9-9F5C-9F537F731D7E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7" creationId="{3E4E67A0-259B-4B6A-ABBA-42F362F6222D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8" creationId="{D49A4AA6-2AED-4649-9172-5F646C21A11F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19" creationId="{0A9319D8-F48A-454E-9398-31361C76F890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0" creationId="{FA7D2BD4-8F52-42A6-AA34-95D9C7D024CC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1" creationId="{BE42FE67-A0CD-40E7-BAD6-EFD759200310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2" creationId="{A3876F0F-1291-4FED-BDA0-FD9EE770498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3" creationId="{59909FC0-11E8-48BC-A723-67D9B0AF83B3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4" creationId="{89E7D8C3-4F3F-4CC3-9ABF-9F324F0AF310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5" creationId="{1A01C7F7-97EC-4103-8B86-242A2F6D5496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6" creationId="{9E1D6D23-3B09-4D24-8301-44CEB5976920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8" creationId="{AE4EA64E-0407-403C-A903-4779892F5D6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29" creationId="{5E3F5175-1EA7-4E87-BB98-FF0D4777F49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0" creationId="{D3213DC5-0519-4F6D-BC0B-F82D96820C07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1" creationId="{C3CD030C-A55A-4434-8122-0CD3386076C1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2" creationId="{5A0D9312-B2A9-44BC-91FB-79EE9A4898F6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3" creationId="{7B4B8A47-20AB-4431-9679-728CC138BFB5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4" creationId="{380A83CE-8785-47B7-BEAC-8904F99B4DD8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5" creationId="{3CC209FF-E8F0-45BA-A220-81022539BFBB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6" creationId="{1FC2E4A7-B871-485F-869D-B11E2A1801A2}"/>
          </ac:spMkLst>
        </pc:spChg>
        <pc:spChg chg="mo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7" creationId="{322E5630-BDF1-410C-ACC3-9F200F4187C6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8" creationId="{4D982056-B0E6-4811-B9A6-5656C3FA9533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39" creationId="{F4261252-7CA8-4B56-A49E-91CD295E5288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40" creationId="{788CA0CD-1120-4499-8702-74FDA9F234AB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41" creationId="{3BC8B8B4-0AEA-4AD9-8E3E-8AEE90C5A842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42" creationId="{CC3C2550-25F3-42CB-A3CF-61690D2F4CF6}"/>
          </ac:spMkLst>
        </pc:spChg>
        <pc:spChg chg="add mod ord">
          <ac:chgData name="Disselhoff, Tim" userId="3b8b5473-7050-4f60-8279-e72cc8538d43" providerId="ADAL" clId="{952E53DB-5978-46BA-964C-5B55B87B6690}" dt="2021-08-17T09:37:37.183" v="8418" actId="1076"/>
          <ac:spMkLst>
            <pc:docMk/>
            <pc:sldMk cId="925981991" sldId="1392"/>
            <ac:spMk id="143" creationId="{88A06886-BD95-4A5D-A582-0226F07ECF1B}"/>
          </ac:spMkLst>
        </pc:spChg>
        <pc:grpChg chg="add del mod">
          <ac:chgData name="Disselhoff, Tim" userId="3b8b5473-7050-4f60-8279-e72cc8538d43" providerId="ADAL" clId="{952E53DB-5978-46BA-964C-5B55B87B6690}" dt="2021-08-17T08:39:31.177" v="6899" actId="478"/>
          <ac:grpSpMkLst>
            <pc:docMk/>
            <pc:sldMk cId="925981991" sldId="1392"/>
            <ac:grpSpMk id="9" creationId="{3A746128-A4A2-4EEA-A362-8388863AA83D}"/>
          </ac:grpSpMkLst>
        </pc:grpChg>
        <pc:grpChg chg="add del mod ord topLvl">
          <ac:chgData name="Disselhoff, Tim" userId="3b8b5473-7050-4f60-8279-e72cc8538d43" providerId="ADAL" clId="{952E53DB-5978-46BA-964C-5B55B87B6690}" dt="2021-08-17T08:58:51.476" v="7842" actId="478"/>
          <ac:grpSpMkLst>
            <pc:docMk/>
            <pc:sldMk cId="925981991" sldId="1392"/>
            <ac:grpSpMk id="10" creationId="{C7E6CB82-816F-4002-BC5B-FEBF02E4AF13}"/>
          </ac:grpSpMkLst>
        </pc:grpChg>
        <pc:grpChg chg="add del mod ord">
          <ac:chgData name="Disselhoff, Tim" userId="3b8b5473-7050-4f60-8279-e72cc8538d43" providerId="ADAL" clId="{952E53DB-5978-46BA-964C-5B55B87B6690}" dt="2021-08-17T08:47:26.751" v="7509" actId="478"/>
          <ac:grpSpMkLst>
            <pc:docMk/>
            <pc:sldMk cId="925981991" sldId="1392"/>
            <ac:grpSpMk id="15" creationId="{0329206D-EE64-44AA-A2BF-74C3EF39D00A}"/>
          </ac:grpSpMkLst>
        </pc:grpChg>
        <pc:grpChg chg="add del mod ord">
          <ac:chgData name="Disselhoff, Tim" userId="3b8b5473-7050-4f60-8279-e72cc8538d43" providerId="ADAL" clId="{952E53DB-5978-46BA-964C-5B55B87B6690}" dt="2021-08-17T08:57:55.033" v="7831" actId="478"/>
          <ac:grpSpMkLst>
            <pc:docMk/>
            <pc:sldMk cId="925981991" sldId="1392"/>
            <ac:grpSpMk id="18" creationId="{939EE7EC-7A9F-4060-8278-1B821D4AF4A3}"/>
          </ac:grpSpMkLst>
        </pc:grpChg>
        <pc:grpChg chg="add del mod ord">
          <ac:chgData name="Disselhoff, Tim" userId="3b8b5473-7050-4f60-8279-e72cc8538d43" providerId="ADAL" clId="{952E53DB-5978-46BA-964C-5B55B87B6690}" dt="2021-08-17T08:47:31.755" v="7510" actId="165"/>
          <ac:grpSpMkLst>
            <pc:docMk/>
            <pc:sldMk cId="925981991" sldId="1392"/>
            <ac:grpSpMk id="21" creationId="{23CFBE92-1611-4CCA-ACCA-F06EC817F1CF}"/>
          </ac:grpSpMkLst>
        </pc:grpChg>
        <pc:grpChg chg="add del mod ord">
          <ac:chgData name="Disselhoff, Tim" userId="3b8b5473-7050-4f60-8279-e72cc8538d43" providerId="ADAL" clId="{952E53DB-5978-46BA-964C-5B55B87B6690}" dt="2021-08-17T08:58:51.476" v="7842" actId="478"/>
          <ac:grpSpMkLst>
            <pc:docMk/>
            <pc:sldMk cId="925981991" sldId="1392"/>
            <ac:grpSpMk id="24" creationId="{7F64D4F5-E852-44AA-B47C-64B42749FC89}"/>
          </ac:grpSpMkLst>
        </pc:grpChg>
        <pc:grpChg chg="add del mod">
          <ac:chgData name="Disselhoff, Tim" userId="3b8b5473-7050-4f60-8279-e72cc8538d43" providerId="ADAL" clId="{952E53DB-5978-46BA-964C-5B55B87B6690}" dt="2021-08-17T08:43:32.318" v="7378"/>
          <ac:grpSpMkLst>
            <pc:docMk/>
            <pc:sldMk cId="925981991" sldId="1392"/>
            <ac:grpSpMk id="27" creationId="{66AA83BC-646F-4D53-BA46-ABDA13934875}"/>
          </ac:grpSpMkLst>
        </pc:grpChg>
        <pc:grpChg chg="add del mod ord">
          <ac:chgData name="Disselhoff, Tim" userId="3b8b5473-7050-4f60-8279-e72cc8538d43" providerId="ADAL" clId="{952E53DB-5978-46BA-964C-5B55B87B6690}" dt="2021-08-17T08:53:53.487" v="7677" actId="478"/>
          <ac:grpSpMkLst>
            <pc:docMk/>
            <pc:sldMk cId="925981991" sldId="1392"/>
            <ac:grpSpMk id="31" creationId="{EC173A14-63C9-4A70-8246-24550C086479}"/>
          </ac:grpSpMkLst>
        </pc:grpChg>
        <pc:grpChg chg="add del mod">
          <ac:chgData name="Disselhoff, Tim" userId="3b8b5473-7050-4f60-8279-e72cc8538d43" providerId="ADAL" clId="{952E53DB-5978-46BA-964C-5B55B87B6690}" dt="2021-08-17T08:46:28.020" v="7463" actId="478"/>
          <ac:grpSpMkLst>
            <pc:docMk/>
            <pc:sldMk cId="925981991" sldId="1392"/>
            <ac:grpSpMk id="34" creationId="{8B4F08F5-8C49-4953-9716-EB09A1CF8053}"/>
          </ac:grpSpMkLst>
        </pc:grpChg>
        <pc:grpChg chg="add del mod">
          <ac:chgData name="Disselhoff, Tim" userId="3b8b5473-7050-4f60-8279-e72cc8538d43" providerId="ADAL" clId="{952E53DB-5978-46BA-964C-5B55B87B6690}" dt="2021-08-17T08:46:25.294" v="7462" actId="478"/>
          <ac:grpSpMkLst>
            <pc:docMk/>
            <pc:sldMk cId="925981991" sldId="1392"/>
            <ac:grpSpMk id="37" creationId="{C64A159B-2D1E-4E84-BC02-141F31759463}"/>
          </ac:grpSpMkLst>
        </pc:grpChg>
        <pc:grpChg chg="add del mod">
          <ac:chgData name="Disselhoff, Tim" userId="3b8b5473-7050-4f60-8279-e72cc8538d43" providerId="ADAL" clId="{952E53DB-5978-46BA-964C-5B55B87B6690}" dt="2021-08-17T08:59:19.703" v="7849" actId="165"/>
          <ac:grpSpMkLst>
            <pc:docMk/>
            <pc:sldMk cId="925981991" sldId="1392"/>
            <ac:grpSpMk id="54" creationId="{569FAF49-F910-453A-86E9-06A9F4209728}"/>
          </ac:grpSpMkLst>
        </pc:grpChg>
        <pc:grpChg chg="add del mod">
          <ac:chgData name="Disselhoff, Tim" userId="3b8b5473-7050-4f60-8279-e72cc8538d43" providerId="ADAL" clId="{952E53DB-5978-46BA-964C-5B55B87B6690}" dt="2021-08-17T09:01:36.804" v="7998" actId="165"/>
          <ac:grpSpMkLst>
            <pc:docMk/>
            <pc:sldMk cId="925981991" sldId="1392"/>
            <ac:grpSpMk id="55" creationId="{61F9ECF9-81EC-4E86-A3A2-9638D35A8279}"/>
          </ac:grpSpMkLst>
        </pc:grpChg>
        <pc:grpChg chg="add del mod">
          <ac:chgData name="Disselhoff, Tim" userId="3b8b5473-7050-4f60-8279-e72cc8538d43" providerId="ADAL" clId="{952E53DB-5978-46BA-964C-5B55B87B6690}" dt="2021-08-17T09:01:09.261" v="7996" actId="165"/>
          <ac:grpSpMkLst>
            <pc:docMk/>
            <pc:sldMk cId="925981991" sldId="1392"/>
            <ac:grpSpMk id="56" creationId="{8C6DF0A5-2367-4CC9-B8A5-474C86651B82}"/>
          </ac:grpSpMkLst>
        </pc:grpChg>
        <pc:grpChg chg="add del mod">
          <ac:chgData name="Disselhoff, Tim" userId="3b8b5473-7050-4f60-8279-e72cc8538d43" providerId="ADAL" clId="{952E53DB-5978-46BA-964C-5B55B87B6690}" dt="2021-08-17T09:02:51.727" v="8059" actId="165"/>
          <ac:grpSpMkLst>
            <pc:docMk/>
            <pc:sldMk cId="925981991" sldId="1392"/>
            <ac:grpSpMk id="65" creationId="{9251BE1E-3BE4-4E26-8F67-2B39BF311E52}"/>
          </ac:grpSpMkLst>
        </pc:grpChg>
        <pc:grpChg chg="add del mod">
          <ac:chgData name="Disselhoff, Tim" userId="3b8b5473-7050-4f60-8279-e72cc8538d43" providerId="ADAL" clId="{952E53DB-5978-46BA-964C-5B55B87B6690}" dt="2021-08-17T09:02:51.727" v="8059" actId="165"/>
          <ac:grpSpMkLst>
            <pc:docMk/>
            <pc:sldMk cId="925981991" sldId="1392"/>
            <ac:grpSpMk id="66" creationId="{DE468A53-E5A9-4876-8C78-EC087DB5CCF8}"/>
          </ac:grpSpMkLst>
        </pc:grpChg>
        <pc:grpChg chg="add del mod">
          <ac:chgData name="Disselhoff, Tim" userId="3b8b5473-7050-4f60-8279-e72cc8538d43" providerId="ADAL" clId="{952E53DB-5978-46BA-964C-5B55B87B6690}" dt="2021-08-17T09:02:51.727" v="8059" actId="165"/>
          <ac:grpSpMkLst>
            <pc:docMk/>
            <pc:sldMk cId="925981991" sldId="1392"/>
            <ac:grpSpMk id="67" creationId="{724BB418-8CAC-4C32-95DD-965A44B7FC8B}"/>
          </ac:grpSpMkLst>
        </pc:grpChg>
        <pc:grpChg chg="add del mod">
          <ac:chgData name="Disselhoff, Tim" userId="3b8b5473-7050-4f60-8279-e72cc8538d43" providerId="ADAL" clId="{952E53DB-5978-46BA-964C-5B55B87B6690}" dt="2021-08-17T09:02:51.727" v="8059" actId="165"/>
          <ac:grpSpMkLst>
            <pc:docMk/>
            <pc:sldMk cId="925981991" sldId="1392"/>
            <ac:grpSpMk id="68" creationId="{8908225F-77DD-4370-9909-3DC372D3A9E1}"/>
          </ac:grpSpMkLst>
        </pc:grpChg>
        <pc:grpChg chg="add mod">
          <ac:chgData name="Disselhoff, Tim" userId="3b8b5473-7050-4f60-8279-e72cc8538d43" providerId="ADAL" clId="{952E53DB-5978-46BA-964C-5B55B87B6690}" dt="2021-08-17T09:37:37.183" v="8418" actId="1076"/>
          <ac:grpSpMkLst>
            <pc:docMk/>
            <pc:sldMk cId="925981991" sldId="1392"/>
            <ac:grpSpMk id="71" creationId="{4F906989-964A-4C99-922A-18ED585960CD}"/>
          </ac:grpSpMkLst>
        </pc:grpChg>
        <pc:grpChg chg="add mod">
          <ac:chgData name="Disselhoff, Tim" userId="3b8b5473-7050-4f60-8279-e72cc8538d43" providerId="ADAL" clId="{952E53DB-5978-46BA-964C-5B55B87B6690}" dt="2021-08-17T09:14:46.846" v="8142" actId="164"/>
          <ac:grpSpMkLst>
            <pc:docMk/>
            <pc:sldMk cId="925981991" sldId="1392"/>
            <ac:grpSpMk id="78" creationId="{59DC23AD-93BF-4B9C-802A-6CDEBF96B685}"/>
          </ac:grpSpMkLst>
        </pc:grpChg>
        <pc:grpChg chg="add mod ord">
          <ac:chgData name="Disselhoff, Tim" userId="3b8b5473-7050-4f60-8279-e72cc8538d43" providerId="ADAL" clId="{952E53DB-5978-46BA-964C-5B55B87B6690}" dt="2021-08-17T09:37:37.183" v="8418" actId="1076"/>
          <ac:grpSpMkLst>
            <pc:docMk/>
            <pc:sldMk cId="925981991" sldId="1392"/>
            <ac:grpSpMk id="79" creationId="{9F4FCC0C-6317-462B-A6D3-D461EA557474}"/>
          </ac:grpSpMkLst>
        </pc:grpChg>
        <pc:grpChg chg="add mod">
          <ac:chgData name="Disselhoff, Tim" userId="3b8b5473-7050-4f60-8279-e72cc8538d43" providerId="ADAL" clId="{952E53DB-5978-46BA-964C-5B55B87B6690}" dt="2021-08-17T09:37:37.183" v="8418" actId="1076"/>
          <ac:grpSpMkLst>
            <pc:docMk/>
            <pc:sldMk cId="925981991" sldId="1392"/>
            <ac:grpSpMk id="80" creationId="{F71DB95E-0108-4703-9A30-8776B476BEDD}"/>
          </ac:grpSpMkLst>
        </pc:grpChg>
        <pc:grpChg chg="add del mod">
          <ac:chgData name="Disselhoff, Tim" userId="3b8b5473-7050-4f60-8279-e72cc8538d43" providerId="ADAL" clId="{952E53DB-5978-46BA-964C-5B55B87B6690}" dt="2021-08-17T09:25:17.675" v="8162" actId="478"/>
          <ac:grpSpMkLst>
            <pc:docMk/>
            <pc:sldMk cId="925981991" sldId="1392"/>
            <ac:grpSpMk id="84" creationId="{AD5E0C82-B99F-48F4-818E-DAB835BC5BF6}"/>
          </ac:grpSpMkLst>
        </pc:grpChg>
        <pc:grpChg chg="add mod">
          <ac:chgData name="Disselhoff, Tim" userId="3b8b5473-7050-4f60-8279-e72cc8538d43" providerId="ADAL" clId="{952E53DB-5978-46BA-964C-5B55B87B6690}" dt="2021-08-17T09:37:37.183" v="8418" actId="1076"/>
          <ac:grpSpMkLst>
            <pc:docMk/>
            <pc:sldMk cId="925981991" sldId="1392"/>
            <ac:grpSpMk id="89" creationId="{B8C79277-A5A4-4402-9F6D-7BA309B6C717}"/>
          </ac:grpSpMkLst>
        </pc:grpChg>
        <pc:grpChg chg="add mod ord">
          <ac:chgData name="Disselhoff, Tim" userId="3b8b5473-7050-4f60-8279-e72cc8538d43" providerId="ADAL" clId="{952E53DB-5978-46BA-964C-5B55B87B6690}" dt="2021-08-17T09:37:37.183" v="8418" actId="1076"/>
          <ac:grpSpMkLst>
            <pc:docMk/>
            <pc:sldMk cId="925981991" sldId="1392"/>
            <ac:grpSpMk id="127" creationId="{5D01737F-CD78-47C2-B2A8-6EB1E9D04B84}"/>
          </ac:grpSpMkLst>
        </pc:grpChg>
        <pc:graphicFrameChg chg="add mod ord modVis">
          <ac:chgData name="Disselhoff, Tim" userId="3b8b5473-7050-4f60-8279-e72cc8538d43" providerId="ADAL" clId="{952E53DB-5978-46BA-964C-5B55B87B6690}" dt="2021-08-17T09:28:26.882" v="8394"/>
          <ac:graphicFrameMkLst>
            <pc:docMk/>
            <pc:sldMk cId="925981991" sldId="1392"/>
            <ac:graphicFrameMk id="14" creationId="{3BCDD2FE-1BE1-4A57-A782-55E541846A37}"/>
          </ac:graphicFrameMkLst>
        </pc:graphicFrameChg>
      </pc:sldChg>
      <pc:sldChg chg="addSp delSp modSp add del mod modNotes">
        <pc:chgData name="Disselhoff, Tim" userId="3b8b5473-7050-4f60-8279-e72cc8538d43" providerId="ADAL" clId="{952E53DB-5978-46BA-964C-5B55B87B6690}" dt="2021-08-17T08:13:13.517" v="6736" actId="47"/>
        <pc:sldMkLst>
          <pc:docMk/>
          <pc:sldMk cId="1082532009" sldId="1392"/>
        </pc:sldMkLst>
        <pc:spChg chg="mod">
          <ac:chgData name="Disselhoff, Tim" userId="3b8b5473-7050-4f60-8279-e72cc8538d43" providerId="ADAL" clId="{952E53DB-5978-46BA-964C-5B55B87B6690}" dt="2021-08-16T19:25:24.923" v="5636" actId="790"/>
          <ac:spMkLst>
            <pc:docMk/>
            <pc:sldMk cId="1082532009" sldId="1392"/>
            <ac:spMk id="2" creationId="{4AFCD8A2-C900-4946-8B50-12E7652EE270}"/>
          </ac:spMkLst>
        </pc:spChg>
        <pc:spChg chg="del">
          <ac:chgData name="Disselhoff, Tim" userId="3b8b5473-7050-4f60-8279-e72cc8538d43" providerId="ADAL" clId="{952E53DB-5978-46BA-964C-5B55B87B6690}" dt="2021-08-16T19:25:24.576" v="5608"/>
          <ac:spMkLst>
            <pc:docMk/>
            <pc:sldMk cId="1082532009" sldId="1392"/>
            <ac:spMk id="22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25:24.577" v="5610"/>
          <ac:spMkLst>
            <pc:docMk/>
            <pc:sldMk cId="1082532009" sldId="1392"/>
            <ac:spMk id="23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25:24.581" v="5626"/>
          <ac:spMkLst>
            <pc:docMk/>
            <pc:sldMk cId="1082532009" sldId="1392"/>
            <ac:spMk id="38" creationId="{6EAB6FC0-DE6E-4824-BD1B-16D95D649639}"/>
          </ac:spMkLst>
        </pc:spChg>
        <pc:spChg chg="mod topLvl">
          <ac:chgData name="Disselhoff, Tim" userId="3b8b5473-7050-4f60-8279-e72cc8538d43" providerId="ADAL" clId="{952E53DB-5978-46BA-964C-5B55B87B6690}" dt="2021-08-16T19:25:45.053" v="5664" actId="164"/>
          <ac:spMkLst>
            <pc:docMk/>
            <pc:sldMk cId="1082532009" sldId="1392"/>
            <ac:spMk id="40" creationId="{67647AC0-8F25-40D8-BC9D-4691B8C310C9}"/>
          </ac:spMkLst>
        </pc:spChg>
        <pc:spChg chg="mod topLvl">
          <ac:chgData name="Disselhoff, Tim" userId="3b8b5473-7050-4f60-8279-e72cc8538d43" providerId="ADAL" clId="{952E53DB-5978-46BA-964C-5B55B87B6690}" dt="2021-08-16T19:25:45.053" v="5664" actId="164"/>
          <ac:spMkLst>
            <pc:docMk/>
            <pc:sldMk cId="1082532009" sldId="1392"/>
            <ac:spMk id="41" creationId="{A94203CF-F002-4172-97C3-341C2E7168B9}"/>
          </ac:spMkLst>
        </pc:spChg>
        <pc:spChg chg="mod topLvl">
          <ac:chgData name="Disselhoff, Tim" userId="3b8b5473-7050-4f60-8279-e72cc8538d43" providerId="ADAL" clId="{952E53DB-5978-46BA-964C-5B55B87B6690}" dt="2021-08-16T19:25:24.926" v="5639" actId="790"/>
          <ac:spMkLst>
            <pc:docMk/>
            <pc:sldMk cId="1082532009" sldId="1392"/>
            <ac:spMk id="42" creationId="{617B4939-8BCB-4B13-B055-9CFDE12197F9}"/>
          </ac:spMkLst>
        </pc:spChg>
        <pc:spChg chg="mod topLvl">
          <ac:chgData name="Disselhoff, Tim" userId="3b8b5473-7050-4f60-8279-e72cc8538d43" providerId="ADAL" clId="{952E53DB-5978-46BA-964C-5B55B87B6690}" dt="2021-08-16T19:25:24.926" v="5640" actId="790"/>
          <ac:spMkLst>
            <pc:docMk/>
            <pc:sldMk cId="1082532009" sldId="1392"/>
            <ac:spMk id="43" creationId="{E100AE14-175F-43A3-A7D6-69C6A74368E1}"/>
          </ac:spMkLst>
        </pc:spChg>
        <pc:spChg chg="mod topLvl">
          <ac:chgData name="Disselhoff, Tim" userId="3b8b5473-7050-4f60-8279-e72cc8538d43" providerId="ADAL" clId="{952E53DB-5978-46BA-964C-5B55B87B6690}" dt="2021-08-16T19:25:24.936" v="5641" actId="790"/>
          <ac:spMkLst>
            <pc:docMk/>
            <pc:sldMk cId="1082532009" sldId="1392"/>
            <ac:spMk id="44" creationId="{9FE499D2-2F86-466A-AAB9-D27952C1F137}"/>
          </ac:spMkLst>
        </pc:spChg>
        <pc:spChg chg="mod topLvl">
          <ac:chgData name="Disselhoff, Tim" userId="3b8b5473-7050-4f60-8279-e72cc8538d43" providerId="ADAL" clId="{952E53DB-5978-46BA-964C-5B55B87B6690}" dt="2021-08-16T19:25:24.975" v="5658" actId="790"/>
          <ac:spMkLst>
            <pc:docMk/>
            <pc:sldMk cId="1082532009" sldId="1392"/>
            <ac:spMk id="49" creationId="{E1A8FF66-2D28-47DF-B527-0CB5A3FDCE1A}"/>
          </ac:spMkLst>
        </pc:spChg>
        <pc:spChg chg="mod">
          <ac:chgData name="Disselhoff, Tim" userId="3b8b5473-7050-4f60-8279-e72cc8538d43" providerId="ADAL" clId="{952E53DB-5978-46BA-964C-5B55B87B6690}" dt="2021-08-16T19:25:24.965" v="5654" actId="790"/>
          <ac:spMkLst>
            <pc:docMk/>
            <pc:sldMk cId="1082532009" sldId="1392"/>
            <ac:spMk id="51" creationId="{B9B5114E-9DB3-4E8A-B582-BE494BB3E965}"/>
          </ac:spMkLst>
        </pc:spChg>
        <pc:spChg chg="mod">
          <ac:chgData name="Disselhoff, Tim" userId="3b8b5473-7050-4f60-8279-e72cc8538d43" providerId="ADAL" clId="{952E53DB-5978-46BA-964C-5B55B87B6690}" dt="2021-08-16T19:25:24.973" v="5657" actId="790"/>
          <ac:spMkLst>
            <pc:docMk/>
            <pc:sldMk cId="1082532009" sldId="1392"/>
            <ac:spMk id="57" creationId="{702D953E-C29D-4EC0-BCCB-CA39D9684808}"/>
          </ac:spMkLst>
        </pc:spChg>
        <pc:spChg chg="mod">
          <ac:chgData name="Disselhoff, Tim" userId="3b8b5473-7050-4f60-8279-e72cc8538d43" providerId="ADAL" clId="{952E53DB-5978-46BA-964C-5B55B87B6690}" dt="2021-08-16T19:25:24.966" v="5655" actId="790"/>
          <ac:spMkLst>
            <pc:docMk/>
            <pc:sldMk cId="1082532009" sldId="1392"/>
            <ac:spMk id="58" creationId="{51C7EA77-36BA-4578-93D7-448FD08569FE}"/>
          </ac:spMkLst>
        </pc:spChg>
        <pc:spChg chg="mod">
          <ac:chgData name="Disselhoff, Tim" userId="3b8b5473-7050-4f60-8279-e72cc8538d43" providerId="ADAL" clId="{952E53DB-5978-46BA-964C-5B55B87B6690}" dt="2021-08-16T19:25:24.967" v="5656" actId="790"/>
          <ac:spMkLst>
            <pc:docMk/>
            <pc:sldMk cId="1082532009" sldId="1392"/>
            <ac:spMk id="59" creationId="{E406C780-3F86-4EE3-AED3-63B65A6CAD2D}"/>
          </ac:spMkLst>
        </pc:spChg>
        <pc:spChg chg="mod">
          <ac:chgData name="Disselhoff, Tim" userId="3b8b5473-7050-4f60-8279-e72cc8538d43" providerId="ADAL" clId="{952E53DB-5978-46BA-964C-5B55B87B6690}" dt="2021-08-16T19:25:24.963" v="5652" actId="790"/>
          <ac:spMkLst>
            <pc:docMk/>
            <pc:sldMk cId="1082532009" sldId="1392"/>
            <ac:spMk id="64" creationId="{CE230D41-FBFC-4454-ACEE-5DC64E1FCC61}"/>
          </ac:spMkLst>
        </pc:spChg>
        <pc:spChg chg="mod">
          <ac:chgData name="Disselhoff, Tim" userId="3b8b5473-7050-4f60-8279-e72cc8538d43" providerId="ADAL" clId="{952E53DB-5978-46BA-964C-5B55B87B6690}" dt="2021-08-16T19:25:24.964" v="5653" actId="790"/>
          <ac:spMkLst>
            <pc:docMk/>
            <pc:sldMk cId="1082532009" sldId="1392"/>
            <ac:spMk id="65" creationId="{904AFE38-B1F3-47B0-854C-A75056E85758}"/>
          </ac:spMkLst>
        </pc:spChg>
        <pc:spChg chg="mod">
          <ac:chgData name="Disselhoff, Tim" userId="3b8b5473-7050-4f60-8279-e72cc8538d43" providerId="ADAL" clId="{952E53DB-5978-46BA-964C-5B55B87B6690}" dt="2021-08-16T19:25:24.957" v="5650" actId="790"/>
          <ac:spMkLst>
            <pc:docMk/>
            <pc:sldMk cId="1082532009" sldId="1392"/>
            <ac:spMk id="66" creationId="{C90FD586-2C37-47F6-8051-D61795C9B959}"/>
          </ac:spMkLst>
        </pc:spChg>
        <pc:spChg chg="mod">
          <ac:chgData name="Disselhoff, Tim" userId="3b8b5473-7050-4f60-8279-e72cc8538d43" providerId="ADAL" clId="{952E53DB-5978-46BA-964C-5B55B87B6690}" dt="2021-08-16T19:25:24.958" v="5651" actId="790"/>
          <ac:spMkLst>
            <pc:docMk/>
            <pc:sldMk cId="1082532009" sldId="1392"/>
            <ac:spMk id="67" creationId="{4A468A1B-9D45-44F0-B1FC-8A1036C8E0D3}"/>
          </ac:spMkLst>
        </pc:spChg>
        <pc:spChg chg="mod">
          <ac:chgData name="Disselhoff, Tim" userId="3b8b5473-7050-4f60-8279-e72cc8538d43" providerId="ADAL" clId="{952E53DB-5978-46BA-964C-5B55B87B6690}" dt="2021-08-16T19:25:24.948" v="5646" actId="790"/>
          <ac:spMkLst>
            <pc:docMk/>
            <pc:sldMk cId="1082532009" sldId="1392"/>
            <ac:spMk id="69" creationId="{58EBF0A4-1170-419B-B3EE-48434711D113}"/>
          </ac:spMkLst>
        </pc:spChg>
        <pc:spChg chg="mod">
          <ac:chgData name="Disselhoff, Tim" userId="3b8b5473-7050-4f60-8279-e72cc8538d43" providerId="ADAL" clId="{952E53DB-5978-46BA-964C-5B55B87B6690}" dt="2021-08-16T19:25:24.956" v="5649" actId="790"/>
          <ac:spMkLst>
            <pc:docMk/>
            <pc:sldMk cId="1082532009" sldId="1392"/>
            <ac:spMk id="71" creationId="{DFFCA605-7345-42CF-AB11-9523EA21E61A}"/>
          </ac:spMkLst>
        </pc:spChg>
        <pc:spChg chg="mod">
          <ac:chgData name="Disselhoff, Tim" userId="3b8b5473-7050-4f60-8279-e72cc8538d43" providerId="ADAL" clId="{952E53DB-5978-46BA-964C-5B55B87B6690}" dt="2021-08-16T19:25:24.948" v="5647" actId="790"/>
          <ac:spMkLst>
            <pc:docMk/>
            <pc:sldMk cId="1082532009" sldId="1392"/>
            <ac:spMk id="72" creationId="{5BC7E756-0073-42AC-82D5-C4E875E4F176}"/>
          </ac:spMkLst>
        </pc:spChg>
        <pc:spChg chg="mod">
          <ac:chgData name="Disselhoff, Tim" userId="3b8b5473-7050-4f60-8279-e72cc8538d43" providerId="ADAL" clId="{952E53DB-5978-46BA-964C-5B55B87B6690}" dt="2021-08-16T19:25:24.949" v="5648" actId="790"/>
          <ac:spMkLst>
            <pc:docMk/>
            <pc:sldMk cId="1082532009" sldId="1392"/>
            <ac:spMk id="73" creationId="{905425D0-1B6A-4E36-8EF9-691A77E1FEE1}"/>
          </ac:spMkLst>
        </pc:spChg>
        <pc:spChg chg="mod">
          <ac:chgData name="Disselhoff, Tim" userId="3b8b5473-7050-4f60-8279-e72cc8538d43" providerId="ADAL" clId="{952E53DB-5978-46BA-964C-5B55B87B6690}" dt="2021-08-16T19:25:24.941" v="5644" actId="790"/>
          <ac:spMkLst>
            <pc:docMk/>
            <pc:sldMk cId="1082532009" sldId="1392"/>
            <ac:spMk id="76" creationId="{5447795A-E31C-4DC7-ABB2-33175DFB650B}"/>
          </ac:spMkLst>
        </pc:spChg>
        <pc:spChg chg="mod">
          <ac:chgData name="Disselhoff, Tim" userId="3b8b5473-7050-4f60-8279-e72cc8538d43" providerId="ADAL" clId="{952E53DB-5978-46BA-964C-5B55B87B6690}" dt="2021-08-16T19:25:24.947" v="5645" actId="790"/>
          <ac:spMkLst>
            <pc:docMk/>
            <pc:sldMk cId="1082532009" sldId="1392"/>
            <ac:spMk id="77" creationId="{FBF15A76-186E-42FC-BADA-E3C237320CF6}"/>
          </ac:spMkLst>
        </pc:spChg>
        <pc:spChg chg="mod">
          <ac:chgData name="Disselhoff, Tim" userId="3b8b5473-7050-4f60-8279-e72cc8538d43" providerId="ADAL" clId="{952E53DB-5978-46BA-964C-5B55B87B6690}" dt="2021-08-16T19:25:24.938" v="5642" actId="790"/>
          <ac:spMkLst>
            <pc:docMk/>
            <pc:sldMk cId="1082532009" sldId="1392"/>
            <ac:spMk id="78" creationId="{EF561CD3-9A9A-404F-B97F-4F5D7D4736CB}"/>
          </ac:spMkLst>
        </pc:spChg>
        <pc:spChg chg="mod">
          <ac:chgData name="Disselhoff, Tim" userId="3b8b5473-7050-4f60-8279-e72cc8538d43" providerId="ADAL" clId="{952E53DB-5978-46BA-964C-5B55B87B6690}" dt="2021-08-16T19:25:24.939" v="5643" actId="790"/>
          <ac:spMkLst>
            <pc:docMk/>
            <pc:sldMk cId="1082532009" sldId="1392"/>
            <ac:spMk id="79" creationId="{D9C1211C-7061-426C-8423-94F31FF756B9}"/>
          </ac:spMkLst>
        </pc:spChg>
        <pc:spChg chg="add mod">
          <ac:chgData name="Disselhoff, Tim" userId="3b8b5473-7050-4f60-8279-e72cc8538d43" providerId="ADAL" clId="{952E53DB-5978-46BA-964C-5B55B87B6690}" dt="2021-08-16T19:25:33.606" v="5663" actId="1076"/>
          <ac:spMkLst>
            <pc:docMk/>
            <pc:sldMk cId="1082532009" sldId="1392"/>
            <ac:spMk id="80" creationId="{AA8F9D73-B2BD-4875-8FC0-1E12AF4861CF}"/>
          </ac:spMkLst>
        </pc:spChg>
        <pc:spChg chg="del">
          <ac:chgData name="Disselhoff, Tim" userId="3b8b5473-7050-4f60-8279-e72cc8538d43" providerId="ADAL" clId="{952E53DB-5978-46BA-964C-5B55B87B6690}" dt="2021-08-16T19:25:24.577" v="5612"/>
          <ac:spMkLst>
            <pc:docMk/>
            <pc:sldMk cId="1082532009" sldId="1392"/>
            <ac:spMk id="130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25:24.578" v="5614"/>
          <ac:spMkLst>
            <pc:docMk/>
            <pc:sldMk cId="1082532009" sldId="1392"/>
            <ac:spMk id="131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6T19:25:24.578" v="5616"/>
          <ac:spMkLst>
            <pc:docMk/>
            <pc:sldMk cId="1082532009" sldId="1392"/>
            <ac:spMk id="164" creationId="{00000000-0000-0000-0000-000000000000}"/>
          </ac:spMkLst>
        </pc:spChg>
        <pc:grpChg chg="add mod">
          <ac:chgData name="Disselhoff, Tim" userId="3b8b5473-7050-4f60-8279-e72cc8538d43" providerId="ADAL" clId="{952E53DB-5978-46BA-964C-5B55B87B6690}" dt="2021-08-16T19:25:45.053" v="5664" actId="164"/>
          <ac:grpSpMkLst>
            <pc:docMk/>
            <pc:sldMk cId="1082532009" sldId="1392"/>
            <ac:grpSpMk id="3" creationId="{5D7C1F3F-F7E1-4FEC-9BBB-73BADEE18FEE}"/>
          </ac:grpSpMkLst>
        </pc:grpChg>
        <pc:grpChg chg="del">
          <ac:chgData name="Disselhoff, Tim" userId="3b8b5473-7050-4f60-8279-e72cc8538d43" providerId="ADAL" clId="{952E53DB-5978-46BA-964C-5B55B87B6690}" dt="2021-08-16T19:25:24.579" v="5618"/>
          <ac:grpSpMkLst>
            <pc:docMk/>
            <pc:sldMk cId="1082532009" sldId="1392"/>
            <ac:grpSpMk id="18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9:25:24.580" v="5620"/>
          <ac:grpSpMkLst>
            <pc:docMk/>
            <pc:sldMk cId="1082532009" sldId="1392"/>
            <ac:grpSpMk id="19" creationId="{00000000-0000-0000-0000-000000000000}"/>
          </ac:grpSpMkLst>
        </pc:grpChg>
        <pc:grpChg chg="add del 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39" creationId="{AF18AF33-DB2B-4878-AC46-6DAD7FE60F3F}"/>
          </ac:grpSpMkLst>
        </pc:grpChg>
        <pc:grpChg chg="mod topLvl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45" creationId="{856CFD70-9793-4B41-98B6-ABBB7649652C}"/>
          </ac:grpSpMkLst>
        </pc:grpChg>
        <pc:grpChg chg="mod topLvl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46" creationId="{D7E63902-F235-4F45-BFEE-0AD8202AFADA}"/>
          </ac:grpSpMkLst>
        </pc:grpChg>
        <pc:grpChg chg="mod topLvl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47" creationId="{62A24B84-1F44-4FC6-8A3B-16BE8F6CC6F4}"/>
          </ac:grpSpMkLst>
        </pc:grpChg>
        <pc:grpChg chg="mod topLvl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48" creationId="{463D4A78-0AD6-4ECE-8A5A-C2186B7C62C9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52" creationId="{E09E5083-F964-4DFD-9C8F-4EE1CC737D01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56" creationId="{8DA5FBD0-BB06-41E7-9BF6-7E5DD1D4EE18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62" creationId="{7764B961-F628-4F54-9AA9-13C692030028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63" creationId="{EDCC8C5A-6243-4842-B214-963B46AC590E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70" creationId="{D825EF16-86FE-4C93-884F-42966DDAA1CC}"/>
          </ac:grpSpMkLst>
        </pc:grpChg>
        <pc:grpChg chg="mod">
          <ac:chgData name="Disselhoff, Tim" userId="3b8b5473-7050-4f60-8279-e72cc8538d43" providerId="ADAL" clId="{952E53DB-5978-46BA-964C-5B55B87B6690}" dt="2021-08-16T19:25:24.601" v="5634"/>
          <ac:grpSpMkLst>
            <pc:docMk/>
            <pc:sldMk cId="1082532009" sldId="1392"/>
            <ac:grpSpMk id="74" creationId="{6E08712B-43D7-42A9-9234-54D18C6D2BEB}"/>
          </ac:grpSpMkLst>
        </pc:grpChg>
        <pc:grpChg chg="del">
          <ac:chgData name="Disselhoff, Tim" userId="3b8b5473-7050-4f60-8279-e72cc8538d43" providerId="ADAL" clId="{952E53DB-5978-46BA-964C-5B55B87B6690}" dt="2021-08-16T19:25:24.581" v="5624"/>
          <ac:grpSpMkLst>
            <pc:docMk/>
            <pc:sldMk cId="1082532009" sldId="1392"/>
            <ac:grpSpMk id="224" creationId="{00000000-0000-0000-0000-000000000000}"/>
          </ac:grpSpMkLst>
        </pc:grpChg>
        <pc:grpChg chg="del">
          <ac:chgData name="Disselhoff, Tim" userId="3b8b5473-7050-4f60-8279-e72cc8538d43" providerId="ADAL" clId="{952E53DB-5978-46BA-964C-5B55B87B6690}" dt="2021-08-16T19:25:24.580" v="5622"/>
          <ac:grpSpMkLst>
            <pc:docMk/>
            <pc:sldMk cId="1082532009" sldId="1392"/>
            <ac:grpSpMk id="225" creationId="{00000000-0000-0000-0000-000000000000}"/>
          </ac:grpSpMkLst>
        </pc:grpChg>
        <pc:cxnChg chg="mod">
          <ac:chgData name="Disselhoff, Tim" userId="3b8b5473-7050-4f60-8279-e72cc8538d43" providerId="ADAL" clId="{952E53DB-5978-46BA-964C-5B55B87B6690}" dt="2021-08-16T19:25:24.579" v="5617" actId="478"/>
          <ac:cxnSpMkLst>
            <pc:docMk/>
            <pc:sldMk cId="1082532009" sldId="1392"/>
            <ac:cxnSpMk id="26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6T19:25:24.601" v="5634"/>
          <ac:cxnSpMkLst>
            <pc:docMk/>
            <pc:sldMk cId="1082532009" sldId="1392"/>
            <ac:cxnSpMk id="50" creationId="{A39D757D-F945-4E9A-8024-0007963EAF26}"/>
          </ac:cxnSpMkLst>
        </pc:cxnChg>
        <pc:cxnChg chg="mod">
          <ac:chgData name="Disselhoff, Tim" userId="3b8b5473-7050-4f60-8279-e72cc8538d43" providerId="ADAL" clId="{952E53DB-5978-46BA-964C-5B55B87B6690}" dt="2021-08-16T19:25:24.601" v="5634"/>
          <ac:cxnSpMkLst>
            <pc:docMk/>
            <pc:sldMk cId="1082532009" sldId="1392"/>
            <ac:cxnSpMk id="60" creationId="{F4271850-9C5D-447F-8E84-6368121653D5}"/>
          </ac:cxnSpMkLst>
        </pc:cxnChg>
        <pc:cxnChg chg="mod">
          <ac:chgData name="Disselhoff, Tim" userId="3b8b5473-7050-4f60-8279-e72cc8538d43" providerId="ADAL" clId="{952E53DB-5978-46BA-964C-5B55B87B6690}" dt="2021-08-16T19:25:24.601" v="5634"/>
          <ac:cxnSpMkLst>
            <pc:docMk/>
            <pc:sldMk cId="1082532009" sldId="1392"/>
            <ac:cxnSpMk id="68" creationId="{8B7633EF-A41A-4B7F-AA18-78C7BA5AB6D1}"/>
          </ac:cxnSpMkLst>
        </pc:cxnChg>
        <pc:cxnChg chg="mod">
          <ac:chgData name="Disselhoff, Tim" userId="3b8b5473-7050-4f60-8279-e72cc8538d43" providerId="ADAL" clId="{952E53DB-5978-46BA-964C-5B55B87B6690}" dt="2021-08-16T19:25:24.601" v="5634"/>
          <ac:cxnSpMkLst>
            <pc:docMk/>
            <pc:sldMk cId="1082532009" sldId="1392"/>
            <ac:cxnSpMk id="75" creationId="{D1DC88B5-C1A6-49F2-9F75-31AEA096178D}"/>
          </ac:cxnSpMkLst>
        </pc:cxnChg>
        <pc:cxnChg chg="mod">
          <ac:chgData name="Disselhoff, Tim" userId="3b8b5473-7050-4f60-8279-e72cc8538d43" providerId="ADAL" clId="{952E53DB-5978-46BA-964C-5B55B87B6690}" dt="2021-08-16T19:25:24.580" v="5619" actId="478"/>
          <ac:cxnSpMkLst>
            <pc:docMk/>
            <pc:sldMk cId="1082532009" sldId="1392"/>
            <ac:cxnSpMk id="149" creationId="{00000000-0000-0000-0000-000000000000}"/>
          </ac:cxnSpMkLst>
        </pc:cxnChg>
      </pc:sldChg>
      <pc:sldChg chg="addSp delSp modSp add del mod ord">
        <pc:chgData name="Disselhoff, Tim" userId="3b8b5473-7050-4f60-8279-e72cc8538d43" providerId="ADAL" clId="{952E53DB-5978-46BA-964C-5B55B87B6690}" dt="2021-08-18T16:06:03.189" v="10741" actId="47"/>
        <pc:sldMkLst>
          <pc:docMk/>
          <pc:sldMk cId="61005390" sldId="1393"/>
        </pc:sldMkLst>
        <pc:spChg chg="add mod">
          <ac:chgData name="Disselhoff, Tim" userId="3b8b5473-7050-4f60-8279-e72cc8538d43" providerId="ADAL" clId="{952E53DB-5978-46BA-964C-5B55B87B6690}" dt="2021-08-18T15:44:25.323" v="9599" actId="14100"/>
          <ac:spMkLst>
            <pc:docMk/>
            <pc:sldMk cId="61005390" sldId="1393"/>
            <ac:spMk id="6" creationId="{091FFFD6-265B-4FD6-97A7-2C2B62D2A187}"/>
          </ac:spMkLst>
        </pc:spChg>
        <pc:spChg chg="add mod">
          <ac:chgData name="Disselhoff, Tim" userId="3b8b5473-7050-4f60-8279-e72cc8538d43" providerId="ADAL" clId="{952E53DB-5978-46BA-964C-5B55B87B6690}" dt="2021-08-18T15:43:19.451" v="9589" actId="14100"/>
          <ac:spMkLst>
            <pc:docMk/>
            <pc:sldMk cId="61005390" sldId="1393"/>
            <ac:spMk id="363" creationId="{5304FB80-018D-424E-8B1E-7D48E0FAD15E}"/>
          </ac:spMkLst>
        </pc:spChg>
        <pc:spChg chg="add mod">
          <ac:chgData name="Disselhoff, Tim" userId="3b8b5473-7050-4f60-8279-e72cc8538d43" providerId="ADAL" clId="{952E53DB-5978-46BA-964C-5B55B87B6690}" dt="2021-08-18T15:43:24.354" v="9591" actId="14100"/>
          <ac:spMkLst>
            <pc:docMk/>
            <pc:sldMk cId="61005390" sldId="1393"/>
            <ac:spMk id="391" creationId="{A06B8151-9667-4CD7-8BD6-559E6843ABCE}"/>
          </ac:spMkLst>
        </pc:spChg>
        <pc:spChg chg="del">
          <ac:chgData name="Disselhoff, Tim" userId="3b8b5473-7050-4f60-8279-e72cc8538d43" providerId="ADAL" clId="{952E53DB-5978-46BA-964C-5B55B87B6690}" dt="2021-08-17T09:38:06.120" v="8422" actId="478"/>
          <ac:spMkLst>
            <pc:docMk/>
            <pc:sldMk cId="61005390" sldId="1393"/>
            <ac:spMk id="392" creationId="{672730F7-7BA3-4451-AD55-858FE1429C76}"/>
          </ac:spMkLst>
        </pc:spChg>
        <pc:spChg chg="mod">
          <ac:chgData name="Disselhoff, Tim" userId="3b8b5473-7050-4f60-8279-e72cc8538d43" providerId="ADAL" clId="{952E53DB-5978-46BA-964C-5B55B87B6690}" dt="2021-08-18T15:42:53.669" v="9575"/>
          <ac:spMkLst>
            <pc:docMk/>
            <pc:sldMk cId="61005390" sldId="1393"/>
            <ac:spMk id="393" creationId="{1214B3F1-90EA-466E-A502-0CB6F09B1442}"/>
          </ac:spMkLst>
        </pc:spChg>
        <pc:spChg chg="del">
          <ac:chgData name="Disselhoff, Tim" userId="3b8b5473-7050-4f60-8279-e72cc8538d43" providerId="ADAL" clId="{952E53DB-5978-46BA-964C-5B55B87B6690}" dt="2021-08-17T09:38:03.216" v="8421" actId="478"/>
          <ac:spMkLst>
            <pc:docMk/>
            <pc:sldMk cId="61005390" sldId="1393"/>
            <ac:spMk id="393" creationId="{134F3A9B-E1C1-49A8-A22B-AB5EB0B2B609}"/>
          </ac:spMkLst>
        </pc:spChg>
        <pc:spChg chg="mod">
          <ac:chgData name="Disselhoff, Tim" userId="3b8b5473-7050-4f60-8279-e72cc8538d43" providerId="ADAL" clId="{952E53DB-5978-46BA-964C-5B55B87B6690}" dt="2021-08-18T15:42:53.669" v="9575"/>
          <ac:spMkLst>
            <pc:docMk/>
            <pc:sldMk cId="61005390" sldId="1393"/>
            <ac:spMk id="394" creationId="{1CE0FBBF-B9E6-4A9A-85BC-0FF7524A03B0}"/>
          </ac:spMkLst>
        </pc:spChg>
        <pc:spChg chg="add del mod">
          <ac:chgData name="Disselhoff, Tim" userId="3b8b5473-7050-4f60-8279-e72cc8538d43" providerId="ADAL" clId="{952E53DB-5978-46BA-964C-5B55B87B6690}" dt="2021-08-18T15:43:01.962" v="9585"/>
          <ac:spMkLst>
            <pc:docMk/>
            <pc:sldMk cId="61005390" sldId="1393"/>
            <ac:spMk id="395" creationId="{94B454BA-441F-4627-8234-146E24317DD5}"/>
          </ac:spMkLst>
        </pc:spChg>
        <pc:spChg chg="add mod">
          <ac:chgData name="Disselhoff, Tim" userId="3b8b5473-7050-4f60-8279-e72cc8538d43" providerId="ADAL" clId="{952E53DB-5978-46BA-964C-5B55B87B6690}" dt="2021-08-18T15:43:09.973" v="9587"/>
          <ac:spMkLst>
            <pc:docMk/>
            <pc:sldMk cId="61005390" sldId="1393"/>
            <ac:spMk id="396" creationId="{2C0826A8-4EE1-4D7B-A40C-96833DB42405}"/>
          </ac:spMkLst>
        </pc:spChg>
        <pc:grpChg chg="del">
          <ac:chgData name="Disselhoff, Tim" userId="3b8b5473-7050-4f60-8279-e72cc8538d43" providerId="ADAL" clId="{952E53DB-5978-46BA-964C-5B55B87B6690}" dt="2021-08-17T09:38:03.216" v="8421" actId="478"/>
          <ac:grpSpMkLst>
            <pc:docMk/>
            <pc:sldMk cId="61005390" sldId="1393"/>
            <ac:grpSpMk id="6" creationId="{9A9D86E5-9626-4E70-AF5C-30CA856FBE14}"/>
          </ac:grpSpMkLst>
        </pc:grpChg>
        <pc:grpChg chg="del">
          <ac:chgData name="Disselhoff, Tim" userId="3b8b5473-7050-4f60-8279-e72cc8538d43" providerId="ADAL" clId="{952E53DB-5978-46BA-964C-5B55B87B6690}" dt="2021-08-17T09:38:03.216" v="8421" actId="478"/>
          <ac:grpSpMkLst>
            <pc:docMk/>
            <pc:sldMk cId="61005390" sldId="1393"/>
            <ac:grpSpMk id="44" creationId="{0EEC5F23-7686-4B7A-B875-58992DC836A4}"/>
          </ac:grpSpMkLst>
        </pc:grpChg>
        <pc:grpChg chg="del">
          <ac:chgData name="Disselhoff, Tim" userId="3b8b5473-7050-4f60-8279-e72cc8538d43" providerId="ADAL" clId="{952E53DB-5978-46BA-964C-5B55B87B6690}" dt="2021-08-17T09:38:03.216" v="8421" actId="478"/>
          <ac:grpSpMkLst>
            <pc:docMk/>
            <pc:sldMk cId="61005390" sldId="1393"/>
            <ac:grpSpMk id="45" creationId="{D763C554-807A-4160-9F4D-F734D7B85E01}"/>
          </ac:grpSpMkLst>
        </pc:grpChg>
        <pc:grpChg chg="del">
          <ac:chgData name="Disselhoff, Tim" userId="3b8b5473-7050-4f60-8279-e72cc8538d43" providerId="ADAL" clId="{952E53DB-5978-46BA-964C-5B55B87B6690}" dt="2021-08-17T09:38:03.216" v="8421" actId="478"/>
          <ac:grpSpMkLst>
            <pc:docMk/>
            <pc:sldMk cId="61005390" sldId="1393"/>
            <ac:grpSpMk id="46" creationId="{562FB735-5A93-41F8-9251-D8A6E689378C}"/>
          </ac:grpSpMkLst>
        </pc:grpChg>
        <pc:grpChg chg="add del mod">
          <ac:chgData name="Disselhoff, Tim" userId="3b8b5473-7050-4f60-8279-e72cc8538d43" providerId="ADAL" clId="{952E53DB-5978-46BA-964C-5B55B87B6690}" dt="2021-08-18T15:43:01.962" v="9585"/>
          <ac:grpSpMkLst>
            <pc:docMk/>
            <pc:sldMk cId="61005390" sldId="1393"/>
            <ac:grpSpMk id="392" creationId="{E56A4703-0F34-42FA-9076-163A7A743292}"/>
          </ac:grpSpMkLst>
        </pc:grpChg>
        <pc:picChg chg="mod">
          <ac:chgData name="Disselhoff, Tim" userId="3b8b5473-7050-4f60-8279-e72cc8538d43" providerId="ADAL" clId="{952E53DB-5978-46BA-964C-5B55B87B6690}" dt="2021-08-18T08:30:02.342" v="8546" actId="1076"/>
          <ac:picMkLst>
            <pc:docMk/>
            <pc:sldMk cId="61005390" sldId="1393"/>
            <ac:picMk id="379" creationId="{7100A991-7A62-4038-B790-C800CC86B1E6}"/>
          </ac:picMkLst>
        </pc:picChg>
        <pc:picChg chg="mod">
          <ac:chgData name="Disselhoff, Tim" userId="3b8b5473-7050-4f60-8279-e72cc8538d43" providerId="ADAL" clId="{952E53DB-5978-46BA-964C-5B55B87B6690}" dt="2021-08-18T08:30:18.978" v="8549" actId="1076"/>
          <ac:picMkLst>
            <pc:docMk/>
            <pc:sldMk cId="61005390" sldId="1393"/>
            <ac:picMk id="380" creationId="{1F1E990E-29B3-4762-AD32-85FA233436DD}"/>
          </ac:picMkLst>
        </pc:pic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53" creationId="{C8EA1E70-4CB8-43A4-824C-3F6475366CC3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3" creationId="{2245B7BA-355D-4691-ADE4-672443F3B559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4" creationId="{F904BE67-87E5-441D-94E7-534801CC16D8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5" creationId="{297676C3-DCEB-4D6E-8BE7-BE2E1C95DED2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6" creationId="{29D6F1F4-746A-4081-9B98-B26D983DFD46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7" creationId="{43BC2A5D-9F0C-40E1-8909-5D59EE2E5AE2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8" creationId="{0DF519AE-EA58-4965-B386-1F1919F3DB81}"/>
          </ac:cxnSpMkLst>
        </pc:cxnChg>
        <pc:cxnChg chg="del mod">
          <ac:chgData name="Disselhoff, Tim" userId="3b8b5473-7050-4f60-8279-e72cc8538d43" providerId="ADAL" clId="{952E53DB-5978-46BA-964C-5B55B87B6690}" dt="2021-08-17T09:38:28.500" v="8426" actId="478"/>
          <ac:cxnSpMkLst>
            <pc:docMk/>
            <pc:sldMk cId="61005390" sldId="1393"/>
            <ac:cxnSpMk id="419" creationId="{88C8EF85-98D3-4F21-A348-A78664FC024C}"/>
          </ac:cxnSpMkLst>
        </pc:cxnChg>
      </pc:sldChg>
      <pc:sldChg chg="modSp add del mod">
        <pc:chgData name="Disselhoff, Tim" userId="3b8b5473-7050-4f60-8279-e72cc8538d43" providerId="ADAL" clId="{952E53DB-5978-46BA-964C-5B55B87B6690}" dt="2021-08-17T08:13:13.517" v="6736" actId="47"/>
        <pc:sldMkLst>
          <pc:docMk/>
          <pc:sldMk cId="1377387239" sldId="1393"/>
        </pc:sldMkLst>
        <pc:grpChg chg="mod">
          <ac:chgData name="Disselhoff, Tim" userId="3b8b5473-7050-4f60-8279-e72cc8538d43" providerId="ADAL" clId="{952E53DB-5978-46BA-964C-5B55B87B6690}" dt="2021-08-16T19:26:02.317" v="5667" actId="14100"/>
          <ac:grpSpMkLst>
            <pc:docMk/>
            <pc:sldMk cId="1377387239" sldId="1393"/>
            <ac:grpSpMk id="3" creationId="{5D7C1F3F-F7E1-4FEC-9BBB-73BADEE18FEE}"/>
          </ac:grpSpMkLst>
        </pc:grpChg>
      </pc:sldChg>
      <pc:sldChg chg="addSp delSp modSp add del mod ord">
        <pc:chgData name="Disselhoff, Tim" userId="3b8b5473-7050-4f60-8279-e72cc8538d43" providerId="ADAL" clId="{952E53DB-5978-46BA-964C-5B55B87B6690}" dt="2021-08-18T16:10:10.943" v="10801" actId="47"/>
        <pc:sldMkLst>
          <pc:docMk/>
          <pc:sldMk cId="255831572" sldId="1394"/>
        </pc:sldMkLst>
        <pc:spChg chg="mod">
          <ac:chgData name="Disselhoff, Tim" userId="3b8b5473-7050-4f60-8279-e72cc8538d43" providerId="ADAL" clId="{952E53DB-5978-46BA-964C-5B55B87B6690}" dt="2021-08-17T09:39:01.218" v="8434" actId="14100"/>
          <ac:spMkLst>
            <pc:docMk/>
            <pc:sldMk cId="255831572" sldId="1394"/>
            <ac:spMk id="360" creationId="{9B95E3CA-A7C4-46C6-A347-D430B3D8AF05}"/>
          </ac:spMkLst>
        </pc:spChg>
        <pc:spChg chg="add mod">
          <ac:chgData name="Disselhoff, Tim" userId="3b8b5473-7050-4f60-8279-e72cc8538d43" providerId="ADAL" clId="{952E53DB-5978-46BA-964C-5B55B87B6690}" dt="2021-08-18T15:37:35.928" v="9268"/>
          <ac:spMkLst>
            <pc:docMk/>
            <pc:sldMk cId="255831572" sldId="1394"/>
            <ac:spMk id="363" creationId="{070A271A-75BF-4406-B110-BCE91F17E993}"/>
          </ac:spMkLst>
        </pc:spChg>
        <pc:picChg chg="mod">
          <ac:chgData name="Disselhoff, Tim" userId="3b8b5473-7050-4f60-8279-e72cc8538d43" providerId="ADAL" clId="{952E53DB-5978-46BA-964C-5B55B87B6690}" dt="2021-08-17T09:39:04.208" v="8435" actId="1076"/>
          <ac:picMkLst>
            <pc:docMk/>
            <pc:sldMk cId="255831572" sldId="1394"/>
            <ac:picMk id="379" creationId="{7100A991-7A62-4038-B790-C800CC86B1E6}"/>
          </ac:picMkLst>
        </pc:picChg>
        <pc:picChg chg="del">
          <ac:chgData name="Disselhoff, Tim" userId="3b8b5473-7050-4f60-8279-e72cc8538d43" providerId="ADAL" clId="{952E53DB-5978-46BA-964C-5B55B87B6690}" dt="2021-08-17T09:38:52.225" v="8431" actId="478"/>
          <ac:picMkLst>
            <pc:docMk/>
            <pc:sldMk cId="255831572" sldId="1394"/>
            <ac:picMk id="380" creationId="{1F1E990E-29B3-4762-AD32-85FA233436DD}"/>
          </ac:picMkLst>
        </pc:picChg>
      </pc:sldChg>
      <pc:sldChg chg="addSp delSp modSp add del mod">
        <pc:chgData name="Disselhoff, Tim" userId="3b8b5473-7050-4f60-8279-e72cc8538d43" providerId="ADAL" clId="{952E53DB-5978-46BA-964C-5B55B87B6690}" dt="2021-08-17T08:13:15.590" v="6737" actId="47"/>
        <pc:sldMkLst>
          <pc:docMk/>
          <pc:sldMk cId="2587479061" sldId="1394"/>
        </pc:sldMkLst>
        <pc:spChg chg="mod ord">
          <ac:chgData name="Disselhoff, Tim" userId="3b8b5473-7050-4f60-8279-e72cc8538d43" providerId="ADAL" clId="{952E53DB-5978-46BA-964C-5B55B87B6690}" dt="2021-08-16T19:38:10.772" v="6616"/>
          <ac:spMkLst>
            <pc:docMk/>
            <pc:sldMk cId="2587479061" sldId="1394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6T19:38:10.773" v="6618"/>
          <ac:spMkLst>
            <pc:docMk/>
            <pc:sldMk cId="2587479061" sldId="1394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6T19:38:10.773" v="6620"/>
          <ac:spMkLst>
            <pc:docMk/>
            <pc:sldMk cId="2587479061" sldId="1394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6T19:38:10.774" v="6622"/>
          <ac:spMkLst>
            <pc:docMk/>
            <pc:sldMk cId="2587479061" sldId="1394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6T19:38:10.774" v="6624"/>
          <ac:spMkLst>
            <pc:docMk/>
            <pc:sldMk cId="2587479061" sldId="1394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6T19:38:10.777" v="6632"/>
          <ac:spMkLst>
            <pc:docMk/>
            <pc:sldMk cId="2587479061" sldId="1394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6T19:38:10.777" v="6634"/>
          <ac:spMkLst>
            <pc:docMk/>
            <pc:sldMk cId="2587479061" sldId="1394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6T19:38:10.778" v="6636"/>
          <ac:spMkLst>
            <pc:docMk/>
            <pc:sldMk cId="2587479061" sldId="1394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6T19:38:10.780" v="6644"/>
          <ac:spMkLst>
            <pc:docMk/>
            <pc:sldMk cId="2587479061" sldId="1394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6T19:38:10.799" v="6698"/>
          <ac:spMkLst>
            <pc:docMk/>
            <pc:sldMk cId="2587479061" sldId="1394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6T19:38:10.784" v="6652"/>
          <ac:spMkLst>
            <pc:docMk/>
            <pc:sldMk cId="2587479061" sldId="1394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6T19:38:10.792" v="6674"/>
          <ac:spMkLst>
            <pc:docMk/>
            <pc:sldMk cId="2587479061" sldId="1394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6T19:38:10.792" v="6676"/>
          <ac:spMkLst>
            <pc:docMk/>
            <pc:sldMk cId="2587479061" sldId="1394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6T19:38:10.793" v="6678"/>
          <ac:spMkLst>
            <pc:docMk/>
            <pc:sldMk cId="2587479061" sldId="1394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6T19:38:10.794" v="6680"/>
          <ac:spMkLst>
            <pc:docMk/>
            <pc:sldMk cId="2587479061" sldId="1394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6T19:38:10.794" v="6682"/>
          <ac:spMkLst>
            <pc:docMk/>
            <pc:sldMk cId="2587479061" sldId="1394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6T19:38:10.795" v="6684"/>
          <ac:spMkLst>
            <pc:docMk/>
            <pc:sldMk cId="2587479061" sldId="1394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6T19:38:10.796" v="6688"/>
          <ac:spMkLst>
            <pc:docMk/>
            <pc:sldMk cId="2587479061" sldId="1394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6T19:38:10.796" v="6690"/>
          <ac:spMkLst>
            <pc:docMk/>
            <pc:sldMk cId="2587479061" sldId="1394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6T19:38:10.802" v="6707"/>
          <ac:spMkLst>
            <pc:docMk/>
            <pc:sldMk cId="2587479061" sldId="1394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6T19:38:10.798" v="6694"/>
          <ac:spMkLst>
            <pc:docMk/>
            <pc:sldMk cId="2587479061" sldId="1394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6T19:38:10.765" v="6612"/>
          <ac:spMkLst>
            <pc:docMk/>
            <pc:sldMk cId="2587479061" sldId="1394"/>
            <ac:spMk id="361" creationId="{216FF5D1-F5EE-4B51-AD15-F796A02CE247}"/>
          </ac:spMkLst>
        </pc:spChg>
        <pc:spChg chg="mod ord">
          <ac:chgData name="Disselhoff, Tim" userId="3b8b5473-7050-4f60-8279-e72cc8538d43" providerId="ADAL" clId="{952E53DB-5978-46BA-964C-5B55B87B6690}" dt="2021-08-16T19:38:10.798" v="6696"/>
          <ac:spMkLst>
            <pc:docMk/>
            <pc:sldMk cId="2587479061" sldId="1394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6T19:38:10.803" v="6711"/>
          <ac:spMkLst>
            <pc:docMk/>
            <pc:sldMk cId="2587479061" sldId="1394"/>
            <ac:spMk id="367" creationId="{DE91575A-3185-DE4E-BF38-E185B82E0FCB}"/>
          </ac:spMkLst>
        </pc:spChg>
        <pc:spChg chg="mod ord">
          <ac:chgData name="Disselhoff, Tim" userId="3b8b5473-7050-4f60-8279-e72cc8538d43" providerId="ADAL" clId="{952E53DB-5978-46BA-964C-5B55B87B6690}" dt="2021-08-16T19:38:10.803" v="6713"/>
          <ac:spMkLst>
            <pc:docMk/>
            <pc:sldMk cId="2587479061" sldId="1394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6T19:38:10.804" v="6715"/>
          <ac:spMkLst>
            <pc:docMk/>
            <pc:sldMk cId="2587479061" sldId="1394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6T19:38:10.804" v="6717"/>
          <ac:spMkLst>
            <pc:docMk/>
            <pc:sldMk cId="2587479061" sldId="1394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6T19:38:10.805" v="6719"/>
          <ac:spMkLst>
            <pc:docMk/>
            <pc:sldMk cId="2587479061" sldId="1394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6T19:38:10.805" v="6721"/>
          <ac:spMkLst>
            <pc:docMk/>
            <pc:sldMk cId="2587479061" sldId="1394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6T19:38:10.806" v="6723"/>
          <ac:spMkLst>
            <pc:docMk/>
            <pc:sldMk cId="2587479061" sldId="1394"/>
            <ac:spMk id="389" creationId="{2B44649A-B4E0-4013-A2D8-ADEE9FC2D0A6}"/>
          </ac:spMkLst>
        </pc:spChg>
        <pc:spChg chg="del">
          <ac:chgData name="Disselhoff, Tim" userId="3b8b5473-7050-4f60-8279-e72cc8538d43" providerId="ADAL" clId="{952E53DB-5978-46BA-964C-5B55B87B6690}" dt="2021-08-16T19:37:44.272" v="6607" actId="478"/>
          <ac:spMkLst>
            <pc:docMk/>
            <pc:sldMk cId="2587479061" sldId="1394"/>
            <ac:spMk id="390" creationId="{55C60B76-5103-42DC-83D7-36B18DAC247F}"/>
          </ac:spMkLst>
        </pc:spChg>
        <pc:spChg chg="add mod ord">
          <ac:chgData name="Disselhoff, Tim" userId="3b8b5473-7050-4f60-8279-e72cc8538d43" providerId="ADAL" clId="{952E53DB-5978-46BA-964C-5B55B87B6690}" dt="2021-08-16T19:38:10.807" v="6725"/>
          <ac:spMkLst>
            <pc:docMk/>
            <pc:sldMk cId="2587479061" sldId="1394"/>
            <ac:spMk id="391" creationId="{BEDF1F86-AF1C-4A08-BBAE-E3303D00C726}"/>
          </ac:spMkLst>
        </pc:spChg>
        <pc:spChg chg="del">
          <ac:chgData name="Disselhoff, Tim" userId="3b8b5473-7050-4f60-8279-e72cc8538d43" providerId="ADAL" clId="{952E53DB-5978-46BA-964C-5B55B87B6690}" dt="2021-08-16T19:37:48.081" v="6608" actId="478"/>
          <ac:spMkLst>
            <pc:docMk/>
            <pc:sldMk cId="2587479061" sldId="1394"/>
            <ac:spMk id="392" creationId="{672730F7-7BA3-4451-AD55-858FE1429C76}"/>
          </ac:spMkLst>
        </pc:spChg>
        <pc:spChg chg="del">
          <ac:chgData name="Disselhoff, Tim" userId="3b8b5473-7050-4f60-8279-e72cc8538d43" providerId="ADAL" clId="{952E53DB-5978-46BA-964C-5B55B87B6690}" dt="2021-08-16T19:37:44.272" v="6607" actId="478"/>
          <ac:spMkLst>
            <pc:docMk/>
            <pc:sldMk cId="2587479061" sldId="1394"/>
            <ac:spMk id="393" creationId="{134F3A9B-E1C1-49A8-A22B-AB5EB0B2B609}"/>
          </ac:spMkLst>
        </pc:spChg>
        <pc:spChg chg="del">
          <ac:chgData name="Disselhoff, Tim" userId="3b8b5473-7050-4f60-8279-e72cc8538d43" providerId="ADAL" clId="{952E53DB-5978-46BA-964C-5B55B87B6690}" dt="2021-08-16T19:37:44.272" v="6607" actId="478"/>
          <ac:spMkLst>
            <pc:docMk/>
            <pc:sldMk cId="2587479061" sldId="1394"/>
            <ac:spMk id="412" creationId="{58AD9DD5-9FF5-49B7-910B-EC9F75F19A6F}"/>
          </ac:spMkLst>
        </pc:spChg>
        <pc:spChg chg="add mod ord">
          <ac:chgData name="Disselhoff, Tim" userId="3b8b5473-7050-4f60-8279-e72cc8538d43" providerId="ADAL" clId="{952E53DB-5978-46BA-964C-5B55B87B6690}" dt="2021-08-16T19:38:10.807" v="6727"/>
          <ac:spMkLst>
            <pc:docMk/>
            <pc:sldMk cId="2587479061" sldId="1394"/>
            <ac:spMk id="420" creationId="{709DAD36-4027-40F5-BD75-1F60B760AF96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2" creationId="{24F12818-5ABB-40CA-841D-89BD468953AB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3" creationId="{4A83A6C2-9A17-4D7C-8B81-A8D8B521226D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4" creationId="{4B3DD2F9-EA2B-431A-8370-715F99AD5142}"/>
          </ac:spMkLst>
        </pc:spChg>
        <pc:spChg chg="mod">
          <ac:chgData name="Disselhoff, Tim" userId="3b8b5473-7050-4f60-8279-e72cc8538d43" providerId="ADAL" clId="{952E53DB-5978-46BA-964C-5B55B87B6690}" dt="2021-08-16T19:38:38.609" v="6733" actId="14100"/>
          <ac:spMkLst>
            <pc:docMk/>
            <pc:sldMk cId="2587479061" sldId="1394"/>
            <ac:spMk id="425" creationId="{CC7391B4-9360-43A8-A46C-3A3354A5A06A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6" creationId="{971FA8E1-3EB9-4318-995E-5B24A154553A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7" creationId="{DC9366B9-B623-4FFA-BCA8-7D575BEDBDEA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8" creationId="{E3D43039-510E-43EF-842C-FE051CFA298B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29" creationId="{112A8C2A-5149-434B-85D4-C23E38874B65}"/>
          </ac:spMkLst>
        </pc:spChg>
        <pc:spChg chg="mod">
          <ac:chgData name="Disselhoff, Tim" userId="3b8b5473-7050-4f60-8279-e72cc8538d43" providerId="ADAL" clId="{952E53DB-5978-46BA-964C-5B55B87B6690}" dt="2021-08-16T19:38:05.675" v="6610"/>
          <ac:spMkLst>
            <pc:docMk/>
            <pc:sldMk cId="2587479061" sldId="1394"/>
            <ac:spMk id="430" creationId="{84D920CD-CA90-4B51-BF16-61A17B1DE38E}"/>
          </ac:spMkLst>
        </pc:spChg>
        <pc:grpChg chg="del">
          <ac:chgData name="Disselhoff, Tim" userId="3b8b5473-7050-4f60-8279-e72cc8538d43" providerId="ADAL" clId="{952E53DB-5978-46BA-964C-5B55B87B6690}" dt="2021-08-16T19:37:44.272" v="6607" actId="478"/>
          <ac:grpSpMkLst>
            <pc:docMk/>
            <pc:sldMk cId="2587479061" sldId="1394"/>
            <ac:grpSpMk id="6" creationId="{9A9D86E5-9626-4E70-AF5C-30CA856FBE14}"/>
          </ac:grpSpMkLst>
        </pc:grpChg>
        <pc:grpChg chg="mod ord">
          <ac:chgData name="Disselhoff, Tim" userId="3b8b5473-7050-4f60-8279-e72cc8538d43" providerId="ADAL" clId="{952E53DB-5978-46BA-964C-5B55B87B6690}" dt="2021-08-16T19:38:10.775" v="6626"/>
          <ac:grpSpMkLst>
            <pc:docMk/>
            <pc:sldMk cId="2587479061" sldId="1394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6T19:38:10.775" v="6628"/>
          <ac:grpSpMkLst>
            <pc:docMk/>
            <pc:sldMk cId="2587479061" sldId="1394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6T19:38:10.776" v="6630"/>
          <ac:grpSpMkLst>
            <pc:docMk/>
            <pc:sldMk cId="2587479061" sldId="1394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6T19:38:10.779" v="6638"/>
          <ac:grpSpMkLst>
            <pc:docMk/>
            <pc:sldMk cId="2587479061" sldId="1394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6T19:38:10.779" v="6640"/>
          <ac:grpSpMkLst>
            <pc:docMk/>
            <pc:sldMk cId="2587479061" sldId="1394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6T19:38:10.780" v="6642"/>
          <ac:grpSpMkLst>
            <pc:docMk/>
            <pc:sldMk cId="2587479061" sldId="1394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6T19:38:10.781" v="6646"/>
          <ac:grpSpMkLst>
            <pc:docMk/>
            <pc:sldMk cId="2587479061" sldId="1394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6T19:38:10.783" v="6648"/>
          <ac:grpSpMkLst>
            <pc:docMk/>
            <pc:sldMk cId="2587479061" sldId="1394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6T19:38:10.784" v="6650"/>
          <ac:grpSpMkLst>
            <pc:docMk/>
            <pc:sldMk cId="2587479061" sldId="1394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6T19:38:10.799" v="6699"/>
          <ac:grpSpMkLst>
            <pc:docMk/>
            <pc:sldMk cId="2587479061" sldId="1394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6T19:38:10.795" v="6686"/>
          <ac:grpSpMkLst>
            <pc:docMk/>
            <pc:sldMk cId="2587479061" sldId="1394"/>
            <ac:grpSpMk id="40" creationId="{37AB0EBD-FC68-47BC-BCDE-00708884834E}"/>
          </ac:grpSpMkLst>
        </pc:grpChg>
        <pc:grpChg chg="del">
          <ac:chgData name="Disselhoff, Tim" userId="3b8b5473-7050-4f60-8279-e72cc8538d43" providerId="ADAL" clId="{952E53DB-5978-46BA-964C-5B55B87B6690}" dt="2021-08-16T19:37:48.081" v="6608" actId="478"/>
          <ac:grpSpMkLst>
            <pc:docMk/>
            <pc:sldMk cId="2587479061" sldId="1394"/>
            <ac:grpSpMk id="44" creationId="{0EEC5F23-7686-4B7A-B875-58992DC836A4}"/>
          </ac:grpSpMkLst>
        </pc:grpChg>
        <pc:grpChg chg="del">
          <ac:chgData name="Disselhoff, Tim" userId="3b8b5473-7050-4f60-8279-e72cc8538d43" providerId="ADAL" clId="{952E53DB-5978-46BA-964C-5B55B87B6690}" dt="2021-08-16T19:37:44.272" v="6607" actId="478"/>
          <ac:grpSpMkLst>
            <pc:docMk/>
            <pc:sldMk cId="2587479061" sldId="1394"/>
            <ac:grpSpMk id="45" creationId="{D763C554-807A-4160-9F4D-F734D7B85E01}"/>
          </ac:grpSpMkLst>
        </pc:grpChg>
        <pc:grpChg chg="del">
          <ac:chgData name="Disselhoff, Tim" userId="3b8b5473-7050-4f60-8279-e72cc8538d43" providerId="ADAL" clId="{952E53DB-5978-46BA-964C-5B55B87B6690}" dt="2021-08-16T19:37:44.272" v="6607" actId="478"/>
          <ac:grpSpMkLst>
            <pc:docMk/>
            <pc:sldMk cId="2587479061" sldId="1394"/>
            <ac:grpSpMk id="46" creationId="{562FB735-5A93-41F8-9251-D8A6E689378C}"/>
          </ac:grpSpMkLst>
        </pc:grpChg>
        <pc:grpChg chg="mod ord">
          <ac:chgData name="Disselhoff, Tim" userId="3b8b5473-7050-4f60-8279-e72cc8538d43" providerId="ADAL" clId="{952E53DB-5978-46BA-964C-5B55B87B6690}" dt="2021-08-16T19:38:10.801" v="6705"/>
          <ac:grpSpMkLst>
            <pc:docMk/>
            <pc:sldMk cId="2587479061" sldId="1394"/>
            <ac:grpSpMk id="51" creationId="{956DF3ED-DEA7-4D8B-8AEC-52328FD80F7A}"/>
          </ac:grpSpMkLst>
        </pc:grpChg>
        <pc:grpChg chg="mod ord">
          <ac:chgData name="Disselhoff, Tim" userId="3b8b5473-7050-4f60-8279-e72cc8538d43" providerId="ADAL" clId="{952E53DB-5978-46BA-964C-5B55B87B6690}" dt="2021-08-16T19:38:10.802" v="6709"/>
          <ac:grpSpMkLst>
            <pc:docMk/>
            <pc:sldMk cId="2587479061" sldId="1394"/>
            <ac:grpSpMk id="366" creationId="{ADD1861F-955A-47C0-A199-B30FAF33822F}"/>
          </ac:grpSpMkLst>
        </pc:grpChg>
        <pc:grpChg chg="add mod ord">
          <ac:chgData name="Disselhoff, Tim" userId="3b8b5473-7050-4f60-8279-e72cc8538d43" providerId="ADAL" clId="{952E53DB-5978-46BA-964C-5B55B87B6690}" dt="2021-08-16T19:38:30.048" v="6731" actId="14100"/>
          <ac:grpSpMkLst>
            <pc:docMk/>
            <pc:sldMk cId="2587479061" sldId="1394"/>
            <ac:grpSpMk id="421" creationId="{0FECF4F9-5957-4263-A630-32B71FAB5892}"/>
          </ac:grpSpMkLst>
        </pc:grpChg>
        <pc:graphicFrameChg chg="mod">
          <ac:chgData name="Disselhoff, Tim" userId="3b8b5473-7050-4f60-8279-e72cc8538d43" providerId="ADAL" clId="{952E53DB-5978-46BA-964C-5B55B87B6690}" dt="2021-08-16T19:38:10.814" v="6729"/>
          <ac:graphicFrameMkLst>
            <pc:docMk/>
            <pc:sldMk cId="2587479061" sldId="1394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6T19:38:10.800" v="6701"/>
          <ac:picMkLst>
            <pc:docMk/>
            <pc:sldMk cId="2587479061" sldId="1394"/>
            <ac:picMk id="379" creationId="{7100A991-7A62-4038-B790-C800CC86B1E6}"/>
          </ac:picMkLst>
        </pc:picChg>
        <pc:picChg chg="mod ord">
          <ac:chgData name="Disselhoff, Tim" userId="3b8b5473-7050-4f60-8279-e72cc8538d43" providerId="ADAL" clId="{952E53DB-5978-46BA-964C-5B55B87B6690}" dt="2021-08-16T19:38:10.801" v="6703"/>
          <ac:picMkLst>
            <pc:docMk/>
            <pc:sldMk cId="2587479061" sldId="1394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6T19:38:10.786" v="6654"/>
          <ac:cxnSpMkLst>
            <pc:docMk/>
            <pc:sldMk cId="2587479061" sldId="1394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6T19:38:10.787" v="6656"/>
          <ac:cxnSpMkLst>
            <pc:docMk/>
            <pc:sldMk cId="2587479061" sldId="1394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6T19:38:10.787" v="6658"/>
          <ac:cxnSpMkLst>
            <pc:docMk/>
            <pc:sldMk cId="2587479061" sldId="1394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6T19:38:10.788" v="6660"/>
          <ac:cxnSpMkLst>
            <pc:docMk/>
            <pc:sldMk cId="2587479061" sldId="1394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6T19:38:10.788" v="6662"/>
          <ac:cxnSpMkLst>
            <pc:docMk/>
            <pc:sldMk cId="2587479061" sldId="1394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6T19:38:10.789" v="6664"/>
          <ac:cxnSpMkLst>
            <pc:docMk/>
            <pc:sldMk cId="2587479061" sldId="1394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6T19:38:10.789" v="6666"/>
          <ac:cxnSpMkLst>
            <pc:docMk/>
            <pc:sldMk cId="2587479061" sldId="1394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6T19:38:10.790" v="6668"/>
          <ac:cxnSpMkLst>
            <pc:docMk/>
            <pc:sldMk cId="2587479061" sldId="1394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6T19:38:10.791" v="6670"/>
          <ac:cxnSpMkLst>
            <pc:docMk/>
            <pc:sldMk cId="2587479061" sldId="1394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6T19:38:10.791" v="6672"/>
          <ac:cxnSpMkLst>
            <pc:docMk/>
            <pc:sldMk cId="2587479061" sldId="1394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6T19:38:10.797" v="6692"/>
          <ac:cxnSpMkLst>
            <pc:docMk/>
            <pc:sldMk cId="2587479061" sldId="1394"/>
            <ac:cxnSpMk id="43" creationId="{1AC0A2C5-4B94-40F9-88E2-D3C10215517A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53" creationId="{C8EA1E70-4CB8-43A4-824C-3F6475366CC3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3" creationId="{2245B7BA-355D-4691-ADE4-672443F3B559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4" creationId="{F904BE67-87E5-441D-94E7-534801CC16D8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5" creationId="{297676C3-DCEB-4D6E-8BE7-BE2E1C95DED2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6" creationId="{29D6F1F4-746A-4081-9B98-B26D983DFD46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7" creationId="{43BC2A5D-9F0C-40E1-8909-5D59EE2E5AE2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8" creationId="{0DF519AE-EA58-4965-B386-1F1919F3DB81}"/>
          </ac:cxnSpMkLst>
        </pc:cxnChg>
        <pc:cxnChg chg="del mod">
          <ac:chgData name="Disselhoff, Tim" userId="3b8b5473-7050-4f60-8279-e72cc8538d43" providerId="ADAL" clId="{952E53DB-5978-46BA-964C-5B55B87B6690}" dt="2021-08-16T19:37:44.272" v="6607" actId="478"/>
          <ac:cxnSpMkLst>
            <pc:docMk/>
            <pc:sldMk cId="2587479061" sldId="1394"/>
            <ac:cxnSpMk id="419" creationId="{88C8EF85-98D3-4F21-A348-A78664FC024C}"/>
          </ac:cxnSpMkLst>
        </pc:cxnChg>
      </pc:sldChg>
      <pc:sldChg chg="add del ord">
        <pc:chgData name="Disselhoff, Tim" userId="3b8b5473-7050-4f60-8279-e72cc8538d43" providerId="ADAL" clId="{952E53DB-5978-46BA-964C-5B55B87B6690}" dt="2021-08-18T16:10:12.304" v="10804" actId="47"/>
        <pc:sldMkLst>
          <pc:docMk/>
          <pc:sldMk cId="491766316" sldId="1395"/>
        </pc:sldMkLst>
      </pc:sldChg>
      <pc:sldChg chg="addSp delSp modSp mod ord addCm modCm">
        <pc:chgData name="Disselhoff, Tim" userId="3b8b5473-7050-4f60-8279-e72cc8538d43" providerId="ADAL" clId="{952E53DB-5978-46BA-964C-5B55B87B6690}" dt="2021-08-19T16:56:03.622" v="19820"/>
        <pc:sldMkLst>
          <pc:docMk/>
          <pc:sldMk cId="4248152859" sldId="1396"/>
        </pc:sldMkLst>
        <pc:spChg chg="mod ord">
          <ac:chgData name="Disselhoff, Tim" userId="3b8b5473-7050-4f60-8279-e72cc8538d43" providerId="ADAL" clId="{952E53DB-5978-46BA-964C-5B55B87B6690}" dt="2021-08-19T08:07:41.134" v="11595"/>
          <ac:spMkLst>
            <pc:docMk/>
            <pc:sldMk cId="4248152859" sldId="1396"/>
            <ac:spMk id="2" creationId="{7FA5E893-3C91-4212-B9F3-A9C5D5AABC51}"/>
          </ac:spMkLst>
        </pc:spChg>
        <pc:spChg chg="mod ord">
          <ac:chgData name="Disselhoff, Tim" userId="3b8b5473-7050-4f60-8279-e72cc8538d43" providerId="ADAL" clId="{952E53DB-5978-46BA-964C-5B55B87B6690}" dt="2021-08-19T08:07:41.135" v="11597"/>
          <ac:spMkLst>
            <pc:docMk/>
            <pc:sldMk cId="4248152859" sldId="1396"/>
            <ac:spMk id="3" creationId="{567BCFD8-3197-45E3-AFB0-5778CECB5C0A}"/>
          </ac:spMkLst>
        </pc:spChg>
        <pc:spChg chg="mod ord">
          <ac:chgData name="Disselhoff, Tim" userId="3b8b5473-7050-4f60-8279-e72cc8538d43" providerId="ADAL" clId="{952E53DB-5978-46BA-964C-5B55B87B6690}" dt="2021-08-19T08:07:41.135" v="11599"/>
          <ac:spMkLst>
            <pc:docMk/>
            <pc:sldMk cId="4248152859" sldId="1396"/>
            <ac:spMk id="4" creationId="{AE593858-6823-4F59-8463-2A725B5C8A36}"/>
          </ac:spMkLst>
        </pc:spChg>
        <pc:spChg chg="mod ord">
          <ac:chgData name="Disselhoff, Tim" userId="3b8b5473-7050-4f60-8279-e72cc8538d43" providerId="ADAL" clId="{952E53DB-5978-46BA-964C-5B55B87B6690}" dt="2021-08-19T08:07:41.136" v="11601"/>
          <ac:spMkLst>
            <pc:docMk/>
            <pc:sldMk cId="4248152859" sldId="1396"/>
            <ac:spMk id="5" creationId="{EE94E7E6-1246-47B1-8E33-4A8BC9E9D04A}"/>
          </ac:spMkLst>
        </pc:spChg>
        <pc:spChg chg="del">
          <ac:chgData name="Disselhoff, Tim" userId="3b8b5473-7050-4f60-8279-e72cc8538d43" providerId="ADAL" clId="{952E53DB-5978-46BA-964C-5B55B87B6690}" dt="2021-08-19T08:05:11.657" v="11462" actId="478"/>
          <ac:spMkLst>
            <pc:docMk/>
            <pc:sldMk cId="4248152859" sldId="1396"/>
            <ac:spMk id="6" creationId="{D44037F2-31AA-4D81-BE58-2366CDF91889}"/>
          </ac:spMkLst>
        </pc:spChg>
        <pc:spChg chg="mod">
          <ac:chgData name="Disselhoff, Tim" userId="3b8b5473-7050-4f60-8279-e72cc8538d43" providerId="ADAL" clId="{952E53DB-5978-46BA-964C-5B55B87B6690}" dt="2021-08-19T08:12:21.835" v="12082"/>
          <ac:spMkLst>
            <pc:docMk/>
            <pc:sldMk cId="4248152859" sldId="1396"/>
            <ac:spMk id="9" creationId="{14134833-6999-4424-8349-81DFFBD6C6FD}"/>
          </ac:spMkLst>
        </pc:spChg>
        <pc:spChg chg="mod">
          <ac:chgData name="Disselhoff, Tim" userId="3b8b5473-7050-4f60-8279-e72cc8538d43" providerId="ADAL" clId="{952E53DB-5978-46BA-964C-5B55B87B6690}" dt="2021-08-19T08:12:21.835" v="12082"/>
          <ac:spMkLst>
            <pc:docMk/>
            <pc:sldMk cId="4248152859" sldId="1396"/>
            <ac:spMk id="10" creationId="{EABE5FB6-9CE9-4ACD-8D7A-564A91695F7A}"/>
          </ac:spMkLst>
        </pc:spChg>
        <pc:spChg chg="add mod ord">
          <ac:chgData name="Disselhoff, Tim" userId="3b8b5473-7050-4f60-8279-e72cc8538d43" providerId="ADAL" clId="{952E53DB-5978-46BA-964C-5B55B87B6690}" dt="2021-08-19T08:18:46.315" v="12542"/>
          <ac:spMkLst>
            <pc:docMk/>
            <pc:sldMk cId="4248152859" sldId="1396"/>
            <ac:spMk id="11" creationId="{01BCF8F0-ECA1-4D97-A1B8-D0952AAF577F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2" creationId="{AFA6FE7D-F31B-4820-ADFD-B6EE7F39C0D4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3" creationId="{B17BDAD9-E09C-4C3C-8C06-E21A6AD310E7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4" creationId="{6A46996D-2739-4F15-9DF4-BF6FF8F2C6A4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5" creationId="{16FC0165-5212-4154-A763-A397FB137EA1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6" creationId="{8FA2CFFC-E097-4AAC-9974-F32AE4549976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7" creationId="{57CB4718-95CA-4F2C-8F9C-19B43449D6CB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8" creationId="{D45DB90C-C27D-463D-B757-B9D71B7952F2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19" creationId="{09606936-B9CF-43C2-AB88-BD154D7253E1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0" creationId="{DFA9F093-A888-49DF-BF10-12814A2AB794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1" creationId="{E93446E6-8A68-4857-8448-10CD77489086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2" creationId="{0FADD629-F047-44AC-9003-0CFD9D004BEA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3" creationId="{A9AE2839-921B-4FF6-80D6-DC603E5D7214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4" creationId="{18940CD0-642A-4868-A6BB-65F414570753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5" creationId="{30108F19-95E8-4F8E-8E3E-87581972171A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6" creationId="{98CC3860-3023-4745-A985-2045D7E5F79E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7" creationId="{1EDCE50E-BFC5-4D2C-BA32-2235AB1C291B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8" creationId="{1E05A682-8D97-4C3B-8DB4-93463B525DD3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29" creationId="{81F65F3E-4DD3-41D2-B30C-CB5FDF7A4E40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0" creationId="{427E834F-3CE4-4558-85AE-9B9E35F31E1C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1" creationId="{9D0B2D89-3191-4577-BFE1-1556F6A6ECAA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2" creationId="{DFD94541-3FCB-4B47-8EBD-DCE3D51B22F3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3" creationId="{C9BB8BDF-4D99-461B-A60D-A9D2CA350957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4" creationId="{B927A700-E062-46D7-B658-84BC0DB6D923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5" creationId="{0F686139-F13F-4631-973A-3F441DC673B7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6" creationId="{170D4C09-293C-48AE-86E2-B88E06F0071D}"/>
          </ac:spMkLst>
        </pc:spChg>
        <pc:spChg chg="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39" creationId="{CC525E82-777C-4E3E-AF04-039CC9E6352E}"/>
          </ac:spMkLst>
        </pc:spChg>
        <pc:spChg chg="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40" creationId="{570A74C6-C86B-4B46-AE64-6C8ACF17EE72}"/>
          </ac:spMkLst>
        </pc:spChg>
        <pc:spChg chg="add mod">
          <ac:chgData name="Disselhoff, Tim" userId="3b8b5473-7050-4f60-8279-e72cc8538d43" providerId="ADAL" clId="{952E53DB-5978-46BA-964C-5B55B87B6690}" dt="2021-08-19T08:08:01.296" v="11640"/>
          <ac:spMkLst>
            <pc:docMk/>
            <pc:sldMk cId="4248152859" sldId="1396"/>
            <ac:spMk id="41" creationId="{7EEFB6BF-8106-476E-8C87-DBF34DCD1257}"/>
          </ac:spMkLst>
        </pc:spChg>
        <pc:spChg chg="add mod ord">
          <ac:chgData name="Disselhoff, Tim" userId="3b8b5473-7050-4f60-8279-e72cc8538d43" providerId="ADAL" clId="{952E53DB-5978-46BA-964C-5B55B87B6690}" dt="2021-08-19T08:08:35.387" v="11648" actId="404"/>
          <ac:spMkLst>
            <pc:docMk/>
            <pc:sldMk cId="4248152859" sldId="1396"/>
            <ac:spMk id="43" creationId="{9539F012-EC9A-441E-9F30-0E52D357A3CB}"/>
          </ac:spMkLst>
        </pc:spChg>
        <pc:spChg chg="add del mod modVis">
          <ac:chgData name="Disselhoff, Tim" userId="3b8b5473-7050-4f60-8279-e72cc8538d43" providerId="ADAL" clId="{952E53DB-5978-46BA-964C-5B55B87B6690}" dt="2021-08-19T08:07:41.142" v="11612"/>
          <ac:spMkLst>
            <pc:docMk/>
            <pc:sldMk cId="4248152859" sldId="1396"/>
            <ac:spMk id="44" creationId="{5CB05FE2-4D9A-4351-A329-774DC3237946}"/>
          </ac:spMkLst>
        </pc:spChg>
        <pc:spChg chg="mod">
          <ac:chgData name="Disselhoff, Tim" userId="3b8b5473-7050-4f60-8279-e72cc8538d43" providerId="ADAL" clId="{952E53DB-5978-46BA-964C-5B55B87B6690}" dt="2021-08-19T12:08:55.766" v="13176" actId="20577"/>
          <ac:spMkLst>
            <pc:docMk/>
            <pc:sldMk cId="4248152859" sldId="1396"/>
            <ac:spMk id="44" creationId="{D0AD5DA8-44AD-491C-A0A5-6A30CA0A1E08}"/>
          </ac:spMkLst>
        </pc:spChg>
        <pc:spChg chg="add mod">
          <ac:chgData name="Disselhoff, Tim" userId="3b8b5473-7050-4f60-8279-e72cc8538d43" providerId="ADAL" clId="{952E53DB-5978-46BA-964C-5B55B87B6690}" dt="2021-08-19T08:18:50.125" v="12554"/>
          <ac:spMkLst>
            <pc:docMk/>
            <pc:sldMk cId="4248152859" sldId="1396"/>
            <ac:spMk id="46" creationId="{E0A49286-B94F-4E28-956C-EDEA8BF40732}"/>
          </ac:spMkLst>
        </pc:spChg>
        <pc:spChg chg="add mod">
          <ac:chgData name="Disselhoff, Tim" userId="3b8b5473-7050-4f60-8279-e72cc8538d43" providerId="ADAL" clId="{952E53DB-5978-46BA-964C-5B55B87B6690}" dt="2021-08-19T08:19:09.475" v="12585" actId="20577"/>
          <ac:spMkLst>
            <pc:docMk/>
            <pc:sldMk cId="4248152859" sldId="1396"/>
            <ac:spMk id="47" creationId="{3C74B1F2-6989-49F3-88AD-586E0FDE5866}"/>
          </ac:spMkLst>
        </pc:spChg>
        <pc:spChg chg="mod">
          <ac:chgData name="Disselhoff, Tim" userId="3b8b5473-7050-4f60-8279-e72cc8538d43" providerId="ADAL" clId="{952E53DB-5978-46BA-964C-5B55B87B6690}" dt="2021-08-19T08:12:21.038" v="12064"/>
          <ac:spMkLst>
            <pc:docMk/>
            <pc:sldMk cId="4248152859" sldId="1396"/>
            <ac:spMk id="49" creationId="{87E21B23-A882-43D5-951F-5369F8C97AD0}"/>
          </ac:spMkLst>
        </pc:spChg>
        <pc:spChg chg="mod">
          <ac:chgData name="Disselhoff, Tim" userId="3b8b5473-7050-4f60-8279-e72cc8538d43" providerId="ADAL" clId="{952E53DB-5978-46BA-964C-5B55B87B6690}" dt="2021-08-19T08:12:21.038" v="12064"/>
          <ac:spMkLst>
            <pc:docMk/>
            <pc:sldMk cId="4248152859" sldId="1396"/>
            <ac:spMk id="50" creationId="{E4352EDC-8072-40AB-B68B-1A4D32005EC1}"/>
          </ac:spMkLst>
        </pc:spChg>
        <pc:spChg chg="mod">
          <ac:chgData name="Disselhoff, Tim" userId="3b8b5473-7050-4f60-8279-e72cc8538d43" providerId="ADAL" clId="{952E53DB-5978-46BA-964C-5B55B87B6690}" dt="2021-08-19T08:18:50.125" v="12559"/>
          <ac:spMkLst>
            <pc:docMk/>
            <pc:sldMk cId="4248152859" sldId="1396"/>
            <ac:spMk id="52" creationId="{1B6EB7A9-0914-4747-93C2-17B68EAA2831}"/>
          </ac:spMkLst>
        </pc:spChg>
        <pc:spChg chg="mod">
          <ac:chgData name="Disselhoff, Tim" userId="3b8b5473-7050-4f60-8279-e72cc8538d43" providerId="ADAL" clId="{952E53DB-5978-46BA-964C-5B55B87B6690}" dt="2021-08-19T08:18:50.125" v="12559"/>
          <ac:spMkLst>
            <pc:docMk/>
            <pc:sldMk cId="4248152859" sldId="1396"/>
            <ac:spMk id="53" creationId="{8C83487A-5818-4480-91CA-47A2A343E34B}"/>
          </ac:spMkLst>
        </pc:spChg>
        <pc:spChg chg="add mod">
          <ac:chgData name="Disselhoff, Tim" userId="3b8b5473-7050-4f60-8279-e72cc8538d43" providerId="ADAL" clId="{952E53DB-5978-46BA-964C-5B55B87B6690}" dt="2021-08-19T08:22:33.518" v="12707" actId="20577"/>
          <ac:spMkLst>
            <pc:docMk/>
            <pc:sldMk cId="4248152859" sldId="1396"/>
            <ac:spMk id="54" creationId="{DF3E377B-79C2-4122-9372-756061CB0942}"/>
          </ac:spMkLst>
        </pc:spChg>
        <pc:spChg chg="mod">
          <ac:chgData name="Disselhoff, Tim" userId="3b8b5473-7050-4f60-8279-e72cc8538d43" providerId="ADAL" clId="{952E53DB-5978-46BA-964C-5B55B87B6690}" dt="2021-08-19T08:19:22.507" v="12586"/>
          <ac:spMkLst>
            <pc:docMk/>
            <pc:sldMk cId="4248152859" sldId="1396"/>
            <ac:spMk id="56" creationId="{3A378BA1-C5F0-4E98-8192-2F1FF080C46D}"/>
          </ac:spMkLst>
        </pc:spChg>
        <pc:spChg chg="mod">
          <ac:chgData name="Disselhoff, Tim" userId="3b8b5473-7050-4f60-8279-e72cc8538d43" providerId="ADAL" clId="{952E53DB-5978-46BA-964C-5B55B87B6690}" dt="2021-08-19T08:19:22.507" v="12586"/>
          <ac:spMkLst>
            <pc:docMk/>
            <pc:sldMk cId="4248152859" sldId="1396"/>
            <ac:spMk id="57" creationId="{5F8A952A-DB33-4FFF-AD53-55585C528FAA}"/>
          </ac:spMkLst>
        </pc:spChg>
        <pc:spChg chg="mod">
          <ac:chgData name="Disselhoff, Tim" userId="3b8b5473-7050-4f60-8279-e72cc8538d43" providerId="ADAL" clId="{952E53DB-5978-46BA-964C-5B55B87B6690}" dt="2021-08-19T08:25:03.163" v="12988" actId="20577"/>
          <ac:spMkLst>
            <pc:docMk/>
            <pc:sldMk cId="4248152859" sldId="1396"/>
            <ac:spMk id="60" creationId="{5A266629-D7A9-4E36-88B4-D84BD8A3E68F}"/>
          </ac:spMkLst>
        </pc:spChg>
        <pc:spChg chg="mod">
          <ac:chgData name="Disselhoff, Tim" userId="3b8b5473-7050-4f60-8279-e72cc8538d43" providerId="ADAL" clId="{952E53DB-5978-46BA-964C-5B55B87B6690}" dt="2021-08-19T08:22:47.848" v="12713"/>
          <ac:spMkLst>
            <pc:docMk/>
            <pc:sldMk cId="4248152859" sldId="1396"/>
            <ac:spMk id="62" creationId="{EF2E2E0B-E4BF-4A50-9448-CE4F2DE9EA4A}"/>
          </ac:spMkLst>
        </pc:spChg>
        <pc:spChg chg="mod">
          <ac:chgData name="Disselhoff, Tim" userId="3b8b5473-7050-4f60-8279-e72cc8538d43" providerId="ADAL" clId="{952E53DB-5978-46BA-964C-5B55B87B6690}" dt="2021-08-19T08:22:47.848" v="12713"/>
          <ac:spMkLst>
            <pc:docMk/>
            <pc:sldMk cId="4248152859" sldId="1396"/>
            <ac:spMk id="63" creationId="{CD6D2589-44B7-4D54-9FFF-FCCFDB6FCD06}"/>
          </ac:spMkLst>
        </pc:spChg>
        <pc:grpChg chg="add mod ord">
          <ac:chgData name="Disselhoff, Tim" userId="3b8b5473-7050-4f60-8279-e72cc8538d43" providerId="ADAL" clId="{952E53DB-5978-46BA-964C-5B55B87B6690}" dt="2021-08-19T08:18:35.502" v="12527" actId="1035"/>
          <ac:grpSpMkLst>
            <pc:docMk/>
            <pc:sldMk cId="4248152859" sldId="1396"/>
            <ac:grpSpMk id="8" creationId="{65B4E9B0-1CCF-4ADB-97F6-5BE70B98DFB0}"/>
          </ac:grpSpMkLst>
        </pc:grpChg>
        <pc:grpChg chg="add mod">
          <ac:chgData name="Disselhoff, Tim" userId="3b8b5473-7050-4f60-8279-e72cc8538d43" providerId="ADAL" clId="{952E53DB-5978-46BA-964C-5B55B87B6690}" dt="2021-08-19T08:08:01.296" v="11640"/>
          <ac:grpSpMkLst>
            <pc:docMk/>
            <pc:sldMk cId="4248152859" sldId="1396"/>
            <ac:grpSpMk id="38" creationId="{675A757B-828C-41C2-96B5-32731DC37E09}"/>
          </ac:grpSpMkLst>
        </pc:grpChg>
        <pc:grpChg chg="add mod">
          <ac:chgData name="Disselhoff, Tim" userId="3b8b5473-7050-4f60-8279-e72cc8538d43" providerId="ADAL" clId="{952E53DB-5978-46BA-964C-5B55B87B6690}" dt="2021-08-19T08:08:44.730" v="11650" actId="404"/>
          <ac:grpSpMkLst>
            <pc:docMk/>
            <pc:sldMk cId="4248152859" sldId="1396"/>
            <ac:grpSpMk id="42" creationId="{2D3FEC60-C21C-4C6E-92FB-03DBAE8692E6}"/>
          </ac:grpSpMkLst>
        </pc:grpChg>
        <pc:grpChg chg="add mod">
          <ac:chgData name="Disselhoff, Tim" userId="3b8b5473-7050-4f60-8279-e72cc8538d43" providerId="ADAL" clId="{952E53DB-5978-46BA-964C-5B55B87B6690}" dt="2021-08-19T08:18:40.345" v="12536" actId="1035"/>
          <ac:grpSpMkLst>
            <pc:docMk/>
            <pc:sldMk cId="4248152859" sldId="1396"/>
            <ac:grpSpMk id="48" creationId="{CBBD27FB-AD24-4FEE-B5D5-0B3AC2EE1B7B}"/>
          </ac:grpSpMkLst>
        </pc:grpChg>
        <pc:grpChg chg="add mod">
          <ac:chgData name="Disselhoff, Tim" userId="3b8b5473-7050-4f60-8279-e72cc8538d43" providerId="ADAL" clId="{952E53DB-5978-46BA-964C-5B55B87B6690}" dt="2021-08-19T08:18:50.133" v="12560"/>
          <ac:grpSpMkLst>
            <pc:docMk/>
            <pc:sldMk cId="4248152859" sldId="1396"/>
            <ac:grpSpMk id="51" creationId="{E841EA05-A5A5-414B-81ED-01A72EF89F50}"/>
          </ac:grpSpMkLst>
        </pc:grpChg>
        <pc:grpChg chg="add mod">
          <ac:chgData name="Disselhoff, Tim" userId="3b8b5473-7050-4f60-8279-e72cc8538d43" providerId="ADAL" clId="{952E53DB-5978-46BA-964C-5B55B87B6690}" dt="2021-08-19T08:19:28.619" v="12587" actId="164"/>
          <ac:grpSpMkLst>
            <pc:docMk/>
            <pc:sldMk cId="4248152859" sldId="1396"/>
            <ac:grpSpMk id="55" creationId="{631FBAA9-26A9-406C-88E3-850A2428B3A7}"/>
          </ac:grpSpMkLst>
        </pc:grpChg>
        <pc:grpChg chg="add mod">
          <ac:chgData name="Disselhoff, Tim" userId="3b8b5473-7050-4f60-8279-e72cc8538d43" providerId="ADAL" clId="{952E53DB-5978-46BA-964C-5B55B87B6690}" dt="2021-08-19T08:22:45.025" v="12712" actId="1035"/>
          <ac:grpSpMkLst>
            <pc:docMk/>
            <pc:sldMk cId="4248152859" sldId="1396"/>
            <ac:grpSpMk id="58" creationId="{FF1FBEE0-17F8-4AEB-868D-2E97C988A416}"/>
          </ac:grpSpMkLst>
        </pc:grpChg>
        <pc:grpChg chg="add mod">
          <ac:chgData name="Disselhoff, Tim" userId="3b8b5473-7050-4f60-8279-e72cc8538d43" providerId="ADAL" clId="{952E53DB-5978-46BA-964C-5B55B87B6690}" dt="2021-08-19T08:22:51.239" v="12714" actId="1076"/>
          <ac:grpSpMkLst>
            <pc:docMk/>
            <pc:sldMk cId="4248152859" sldId="1396"/>
            <ac:grpSpMk id="59" creationId="{ECBF07B5-239B-4C54-89D9-377A423778D4}"/>
          </ac:grpSpMkLst>
        </pc:grpChg>
        <pc:grpChg chg="mod">
          <ac:chgData name="Disselhoff, Tim" userId="3b8b5473-7050-4f60-8279-e72cc8538d43" providerId="ADAL" clId="{952E53DB-5978-46BA-964C-5B55B87B6690}" dt="2021-08-19T08:22:47.848" v="12713"/>
          <ac:grpSpMkLst>
            <pc:docMk/>
            <pc:sldMk cId="4248152859" sldId="1396"/>
            <ac:grpSpMk id="61" creationId="{EB0CDAD3-CB05-4CF9-9914-4B43A53ED6E9}"/>
          </ac:grpSpMkLst>
        </pc:grpChg>
        <pc:graphicFrameChg chg="add mod ord modVis">
          <ac:chgData name="Disselhoff, Tim" userId="3b8b5473-7050-4f60-8279-e72cc8538d43" providerId="ADAL" clId="{952E53DB-5978-46BA-964C-5B55B87B6690}" dt="2021-08-19T08:07:41.234" v="11627"/>
          <ac:graphicFrameMkLst>
            <pc:docMk/>
            <pc:sldMk cId="4248152859" sldId="1396"/>
            <ac:graphicFrameMk id="45" creationId="{141B91D4-DCB5-4E45-8893-F4C6D7E1C0FB}"/>
          </ac:graphicFrameMkLst>
        </pc:graphicFrameChg>
        <pc:picChg chg="add mod ord">
          <ac:chgData name="Disselhoff, Tim" userId="3b8b5473-7050-4f60-8279-e72cc8538d43" providerId="ADAL" clId="{952E53DB-5978-46BA-964C-5B55B87B6690}" dt="2021-08-19T08:07:41.136" v="11603"/>
          <ac:picMkLst>
            <pc:docMk/>
            <pc:sldMk cId="4248152859" sldId="1396"/>
            <ac:picMk id="7" creationId="{F9746226-5B1E-451C-B4FB-0E93BA0A3299}"/>
          </ac:picMkLst>
        </pc:picChg>
        <pc:cxnChg chg="add del mod ord">
          <ac:chgData name="Disselhoff, Tim" userId="3b8b5473-7050-4f60-8279-e72cc8538d43" providerId="ADAL" clId="{952E53DB-5978-46BA-964C-5B55B87B6690}" dt="2021-08-19T08:11:32.063" v="11959" actId="478"/>
          <ac:cxnSpMkLst>
            <pc:docMk/>
            <pc:sldMk cId="4248152859" sldId="1396"/>
            <ac:cxnSpMk id="37" creationId="{E2CAD3EC-96A0-4DC6-84FF-7AD20FB6282F}"/>
          </ac:cxnSpMkLst>
        </pc:cxnChg>
      </pc:sldChg>
      <pc:sldChg chg="del">
        <pc:chgData name="Disselhoff, Tim" userId="3b8b5473-7050-4f60-8279-e72cc8538d43" providerId="ADAL" clId="{952E53DB-5978-46BA-964C-5B55B87B6690}" dt="2021-08-18T16:27:25.389" v="11369" actId="47"/>
        <pc:sldMkLst>
          <pc:docMk/>
          <pc:sldMk cId="4200342970" sldId="1397"/>
        </pc:sldMkLst>
      </pc:sldChg>
      <pc:sldChg chg="add ord">
        <pc:chgData name="Disselhoff, Tim" userId="3b8b5473-7050-4f60-8279-e72cc8538d43" providerId="ADAL" clId="{952E53DB-5978-46BA-964C-5B55B87B6690}" dt="2021-08-18T16:30:13.616" v="11448"/>
        <pc:sldMkLst>
          <pc:docMk/>
          <pc:sldMk cId="680973599" sldId="1401"/>
        </pc:sldMkLst>
      </pc:sldChg>
      <pc:sldChg chg="add">
        <pc:chgData name="Disselhoff, Tim" userId="3b8b5473-7050-4f60-8279-e72cc8538d43" providerId="ADAL" clId="{952E53DB-5978-46BA-964C-5B55B87B6690}" dt="2021-08-18T15:19:27.400" v="8888"/>
        <pc:sldMkLst>
          <pc:docMk/>
          <pc:sldMk cId="3939178323" sldId="1404"/>
        </pc:sldMkLst>
      </pc:sldChg>
      <pc:sldChg chg="add">
        <pc:chgData name="Disselhoff, Tim" userId="3b8b5473-7050-4f60-8279-e72cc8538d43" providerId="ADAL" clId="{952E53DB-5978-46BA-964C-5B55B87B6690}" dt="2021-08-18T15:19:27.400" v="8888"/>
        <pc:sldMkLst>
          <pc:docMk/>
          <pc:sldMk cId="3408530197" sldId="1405"/>
        </pc:sldMkLst>
      </pc:sldChg>
      <pc:sldChg chg="add del">
        <pc:chgData name="Disselhoff, Tim" userId="3b8b5473-7050-4f60-8279-e72cc8538d43" providerId="ADAL" clId="{952E53DB-5978-46BA-964C-5B55B87B6690}" dt="2021-08-18T16:10:11.476" v="10802" actId="47"/>
        <pc:sldMkLst>
          <pc:docMk/>
          <pc:sldMk cId="4290027170" sldId="1406"/>
        </pc:sldMkLst>
      </pc:sldChg>
      <pc:sldChg chg="addSp delSp modSp add del mod">
        <pc:chgData name="Disselhoff, Tim" userId="3b8b5473-7050-4f60-8279-e72cc8538d43" providerId="ADAL" clId="{952E53DB-5978-46BA-964C-5B55B87B6690}" dt="2021-08-18T16:10:09.891" v="10799" actId="47"/>
        <pc:sldMkLst>
          <pc:docMk/>
          <pc:sldMk cId="2555071589" sldId="1407"/>
        </pc:sldMkLst>
        <pc:spChg chg="mod ord">
          <ac:chgData name="Disselhoff, Tim" userId="3b8b5473-7050-4f60-8279-e72cc8538d43" providerId="ADAL" clId="{952E53DB-5978-46BA-964C-5B55B87B6690}" dt="2021-08-18T15:38:30.921" v="9399"/>
          <ac:spMkLst>
            <pc:docMk/>
            <pc:sldMk cId="2555071589" sldId="1407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8T15:38:30.922" v="9401"/>
          <ac:spMkLst>
            <pc:docMk/>
            <pc:sldMk cId="2555071589" sldId="1407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8T15:38:30.923" v="9403"/>
          <ac:spMkLst>
            <pc:docMk/>
            <pc:sldMk cId="2555071589" sldId="1407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8T15:38:30.923" v="9405"/>
          <ac:spMkLst>
            <pc:docMk/>
            <pc:sldMk cId="2555071589" sldId="1407"/>
            <ac:spMk id="5" creationId="{FFD85F28-C617-44C3-AFDF-58763606B422}"/>
          </ac:spMkLst>
        </pc:spChg>
        <pc:spChg chg="add del mod ord">
          <ac:chgData name="Disselhoff, Tim" userId="3b8b5473-7050-4f60-8279-e72cc8538d43" providerId="ADAL" clId="{952E53DB-5978-46BA-964C-5B55B87B6690}" dt="2021-08-18T15:41:03.933" v="9541"/>
          <ac:spMkLst>
            <pc:docMk/>
            <pc:sldMk cId="2555071589" sldId="1407"/>
            <ac:spMk id="6" creationId="{7DEA786B-FDC6-4E94-9CA4-6E7D0C3513AA}"/>
          </ac:spMkLst>
        </pc:spChg>
        <pc:spChg chg="mod ord">
          <ac:chgData name="Disselhoff, Tim" userId="3b8b5473-7050-4f60-8279-e72cc8538d43" providerId="ADAL" clId="{952E53DB-5978-46BA-964C-5B55B87B6690}" dt="2021-08-18T15:38:30.924" v="9407"/>
          <ac:spMkLst>
            <pc:docMk/>
            <pc:sldMk cId="2555071589" sldId="1407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8T15:38:30.928" v="9415"/>
          <ac:spMkLst>
            <pc:docMk/>
            <pc:sldMk cId="2555071589" sldId="1407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8T15:38:30.928" v="9417"/>
          <ac:spMkLst>
            <pc:docMk/>
            <pc:sldMk cId="2555071589" sldId="1407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8T15:38:30.929" v="9419"/>
          <ac:spMkLst>
            <pc:docMk/>
            <pc:sldMk cId="2555071589" sldId="1407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8T15:38:30.932" v="9427"/>
          <ac:spMkLst>
            <pc:docMk/>
            <pc:sldMk cId="2555071589" sldId="1407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8T15:38:30.953" v="9481"/>
          <ac:spMkLst>
            <pc:docMk/>
            <pc:sldMk cId="2555071589" sldId="1407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8T15:38:30.936" v="9435"/>
          <ac:spMkLst>
            <pc:docMk/>
            <pc:sldMk cId="2555071589" sldId="1407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8T15:38:30.944" v="9457"/>
          <ac:spMkLst>
            <pc:docMk/>
            <pc:sldMk cId="2555071589" sldId="1407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8T15:38:30.944" v="9459"/>
          <ac:spMkLst>
            <pc:docMk/>
            <pc:sldMk cId="2555071589" sldId="1407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8T15:38:30.945" v="9461"/>
          <ac:spMkLst>
            <pc:docMk/>
            <pc:sldMk cId="2555071589" sldId="1407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8T15:38:30.946" v="9463"/>
          <ac:spMkLst>
            <pc:docMk/>
            <pc:sldMk cId="2555071589" sldId="1407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8T15:38:30.947" v="9465"/>
          <ac:spMkLst>
            <pc:docMk/>
            <pc:sldMk cId="2555071589" sldId="1407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8T15:38:30.947" v="9467"/>
          <ac:spMkLst>
            <pc:docMk/>
            <pc:sldMk cId="2555071589" sldId="1407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8T15:38:30.949" v="9471"/>
          <ac:spMkLst>
            <pc:docMk/>
            <pc:sldMk cId="2555071589" sldId="1407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8T15:38:30.950" v="9473"/>
          <ac:spMkLst>
            <pc:docMk/>
            <pc:sldMk cId="2555071589" sldId="1407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8T15:38:30.958" v="9490"/>
          <ac:spMkLst>
            <pc:docMk/>
            <pc:sldMk cId="2555071589" sldId="1407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8T15:38:30.951" v="9477"/>
          <ac:spMkLst>
            <pc:docMk/>
            <pc:sldMk cId="2555071589" sldId="1407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8T15:38:30.916" v="9395"/>
          <ac:spMkLst>
            <pc:docMk/>
            <pc:sldMk cId="2555071589" sldId="1407"/>
            <ac:spMk id="361" creationId="{216FF5D1-F5EE-4B51-AD15-F796A02CE247}"/>
          </ac:spMkLst>
        </pc:spChg>
        <pc:spChg chg="mod">
          <ac:chgData name="Disselhoff, Tim" userId="3b8b5473-7050-4f60-8279-e72cc8538d43" providerId="ADAL" clId="{952E53DB-5978-46BA-964C-5B55B87B6690}" dt="2021-08-18T15:39:22.413" v="9519"/>
          <ac:spMkLst>
            <pc:docMk/>
            <pc:sldMk cId="2555071589" sldId="1407"/>
            <ac:spMk id="363" creationId="{5E86BB4D-9F11-4689-A4FA-F3C417F2091A}"/>
          </ac:spMkLst>
        </pc:spChg>
        <pc:spChg chg="mod ord">
          <ac:chgData name="Disselhoff, Tim" userId="3b8b5473-7050-4f60-8279-e72cc8538d43" providerId="ADAL" clId="{952E53DB-5978-46BA-964C-5B55B87B6690}" dt="2021-08-18T15:38:30.952" v="9479"/>
          <ac:spMkLst>
            <pc:docMk/>
            <pc:sldMk cId="2555071589" sldId="1407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8T15:38:30.960" v="9494"/>
          <ac:spMkLst>
            <pc:docMk/>
            <pc:sldMk cId="2555071589" sldId="1407"/>
            <ac:spMk id="367" creationId="{DE91575A-3185-DE4E-BF38-E185B82E0FCB}"/>
          </ac:spMkLst>
        </pc:spChg>
        <pc:spChg chg="add del mod topLvl">
          <ac:chgData name="Disselhoff, Tim" userId="3b8b5473-7050-4f60-8279-e72cc8538d43" providerId="ADAL" clId="{952E53DB-5978-46BA-964C-5B55B87B6690}" dt="2021-08-18T15:41:03.933" v="9541"/>
          <ac:spMkLst>
            <pc:docMk/>
            <pc:sldMk cId="2555071589" sldId="1407"/>
            <ac:spMk id="381" creationId="{7DC4EEF1-204D-402D-B785-CDBCACCEBD4F}"/>
          </ac:spMkLst>
        </pc:spChg>
        <pc:spChg chg="mod topLvl">
          <ac:chgData name="Disselhoff, Tim" userId="3b8b5473-7050-4f60-8279-e72cc8538d43" providerId="ADAL" clId="{952E53DB-5978-46BA-964C-5B55B87B6690}" dt="2021-08-18T15:38:57.112" v="9514" actId="165"/>
          <ac:spMkLst>
            <pc:docMk/>
            <pc:sldMk cId="2555071589" sldId="1407"/>
            <ac:spMk id="382" creationId="{38FFCDA8-F48A-49EF-AAFE-AE084AE6FAC1}"/>
          </ac:spMkLst>
        </pc:spChg>
        <pc:spChg chg="mod topLvl">
          <ac:chgData name="Disselhoff, Tim" userId="3b8b5473-7050-4f60-8279-e72cc8538d43" providerId="ADAL" clId="{952E53DB-5978-46BA-964C-5B55B87B6690}" dt="2021-08-18T15:38:43.237" v="9513" actId="165"/>
          <ac:spMkLst>
            <pc:docMk/>
            <pc:sldMk cId="2555071589" sldId="1407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8T15:38:30.961" v="9496"/>
          <ac:spMkLst>
            <pc:docMk/>
            <pc:sldMk cId="2555071589" sldId="1407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8T15:38:30.961" v="9498"/>
          <ac:spMkLst>
            <pc:docMk/>
            <pc:sldMk cId="2555071589" sldId="1407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8T15:38:30.962" v="9500"/>
          <ac:spMkLst>
            <pc:docMk/>
            <pc:sldMk cId="2555071589" sldId="1407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8T15:38:30.963" v="9502"/>
          <ac:spMkLst>
            <pc:docMk/>
            <pc:sldMk cId="2555071589" sldId="1407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8T15:38:30.964" v="9504"/>
          <ac:spMkLst>
            <pc:docMk/>
            <pc:sldMk cId="2555071589" sldId="1407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8T15:38:30.965" v="9506"/>
          <ac:spMkLst>
            <pc:docMk/>
            <pc:sldMk cId="2555071589" sldId="1407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8T15:38:30.965" v="9508"/>
          <ac:spMkLst>
            <pc:docMk/>
            <pc:sldMk cId="2555071589" sldId="1407"/>
            <ac:spMk id="390" creationId="{55C60B76-5103-42DC-83D7-36B18DAC247F}"/>
          </ac:spMkLst>
        </pc:spChg>
        <pc:spChg chg="mod">
          <ac:chgData name="Disselhoff, Tim" userId="3b8b5473-7050-4f60-8279-e72cc8538d43" providerId="ADAL" clId="{952E53DB-5978-46BA-964C-5B55B87B6690}" dt="2021-08-18T15:40:46.016" v="9539"/>
          <ac:spMkLst>
            <pc:docMk/>
            <pc:sldMk cId="2555071589" sldId="1407"/>
            <ac:spMk id="391" creationId="{415925C7-FC72-4014-934B-A23C0CE8912E}"/>
          </ac:spMkLst>
        </pc:spChg>
        <pc:spChg chg="mod">
          <ac:chgData name="Disselhoff, Tim" userId="3b8b5473-7050-4f60-8279-e72cc8538d43" providerId="ADAL" clId="{952E53DB-5978-46BA-964C-5B55B87B6690}" dt="2021-08-18T15:43:56.709" v="9593" actId="1076"/>
          <ac:spMkLst>
            <pc:docMk/>
            <pc:sldMk cId="2555071589" sldId="1407"/>
            <ac:spMk id="392" creationId="{267EE062-7CE3-44B2-AA11-FF79B328BE7C}"/>
          </ac:spMkLst>
        </pc:spChg>
        <pc:spChg chg="mod ord">
          <ac:chgData name="Disselhoff, Tim" userId="3b8b5473-7050-4f60-8279-e72cc8538d43" providerId="ADAL" clId="{952E53DB-5978-46BA-964C-5B55B87B6690}" dt="2021-08-18T15:38:30.966" v="9510"/>
          <ac:spMkLst>
            <pc:docMk/>
            <pc:sldMk cId="2555071589" sldId="1407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8T15:38:30.925" v="9409"/>
          <ac:grpSpMkLst>
            <pc:docMk/>
            <pc:sldMk cId="2555071589" sldId="1407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8T15:38:30.926" v="9411"/>
          <ac:grpSpMkLst>
            <pc:docMk/>
            <pc:sldMk cId="2555071589" sldId="1407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8T15:38:30.927" v="9413"/>
          <ac:grpSpMkLst>
            <pc:docMk/>
            <pc:sldMk cId="2555071589" sldId="1407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8T15:38:30.930" v="9421"/>
          <ac:grpSpMkLst>
            <pc:docMk/>
            <pc:sldMk cId="2555071589" sldId="1407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8T15:38:30.931" v="9423"/>
          <ac:grpSpMkLst>
            <pc:docMk/>
            <pc:sldMk cId="2555071589" sldId="1407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8T15:38:30.932" v="9425"/>
          <ac:grpSpMkLst>
            <pc:docMk/>
            <pc:sldMk cId="2555071589" sldId="1407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8T15:38:30.933" v="9429"/>
          <ac:grpSpMkLst>
            <pc:docMk/>
            <pc:sldMk cId="2555071589" sldId="1407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8T15:38:30.934" v="9431"/>
          <ac:grpSpMkLst>
            <pc:docMk/>
            <pc:sldMk cId="2555071589" sldId="1407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8T15:38:30.935" v="9433"/>
          <ac:grpSpMkLst>
            <pc:docMk/>
            <pc:sldMk cId="2555071589" sldId="1407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8T15:38:30.954" v="9482"/>
          <ac:grpSpMkLst>
            <pc:docMk/>
            <pc:sldMk cId="2555071589" sldId="1407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8T15:38:30.948" v="9469"/>
          <ac:grpSpMkLst>
            <pc:docMk/>
            <pc:sldMk cId="2555071589" sldId="1407"/>
            <ac:grpSpMk id="40" creationId="{37AB0EBD-FC68-47BC-BCDE-00708884834E}"/>
          </ac:grpSpMkLst>
        </pc:grpChg>
        <pc:grpChg chg="del mod ord">
          <ac:chgData name="Disselhoff, Tim" userId="3b8b5473-7050-4f60-8279-e72cc8538d43" providerId="ADAL" clId="{952E53DB-5978-46BA-964C-5B55B87B6690}" dt="2021-08-18T15:38:43.237" v="9513" actId="165"/>
          <ac:grpSpMkLst>
            <pc:docMk/>
            <pc:sldMk cId="2555071589" sldId="1407"/>
            <ac:grpSpMk id="51" creationId="{956DF3ED-DEA7-4D8B-8AEC-52328FD80F7A}"/>
          </ac:grpSpMkLst>
        </pc:grpChg>
        <pc:grpChg chg="del mod topLvl">
          <ac:chgData name="Disselhoff, Tim" userId="3b8b5473-7050-4f60-8279-e72cc8538d43" providerId="ADAL" clId="{952E53DB-5978-46BA-964C-5B55B87B6690}" dt="2021-08-18T15:38:57.112" v="9514" actId="165"/>
          <ac:grpSpMkLst>
            <pc:docMk/>
            <pc:sldMk cId="2555071589" sldId="1407"/>
            <ac:grpSpMk id="362" creationId="{8B009D61-7265-42F3-98FB-7696D10119B7}"/>
          </ac:grpSpMkLst>
        </pc:grpChg>
        <pc:grpChg chg="mod ord">
          <ac:chgData name="Disselhoff, Tim" userId="3b8b5473-7050-4f60-8279-e72cc8538d43" providerId="ADAL" clId="{952E53DB-5978-46BA-964C-5B55B87B6690}" dt="2021-08-18T15:38:30.959" v="9492"/>
          <ac:grpSpMkLst>
            <pc:docMk/>
            <pc:sldMk cId="2555071589" sldId="1407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8T15:38:30.975" v="9512"/>
          <ac:graphicFrameMkLst>
            <pc:docMk/>
            <pc:sldMk cId="2555071589" sldId="1407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8T15:38:30.955" v="9484"/>
          <ac:picMkLst>
            <pc:docMk/>
            <pc:sldMk cId="2555071589" sldId="1407"/>
            <ac:picMk id="379" creationId="{7100A991-7A62-4038-B790-C800CC86B1E6}"/>
          </ac:picMkLst>
        </pc:picChg>
        <pc:picChg chg="mod ord">
          <ac:chgData name="Disselhoff, Tim" userId="3b8b5473-7050-4f60-8279-e72cc8538d43" providerId="ADAL" clId="{952E53DB-5978-46BA-964C-5B55B87B6690}" dt="2021-08-18T15:38:30.955" v="9486"/>
          <ac:picMkLst>
            <pc:docMk/>
            <pc:sldMk cId="2555071589" sldId="1407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8T15:38:30.937" v="9437"/>
          <ac:cxnSpMkLst>
            <pc:docMk/>
            <pc:sldMk cId="2555071589" sldId="1407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8T15:38:30.937" v="9439"/>
          <ac:cxnSpMkLst>
            <pc:docMk/>
            <pc:sldMk cId="2555071589" sldId="1407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8T15:38:30.938" v="9441"/>
          <ac:cxnSpMkLst>
            <pc:docMk/>
            <pc:sldMk cId="2555071589" sldId="1407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8T15:38:30.939" v="9443"/>
          <ac:cxnSpMkLst>
            <pc:docMk/>
            <pc:sldMk cId="2555071589" sldId="1407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8T15:38:30.939" v="9445"/>
          <ac:cxnSpMkLst>
            <pc:docMk/>
            <pc:sldMk cId="2555071589" sldId="1407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8T15:38:30.940" v="9447"/>
          <ac:cxnSpMkLst>
            <pc:docMk/>
            <pc:sldMk cId="2555071589" sldId="1407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8T15:38:30.941" v="9449"/>
          <ac:cxnSpMkLst>
            <pc:docMk/>
            <pc:sldMk cId="2555071589" sldId="1407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8T15:38:30.942" v="9451"/>
          <ac:cxnSpMkLst>
            <pc:docMk/>
            <pc:sldMk cId="2555071589" sldId="1407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8T15:38:30.942" v="9453"/>
          <ac:cxnSpMkLst>
            <pc:docMk/>
            <pc:sldMk cId="2555071589" sldId="1407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8T15:38:30.943" v="9455"/>
          <ac:cxnSpMkLst>
            <pc:docMk/>
            <pc:sldMk cId="2555071589" sldId="1407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8T15:38:30.950" v="9475"/>
          <ac:cxnSpMkLst>
            <pc:docMk/>
            <pc:sldMk cId="2555071589" sldId="1407"/>
            <ac:cxnSpMk id="43" creationId="{1AC0A2C5-4B94-40F9-88E2-D3C10215517A}"/>
          </ac:cxnSpMkLst>
        </pc:cxnChg>
      </pc:sldChg>
      <pc:sldChg chg="delSp modSp add del mod">
        <pc:chgData name="Disselhoff, Tim" userId="3b8b5473-7050-4f60-8279-e72cc8538d43" providerId="ADAL" clId="{952E53DB-5978-46BA-964C-5B55B87B6690}" dt="2021-08-18T16:10:10.356" v="10800" actId="47"/>
        <pc:sldMkLst>
          <pc:docMk/>
          <pc:sldMk cId="1234918858" sldId="1408"/>
        </pc:sldMkLst>
        <pc:spChg chg="del">
          <ac:chgData name="Disselhoff, Tim" userId="3b8b5473-7050-4f60-8279-e72cc8538d43" providerId="ADAL" clId="{952E53DB-5978-46BA-964C-5B55B87B6690}" dt="2021-08-18T15:39:41.850" v="9521"/>
          <ac:spMkLst>
            <pc:docMk/>
            <pc:sldMk cId="1234918858" sldId="1408"/>
            <ac:spMk id="6" creationId="{7DEA786B-FDC6-4E94-9CA4-6E7D0C3513AA}"/>
          </ac:spMkLst>
        </pc:spChg>
        <pc:spChg chg="mod">
          <ac:chgData name="Disselhoff, Tim" userId="3b8b5473-7050-4f60-8279-e72cc8538d43" providerId="ADAL" clId="{952E53DB-5978-46BA-964C-5B55B87B6690}" dt="2021-08-18T15:44:04.600" v="9596" actId="1076"/>
          <ac:spMkLst>
            <pc:docMk/>
            <pc:sldMk cId="1234918858" sldId="1408"/>
            <ac:spMk id="362" creationId="{F67B3716-1C21-43F7-A1EB-FB5F745E090D}"/>
          </ac:spMkLst>
        </pc:spChg>
        <pc:spChg chg="del">
          <ac:chgData name="Disselhoff, Tim" userId="3b8b5473-7050-4f60-8279-e72cc8538d43" providerId="ADAL" clId="{952E53DB-5978-46BA-964C-5B55B87B6690}" dt="2021-08-18T15:39:41.850" v="9521"/>
          <ac:spMkLst>
            <pc:docMk/>
            <pc:sldMk cId="1234918858" sldId="1408"/>
            <ac:spMk id="381" creationId="{7DC4EEF1-204D-402D-B785-CDBCACCEBD4F}"/>
          </ac:spMkLst>
        </pc:spChg>
      </pc:sldChg>
      <pc:sldChg chg="addSp delSp modSp add del mod">
        <pc:chgData name="Disselhoff, Tim" userId="3b8b5473-7050-4f60-8279-e72cc8538d43" providerId="ADAL" clId="{952E53DB-5978-46BA-964C-5B55B87B6690}" dt="2021-08-18T16:10:09.603" v="10798" actId="47"/>
        <pc:sldMkLst>
          <pc:docMk/>
          <pc:sldMk cId="1198699340" sldId="1409"/>
        </pc:sldMkLst>
        <pc:spChg chg="del">
          <ac:chgData name="Disselhoff, Tim" userId="3b8b5473-7050-4f60-8279-e72cc8538d43" providerId="ADAL" clId="{952E53DB-5978-46BA-964C-5B55B87B6690}" dt="2021-08-18T15:42:38.752" v="9574"/>
          <ac:spMkLst>
            <pc:docMk/>
            <pc:sldMk cId="1198699340" sldId="1409"/>
            <ac:spMk id="363" creationId="{5304FB80-018D-424E-8B1E-7D48E0FAD15E}"/>
          </ac:spMkLst>
        </pc:spChg>
        <pc:spChg chg="del mod topLvl">
          <ac:chgData name="Disselhoff, Tim" userId="3b8b5473-7050-4f60-8279-e72cc8538d43" providerId="ADAL" clId="{952E53DB-5978-46BA-964C-5B55B87B6690}" dt="2021-08-18T15:44:55.707" v="9602"/>
          <ac:spMkLst>
            <pc:docMk/>
            <pc:sldMk cId="1198699340" sldId="1409"/>
            <ac:spMk id="381" creationId="{7DC4EEF1-204D-402D-B785-CDBCACCEBD4F}"/>
          </ac:spMkLst>
        </pc:spChg>
        <pc:spChg chg="mod topLvl">
          <ac:chgData name="Disselhoff, Tim" userId="3b8b5473-7050-4f60-8279-e72cc8538d43" providerId="ADAL" clId="{952E53DB-5978-46BA-964C-5B55B87B6690}" dt="2021-08-18T15:44:48.930" v="9601" actId="165"/>
          <ac:spMkLst>
            <pc:docMk/>
            <pc:sldMk cId="1198699340" sldId="1409"/>
            <ac:spMk id="382" creationId="{38FFCDA8-F48A-49EF-AAFE-AE084AE6FAC1}"/>
          </ac:spMkLst>
        </pc:spChg>
        <pc:spChg chg="mod topLvl">
          <ac:chgData name="Disselhoff, Tim" userId="3b8b5473-7050-4f60-8279-e72cc8538d43" providerId="ADAL" clId="{952E53DB-5978-46BA-964C-5B55B87B6690}" dt="2021-08-18T15:42:22.117" v="9573" actId="165"/>
          <ac:spMkLst>
            <pc:docMk/>
            <pc:sldMk cId="1198699340" sldId="1409"/>
            <ac:spMk id="383" creationId="{BA485D0D-A8E6-4FE5-9546-4DB3BC0BECB3}"/>
          </ac:spMkLst>
        </pc:spChg>
        <pc:spChg chg="del">
          <ac:chgData name="Disselhoff, Tim" userId="3b8b5473-7050-4f60-8279-e72cc8538d43" providerId="ADAL" clId="{952E53DB-5978-46BA-964C-5B55B87B6690}" dt="2021-08-18T15:42:38.752" v="9574"/>
          <ac:spMkLst>
            <pc:docMk/>
            <pc:sldMk cId="1198699340" sldId="1409"/>
            <ac:spMk id="391" creationId="{A06B8151-9667-4CD7-8BD6-559E6843ABCE}"/>
          </ac:spMkLst>
        </pc:spChg>
        <pc:spChg chg="add del mod">
          <ac:chgData name="Disselhoff, Tim" userId="3b8b5473-7050-4f60-8279-e72cc8538d43" providerId="ADAL" clId="{952E53DB-5978-46BA-964C-5B55B87B6690}" dt="2021-08-18T15:42:38.752" v="9574"/>
          <ac:spMkLst>
            <pc:docMk/>
            <pc:sldMk cId="1198699340" sldId="1409"/>
            <ac:spMk id="392" creationId="{2ECEB605-0633-4C29-BE13-A7AAC1D90C66}"/>
          </ac:spMkLst>
        </pc:spChg>
        <pc:spChg chg="mod">
          <ac:chgData name="Disselhoff, Tim" userId="3b8b5473-7050-4f60-8279-e72cc8538d43" providerId="ADAL" clId="{952E53DB-5978-46BA-964C-5B55B87B6690}" dt="2021-08-18T15:43:07.208" v="9586" actId="14100"/>
          <ac:spMkLst>
            <pc:docMk/>
            <pc:sldMk cId="1198699340" sldId="1409"/>
            <ac:spMk id="393" creationId="{AFAB8D84-660D-4951-8766-68B6AE413D69}"/>
          </ac:spMkLst>
        </pc:spChg>
        <pc:spChg chg="add del mod">
          <ac:chgData name="Disselhoff, Tim" userId="3b8b5473-7050-4f60-8279-e72cc8538d43" providerId="ADAL" clId="{952E53DB-5978-46BA-964C-5B55B87B6690}" dt="2021-08-18T15:44:55.707" v="9602"/>
          <ac:spMkLst>
            <pc:docMk/>
            <pc:sldMk cId="1198699340" sldId="1409"/>
            <ac:spMk id="394" creationId="{08B2E479-A509-421C-8F8E-A3E0DEBDC789}"/>
          </ac:spMkLst>
        </pc:spChg>
        <pc:spChg chg="mod">
          <ac:chgData name="Disselhoff, Tim" userId="3b8b5473-7050-4f60-8279-e72cc8538d43" providerId="ADAL" clId="{952E53DB-5978-46BA-964C-5B55B87B6690}" dt="2021-08-18T15:44:55.707" v="9602"/>
          <ac:spMkLst>
            <pc:docMk/>
            <pc:sldMk cId="1198699340" sldId="1409"/>
            <ac:spMk id="395" creationId="{F5D7D45B-C307-4942-9277-82BA3020D104}"/>
          </ac:spMkLst>
        </pc:spChg>
        <pc:grpChg chg="del">
          <ac:chgData name="Disselhoff, Tim" userId="3b8b5473-7050-4f60-8279-e72cc8538d43" providerId="ADAL" clId="{952E53DB-5978-46BA-964C-5B55B87B6690}" dt="2021-08-18T15:42:22.117" v="9573" actId="165"/>
          <ac:grpSpMkLst>
            <pc:docMk/>
            <pc:sldMk cId="1198699340" sldId="1409"/>
            <ac:grpSpMk id="51" creationId="{956DF3ED-DEA7-4D8B-8AEC-52328FD80F7A}"/>
          </ac:grpSpMkLst>
        </pc:grpChg>
        <pc:grpChg chg="del mod topLvl">
          <ac:chgData name="Disselhoff, Tim" userId="3b8b5473-7050-4f60-8279-e72cc8538d43" providerId="ADAL" clId="{952E53DB-5978-46BA-964C-5B55B87B6690}" dt="2021-08-18T15:44:48.930" v="9601" actId="165"/>
          <ac:grpSpMkLst>
            <pc:docMk/>
            <pc:sldMk cId="1198699340" sldId="1409"/>
            <ac:grpSpMk id="362" creationId="{8B009D61-7265-42F3-98FB-7696D10119B7}"/>
          </ac:grpSpMkLst>
        </pc:grpChg>
      </pc:sldChg>
      <pc:sldChg chg="addSp delSp modSp add del mod">
        <pc:chgData name="Disselhoff, Tim" userId="3b8b5473-7050-4f60-8279-e72cc8538d43" providerId="ADAL" clId="{952E53DB-5978-46BA-964C-5B55B87B6690}" dt="2021-08-18T16:06:04.393" v="10742" actId="47"/>
        <pc:sldMkLst>
          <pc:docMk/>
          <pc:sldMk cId="1699530471" sldId="1410"/>
        </pc:sldMkLst>
        <pc:spChg chg="mod">
          <ac:chgData name="Disselhoff, Tim" userId="3b8b5473-7050-4f60-8279-e72cc8538d43" providerId="ADAL" clId="{952E53DB-5978-46BA-964C-5B55B87B6690}" dt="2021-08-18T15:45:44.793" v="9655"/>
          <ac:spMkLst>
            <pc:docMk/>
            <pc:sldMk cId="1699530471" sldId="1410"/>
            <ac:spMk id="48" creationId="{931EBFD0-CF6F-404D-BF78-39FD17EBEA3D}"/>
          </ac:spMkLst>
        </pc:spChg>
        <pc:spChg chg="del">
          <ac:chgData name="Disselhoff, Tim" userId="3b8b5473-7050-4f60-8279-e72cc8538d43" providerId="ADAL" clId="{952E53DB-5978-46BA-964C-5B55B87B6690}" dt="2021-08-18T15:45:22.506" v="9627" actId="478"/>
          <ac:spMkLst>
            <pc:docMk/>
            <pc:sldMk cId="1699530471" sldId="1410"/>
            <ac:spMk id="363" creationId="{5304FB80-018D-424E-8B1E-7D48E0FAD15E}"/>
          </ac:spMkLst>
        </pc:spChg>
        <pc:spChg chg="mod topLvl">
          <ac:chgData name="Disselhoff, Tim" userId="3b8b5473-7050-4f60-8279-e72cc8538d43" providerId="ADAL" clId="{952E53DB-5978-46BA-964C-5B55B87B6690}" dt="2021-08-18T15:46:02.962" v="9679"/>
          <ac:spMkLst>
            <pc:docMk/>
            <pc:sldMk cId="1699530471" sldId="1410"/>
            <ac:spMk id="381" creationId="{7DC4EEF1-204D-402D-B785-CDBCACCEBD4F}"/>
          </ac:spMkLst>
        </pc:spChg>
        <pc:spChg chg="mod topLvl">
          <ac:chgData name="Disselhoff, Tim" userId="3b8b5473-7050-4f60-8279-e72cc8538d43" providerId="ADAL" clId="{952E53DB-5978-46BA-964C-5B55B87B6690}" dt="2021-08-18T15:45:39.438" v="9631" actId="165"/>
          <ac:spMkLst>
            <pc:docMk/>
            <pc:sldMk cId="1699530471" sldId="1410"/>
            <ac:spMk id="382" creationId="{38FFCDA8-F48A-49EF-AAFE-AE084AE6FAC1}"/>
          </ac:spMkLst>
        </pc:spChg>
        <pc:spChg chg="mod topLvl">
          <ac:chgData name="Disselhoff, Tim" userId="3b8b5473-7050-4f60-8279-e72cc8538d43" providerId="ADAL" clId="{952E53DB-5978-46BA-964C-5B55B87B6690}" dt="2021-08-18T15:45:30.820" v="9630" actId="165"/>
          <ac:spMkLst>
            <pc:docMk/>
            <pc:sldMk cId="1699530471" sldId="1410"/>
            <ac:spMk id="383" creationId="{BA485D0D-A8E6-4FE5-9546-4DB3BC0BECB3}"/>
          </ac:spMkLst>
        </pc:spChg>
        <pc:spChg chg="del">
          <ac:chgData name="Disselhoff, Tim" userId="3b8b5473-7050-4f60-8279-e72cc8538d43" providerId="ADAL" clId="{952E53DB-5978-46BA-964C-5B55B87B6690}" dt="2021-08-18T15:45:23.422" v="9628" actId="478"/>
          <ac:spMkLst>
            <pc:docMk/>
            <pc:sldMk cId="1699530471" sldId="1410"/>
            <ac:spMk id="391" creationId="{A06B8151-9667-4CD7-8BD6-559E6843ABCE}"/>
          </ac:spMkLst>
        </pc:spChg>
        <pc:spChg chg="add del mod">
          <ac:chgData name="Disselhoff, Tim" userId="3b8b5473-7050-4f60-8279-e72cc8538d43" providerId="ADAL" clId="{952E53DB-5978-46BA-964C-5B55B87B6690}" dt="2021-08-18T15:45:13.836" v="9626"/>
          <ac:spMkLst>
            <pc:docMk/>
            <pc:sldMk cId="1699530471" sldId="1410"/>
            <ac:spMk id="392" creationId="{3BA2F15E-16A5-4650-B29F-9B78543A53E0}"/>
          </ac:spMkLst>
        </pc:spChg>
        <pc:spChg chg="add del mod">
          <ac:chgData name="Disselhoff, Tim" userId="3b8b5473-7050-4f60-8279-e72cc8538d43" providerId="ADAL" clId="{952E53DB-5978-46BA-964C-5B55B87B6690}" dt="2021-08-18T15:55:43.891" v="9779" actId="478"/>
          <ac:spMkLst>
            <pc:docMk/>
            <pc:sldMk cId="1699530471" sldId="1410"/>
            <ac:spMk id="393" creationId="{8AEB45F3-71E9-4E18-BC52-95E3187FC236}"/>
          </ac:spMkLst>
        </pc:spChg>
        <pc:spChg chg="add del mod">
          <ac:chgData name="Disselhoff, Tim" userId="3b8b5473-7050-4f60-8279-e72cc8538d43" providerId="ADAL" clId="{952E53DB-5978-46BA-964C-5B55B87B6690}" dt="2021-08-18T15:55:38.484" v="9778" actId="478"/>
          <ac:spMkLst>
            <pc:docMk/>
            <pc:sldMk cId="1699530471" sldId="1410"/>
            <ac:spMk id="394" creationId="{F3984E23-C8DC-49EC-9FAB-F54096D141B8}"/>
          </ac:spMkLst>
        </pc:spChg>
        <pc:spChg chg="mod">
          <ac:chgData name="Disselhoff, Tim" userId="3b8b5473-7050-4f60-8279-e72cc8538d43" providerId="ADAL" clId="{952E53DB-5978-46BA-964C-5B55B87B6690}" dt="2021-08-18T15:46:28.998" v="9688"/>
          <ac:spMkLst>
            <pc:docMk/>
            <pc:sldMk cId="1699530471" sldId="1410"/>
            <ac:spMk id="395" creationId="{49DF0F4C-D9EB-41BB-8494-FA2897E08D8F}"/>
          </ac:spMkLst>
        </pc:spChg>
        <pc:spChg chg="del">
          <ac:chgData name="Disselhoff, Tim" userId="3b8b5473-7050-4f60-8279-e72cc8538d43" providerId="ADAL" clId="{952E53DB-5978-46BA-964C-5B55B87B6690}" dt="2021-08-18T15:45:23.939" v="9629" actId="478"/>
          <ac:spMkLst>
            <pc:docMk/>
            <pc:sldMk cId="1699530471" sldId="1410"/>
            <ac:spMk id="396" creationId="{2C0826A8-4EE1-4D7B-A40C-96833DB42405}"/>
          </ac:spMkLst>
        </pc:spChg>
        <pc:grpChg chg="del">
          <ac:chgData name="Disselhoff, Tim" userId="3b8b5473-7050-4f60-8279-e72cc8538d43" providerId="ADAL" clId="{952E53DB-5978-46BA-964C-5B55B87B6690}" dt="2021-08-18T15:45:30.820" v="9630" actId="165"/>
          <ac:grpSpMkLst>
            <pc:docMk/>
            <pc:sldMk cId="1699530471" sldId="1410"/>
            <ac:grpSpMk id="51" creationId="{956DF3ED-DEA7-4D8B-8AEC-52328FD80F7A}"/>
          </ac:grpSpMkLst>
        </pc:grpChg>
        <pc:grpChg chg="del mod topLvl">
          <ac:chgData name="Disselhoff, Tim" userId="3b8b5473-7050-4f60-8279-e72cc8538d43" providerId="ADAL" clId="{952E53DB-5978-46BA-964C-5B55B87B6690}" dt="2021-08-18T15:45:39.438" v="9631" actId="165"/>
          <ac:grpSpMkLst>
            <pc:docMk/>
            <pc:sldMk cId="1699530471" sldId="1410"/>
            <ac:grpSpMk id="362" creationId="{8B009D61-7265-42F3-98FB-7696D10119B7}"/>
          </ac:grpSpMkLst>
        </pc:grpChg>
      </pc:sldChg>
      <pc:sldChg chg="addSp delSp modSp add del mod ord">
        <pc:chgData name="Disselhoff, Tim" userId="3b8b5473-7050-4f60-8279-e72cc8538d43" providerId="ADAL" clId="{952E53DB-5978-46BA-964C-5B55B87B6690}" dt="2021-08-18T16:10:05.111" v="10790" actId="47"/>
        <pc:sldMkLst>
          <pc:docMk/>
          <pc:sldMk cId="906419992" sldId="1411"/>
        </pc:sldMkLst>
        <pc:spChg chg="mod ord">
          <ac:chgData name="Disselhoff, Tim" userId="3b8b5473-7050-4f60-8279-e72cc8538d43" providerId="ADAL" clId="{952E53DB-5978-46BA-964C-5B55B87B6690}" dt="2021-08-18T15:59:09.109" v="10422"/>
          <ac:spMkLst>
            <pc:docMk/>
            <pc:sldMk cId="906419992" sldId="1411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8T15:59:09.109" v="10424"/>
          <ac:spMkLst>
            <pc:docMk/>
            <pc:sldMk cId="906419992" sldId="1411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8T15:59:09.110" v="10426"/>
          <ac:spMkLst>
            <pc:docMk/>
            <pc:sldMk cId="906419992" sldId="1411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8T15:59:09.111" v="10428"/>
          <ac:spMkLst>
            <pc:docMk/>
            <pc:sldMk cId="906419992" sldId="1411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8T15:59:09.111" v="10430"/>
          <ac:spMkLst>
            <pc:docMk/>
            <pc:sldMk cId="906419992" sldId="1411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8T15:59:09.115" v="10438"/>
          <ac:spMkLst>
            <pc:docMk/>
            <pc:sldMk cId="906419992" sldId="1411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8T15:59:09.115" v="10440"/>
          <ac:spMkLst>
            <pc:docMk/>
            <pc:sldMk cId="906419992" sldId="1411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8T15:59:09.116" v="10442"/>
          <ac:spMkLst>
            <pc:docMk/>
            <pc:sldMk cId="906419992" sldId="1411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8T15:59:09.120" v="10450"/>
          <ac:spMkLst>
            <pc:docMk/>
            <pc:sldMk cId="906419992" sldId="1411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8T15:59:09.142" v="10504"/>
          <ac:spMkLst>
            <pc:docMk/>
            <pc:sldMk cId="906419992" sldId="1411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8T15:59:09.123" v="10458"/>
          <ac:spMkLst>
            <pc:docMk/>
            <pc:sldMk cId="906419992" sldId="1411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8T15:59:09.131" v="10480"/>
          <ac:spMkLst>
            <pc:docMk/>
            <pc:sldMk cId="906419992" sldId="1411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8T15:59:09.132" v="10482"/>
          <ac:spMkLst>
            <pc:docMk/>
            <pc:sldMk cId="906419992" sldId="1411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8T15:59:09.132" v="10484"/>
          <ac:spMkLst>
            <pc:docMk/>
            <pc:sldMk cId="906419992" sldId="1411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8T15:59:09.133" v="10486"/>
          <ac:spMkLst>
            <pc:docMk/>
            <pc:sldMk cId="906419992" sldId="1411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8T15:59:09.134" v="10488"/>
          <ac:spMkLst>
            <pc:docMk/>
            <pc:sldMk cId="906419992" sldId="1411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8T15:59:09.135" v="10490"/>
          <ac:spMkLst>
            <pc:docMk/>
            <pc:sldMk cId="906419992" sldId="1411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8T15:59:09.137" v="10494"/>
          <ac:spMkLst>
            <pc:docMk/>
            <pc:sldMk cId="906419992" sldId="1411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8T15:59:09.138" v="10496"/>
          <ac:spMkLst>
            <pc:docMk/>
            <pc:sldMk cId="906419992" sldId="1411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8T15:59:09.140" v="10500"/>
          <ac:spMkLst>
            <pc:docMk/>
            <pc:sldMk cId="906419992" sldId="1411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8T16:00:20.362" v="10572"/>
          <ac:spMkLst>
            <pc:docMk/>
            <pc:sldMk cId="906419992" sldId="1411"/>
            <ac:spMk id="361" creationId="{216FF5D1-F5EE-4B51-AD15-F796A02CE247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62" creationId="{752FC1DA-4C19-4013-9DF2-81DC1022D71A}"/>
          </ac:spMkLst>
        </pc:spChg>
        <pc:spChg chg="add del mod">
          <ac:chgData name="Disselhoff, Tim" userId="3b8b5473-7050-4f60-8279-e72cc8538d43" providerId="ADAL" clId="{952E53DB-5978-46BA-964C-5B55B87B6690}" dt="2021-08-18T15:47:14.992" v="9696"/>
          <ac:spMkLst>
            <pc:docMk/>
            <pc:sldMk cId="906419992" sldId="1411"/>
            <ac:spMk id="363" creationId="{2DD591FC-B4F0-404A-8FE6-C48B4E7EE0ED}"/>
          </ac:spMkLst>
        </pc:spChg>
        <pc:spChg chg="mod ord">
          <ac:chgData name="Disselhoff, Tim" userId="3b8b5473-7050-4f60-8279-e72cc8538d43" providerId="ADAL" clId="{952E53DB-5978-46BA-964C-5B55B87B6690}" dt="2021-08-18T15:59:09.141" v="10502"/>
          <ac:spMkLst>
            <pc:docMk/>
            <pc:sldMk cId="906419992" sldId="1411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78" creationId="{6911EA98-B3B2-4B3E-AD44-B6DC6A498943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90" creationId="{55C60B76-5103-42DC-83D7-36B18DAC247F}"/>
          </ac:spMkLst>
        </pc:spChg>
        <pc:spChg chg="add del mod">
          <ac:chgData name="Disselhoff, Tim" userId="3b8b5473-7050-4f60-8279-e72cc8538d43" providerId="ADAL" clId="{952E53DB-5978-46BA-964C-5B55B87B6690}" dt="2021-08-18T15:47:14.992" v="9696"/>
          <ac:spMkLst>
            <pc:docMk/>
            <pc:sldMk cId="906419992" sldId="1411"/>
            <ac:spMk id="391" creationId="{711F372D-006F-48F8-B084-DC47A8B77D04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92" creationId="{46D7C816-303C-44CE-922F-50BDB4035657}"/>
          </ac:spMkLst>
        </pc:spChg>
        <pc:spChg chg="del">
          <ac:chgData name="Disselhoff, Tim" userId="3b8b5473-7050-4f60-8279-e72cc8538d43" providerId="ADAL" clId="{952E53DB-5978-46BA-964C-5B55B87B6690}" dt="2021-08-18T15:46:37.154" v="9690"/>
          <ac:spMkLst>
            <pc:docMk/>
            <pc:sldMk cId="906419992" sldId="1411"/>
            <ac:spMk id="393" creationId="{8AEB45F3-71E9-4E18-BC52-95E3187FC236}"/>
          </ac:spMkLst>
        </pc:spChg>
        <pc:spChg chg="del">
          <ac:chgData name="Disselhoff, Tim" userId="3b8b5473-7050-4f60-8279-e72cc8538d43" providerId="ADAL" clId="{952E53DB-5978-46BA-964C-5B55B87B6690}" dt="2021-08-18T15:46:37.154" v="9690"/>
          <ac:spMkLst>
            <pc:docMk/>
            <pc:sldMk cId="906419992" sldId="1411"/>
            <ac:spMk id="394" creationId="{F3984E23-C8DC-49EC-9FAB-F54096D141B8}"/>
          </ac:spMkLst>
        </pc:spChg>
        <pc:spChg chg="add del mod">
          <ac:chgData name="Disselhoff, Tim" userId="3b8b5473-7050-4f60-8279-e72cc8538d43" providerId="ADAL" clId="{952E53DB-5978-46BA-964C-5B55B87B6690}" dt="2021-08-18T15:47:28.468" v="9698"/>
          <ac:spMkLst>
            <pc:docMk/>
            <pc:sldMk cId="906419992" sldId="1411"/>
            <ac:spMk id="395" creationId="{5CE11EC5-0B08-47E7-BCFF-BBC6ED305823}"/>
          </ac:spMkLst>
        </pc:spChg>
        <pc:spChg chg="add del mod">
          <ac:chgData name="Disselhoff, Tim" userId="3b8b5473-7050-4f60-8279-e72cc8538d43" providerId="ADAL" clId="{952E53DB-5978-46BA-964C-5B55B87B6690}" dt="2021-08-18T15:47:28.468" v="9698"/>
          <ac:spMkLst>
            <pc:docMk/>
            <pc:sldMk cId="906419992" sldId="1411"/>
            <ac:spMk id="396" creationId="{9D3738EA-13CE-4EC5-AFC3-7FBA221E469F}"/>
          </ac:spMkLst>
        </pc:spChg>
        <pc:spChg chg="add del mod">
          <ac:chgData name="Disselhoff, Tim" userId="3b8b5473-7050-4f60-8279-e72cc8538d43" providerId="ADAL" clId="{952E53DB-5978-46BA-964C-5B55B87B6690}" dt="2021-08-18T15:48:22.589" v="9706"/>
          <ac:spMkLst>
            <pc:docMk/>
            <pc:sldMk cId="906419992" sldId="1411"/>
            <ac:spMk id="397" creationId="{617FEB75-FAE8-4B1B-8E01-7BD63A5F15C3}"/>
          </ac:spMkLst>
        </pc:spChg>
        <pc:spChg chg="add del mod">
          <ac:chgData name="Disselhoff, Tim" userId="3b8b5473-7050-4f60-8279-e72cc8538d43" providerId="ADAL" clId="{952E53DB-5978-46BA-964C-5B55B87B6690}" dt="2021-08-18T15:48:22.589" v="9706"/>
          <ac:spMkLst>
            <pc:docMk/>
            <pc:sldMk cId="906419992" sldId="1411"/>
            <ac:spMk id="398" creationId="{09C36DC6-8B19-4DBA-9336-7A4B480823F1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399" creationId="{29F8AE9E-5F8A-48B7-99FC-48283AEB4DE3}"/>
          </ac:spMkLst>
        </pc:spChg>
        <pc:spChg chg="add del mod">
          <ac:chgData name="Disselhoff, Tim" userId="3b8b5473-7050-4f60-8279-e72cc8538d43" providerId="ADAL" clId="{952E53DB-5978-46BA-964C-5B55B87B6690}" dt="2021-08-18T15:55:11.754" v="9774" actId="478"/>
          <ac:spMkLst>
            <pc:docMk/>
            <pc:sldMk cId="906419992" sldId="1411"/>
            <ac:spMk id="400" creationId="{917AA14C-70BB-4178-9A5B-7837F27A29ED}"/>
          </ac:spMkLst>
        </pc:spChg>
        <pc:spChg chg="add del mod">
          <ac:chgData name="Disselhoff, Tim" userId="3b8b5473-7050-4f60-8279-e72cc8538d43" providerId="ADAL" clId="{952E53DB-5978-46BA-964C-5B55B87B6690}" dt="2021-08-18T15:49:32.366" v="9715" actId="478"/>
          <ac:spMkLst>
            <pc:docMk/>
            <pc:sldMk cId="906419992" sldId="1411"/>
            <ac:spMk id="401" creationId="{0042A59C-17F8-4F3C-AB2D-EA4B0BE6DF96}"/>
          </ac:spMkLst>
        </pc:spChg>
        <pc:spChg chg="add 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02" creationId="{D45B3FE9-1E70-4A86-BEF9-3593EB8AF8A2}"/>
          </ac:spMkLst>
        </pc:spChg>
        <pc:spChg chg="add del mod">
          <ac:chgData name="Disselhoff, Tim" userId="3b8b5473-7050-4f60-8279-e72cc8538d43" providerId="ADAL" clId="{952E53DB-5978-46BA-964C-5B55B87B6690}" dt="2021-08-18T15:51:09.466" v="9732" actId="478"/>
          <ac:spMkLst>
            <pc:docMk/>
            <pc:sldMk cId="906419992" sldId="1411"/>
            <ac:spMk id="403" creationId="{23C2A4F5-E086-4222-8B04-A4CF87685B4B}"/>
          </ac:spMkLst>
        </pc:spChg>
        <pc:spChg chg="add 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04" creationId="{460B3AA4-CC09-446E-8C13-6BF2772144D3}"/>
          </ac:spMkLst>
        </pc:spChg>
        <pc:spChg chg="add 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05" creationId="{6D6A43E9-171A-4B5F-B5C6-AF90CD441EA7}"/>
          </ac:spMkLst>
        </pc:spChg>
        <pc:spChg chg="add del mod">
          <ac:chgData name="Disselhoff, Tim" userId="3b8b5473-7050-4f60-8279-e72cc8538d43" providerId="ADAL" clId="{952E53DB-5978-46BA-964C-5B55B87B6690}" dt="2021-08-18T15:55:05.338" v="9772" actId="478"/>
          <ac:spMkLst>
            <pc:docMk/>
            <pc:sldMk cId="906419992" sldId="1411"/>
            <ac:spMk id="406" creationId="{13239A82-55CA-40A1-B992-29D57FE9C745}"/>
          </ac:spMkLst>
        </pc:spChg>
        <pc:spChg chg="add 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07" creationId="{4E05ACF2-3E18-44AB-B06F-CB6B4CEC3412}"/>
          </ac:spMkLst>
        </pc:spChg>
        <pc:spChg chg="mod ord">
          <ac:chgData name="Disselhoff, Tim" userId="3b8b5473-7050-4f60-8279-e72cc8538d43" providerId="ADAL" clId="{952E53DB-5978-46BA-964C-5B55B87B6690}" dt="2021-08-18T16:00:20.370" v="10577"/>
          <ac:spMkLst>
            <pc:docMk/>
            <pc:sldMk cId="906419992" sldId="1411"/>
            <ac:spMk id="412" creationId="{58AD9DD5-9FF5-49B7-910B-EC9F75F19A6F}"/>
          </ac:spMkLst>
        </pc:spChg>
        <pc:grpChg chg="add mod">
          <ac:chgData name="Disselhoff, Tim" userId="3b8b5473-7050-4f60-8279-e72cc8538d43" providerId="ADAL" clId="{952E53DB-5978-46BA-964C-5B55B87B6690}" dt="2021-08-18T16:00:20.371" v="10578"/>
          <ac:grpSpMkLst>
            <pc:docMk/>
            <pc:sldMk cId="906419992" sldId="1411"/>
            <ac:grpSpMk id="6" creationId="{C267B38D-B3F6-4816-92DD-3857B6E9F186}"/>
          </ac:grpSpMkLst>
        </pc:grpChg>
        <pc:grpChg chg="mod ord">
          <ac:chgData name="Disselhoff, Tim" userId="3b8b5473-7050-4f60-8279-e72cc8538d43" providerId="ADAL" clId="{952E53DB-5978-46BA-964C-5B55B87B6690}" dt="2021-08-18T15:59:09.112" v="10432"/>
          <ac:grpSpMkLst>
            <pc:docMk/>
            <pc:sldMk cId="906419992" sldId="1411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8T15:59:09.113" v="10434"/>
          <ac:grpSpMkLst>
            <pc:docMk/>
            <pc:sldMk cId="906419992" sldId="1411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8T15:59:09.114" v="10436"/>
          <ac:grpSpMkLst>
            <pc:docMk/>
            <pc:sldMk cId="906419992" sldId="1411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8T15:59:09.117" v="10444"/>
          <ac:grpSpMkLst>
            <pc:docMk/>
            <pc:sldMk cId="906419992" sldId="1411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8T15:59:09.118" v="10446"/>
          <ac:grpSpMkLst>
            <pc:docMk/>
            <pc:sldMk cId="906419992" sldId="1411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8T15:59:09.119" v="10448"/>
          <ac:grpSpMkLst>
            <pc:docMk/>
            <pc:sldMk cId="906419992" sldId="1411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8T15:59:09.121" v="10452"/>
          <ac:grpSpMkLst>
            <pc:docMk/>
            <pc:sldMk cId="906419992" sldId="1411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8T15:59:09.121" v="10454"/>
          <ac:grpSpMkLst>
            <pc:docMk/>
            <pc:sldMk cId="906419992" sldId="1411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8T15:59:09.122" v="10456"/>
          <ac:grpSpMkLst>
            <pc:docMk/>
            <pc:sldMk cId="906419992" sldId="1411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8T15:59:09.144" v="10505"/>
          <ac:grpSpMkLst>
            <pc:docMk/>
            <pc:sldMk cId="906419992" sldId="1411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8T15:59:09.136" v="10492"/>
          <ac:grpSpMkLst>
            <pc:docMk/>
            <pc:sldMk cId="906419992" sldId="1411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8T16:00:20.370" v="10577"/>
          <ac:grpSpMkLst>
            <pc:docMk/>
            <pc:sldMk cId="906419992" sldId="1411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8T15:59:09.171" v="10553"/>
          <ac:graphicFrameMkLst>
            <pc:docMk/>
            <pc:sldMk cId="906419992" sldId="1411"/>
            <ac:graphicFrameMk id="365" creationId="{E60950EF-D161-4F96-83E4-B88E961AACA8}"/>
          </ac:graphicFrameMkLst>
        </pc:graphicFrameChg>
        <pc:picChg chg="mod ord">
          <ac:chgData name="Disselhoff, Tim" userId="3b8b5473-7050-4f60-8279-e72cc8538d43" providerId="ADAL" clId="{952E53DB-5978-46BA-964C-5B55B87B6690}" dt="2021-08-18T15:59:09.144" v="10507"/>
          <ac:picMkLst>
            <pc:docMk/>
            <pc:sldMk cId="906419992" sldId="1411"/>
            <ac:picMk id="379" creationId="{7100A991-7A62-4038-B790-C800CC86B1E6}"/>
          </ac:picMkLst>
        </pc:picChg>
        <pc:picChg chg="mod ord">
          <ac:chgData name="Disselhoff, Tim" userId="3b8b5473-7050-4f60-8279-e72cc8538d43" providerId="ADAL" clId="{952E53DB-5978-46BA-964C-5B55B87B6690}" dt="2021-08-18T15:59:09.145" v="10509"/>
          <ac:picMkLst>
            <pc:docMk/>
            <pc:sldMk cId="906419992" sldId="1411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8T15:59:09.124" v="10460"/>
          <ac:cxnSpMkLst>
            <pc:docMk/>
            <pc:sldMk cId="906419992" sldId="1411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8T15:59:09.125" v="10462"/>
          <ac:cxnSpMkLst>
            <pc:docMk/>
            <pc:sldMk cId="906419992" sldId="1411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8T15:59:09.125" v="10464"/>
          <ac:cxnSpMkLst>
            <pc:docMk/>
            <pc:sldMk cId="906419992" sldId="1411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8T15:59:09.126" v="10466"/>
          <ac:cxnSpMkLst>
            <pc:docMk/>
            <pc:sldMk cId="906419992" sldId="1411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8T15:59:09.127" v="10468"/>
          <ac:cxnSpMkLst>
            <pc:docMk/>
            <pc:sldMk cId="906419992" sldId="1411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8T15:59:09.127" v="10470"/>
          <ac:cxnSpMkLst>
            <pc:docMk/>
            <pc:sldMk cId="906419992" sldId="1411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8T15:59:09.128" v="10472"/>
          <ac:cxnSpMkLst>
            <pc:docMk/>
            <pc:sldMk cId="906419992" sldId="1411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8T15:59:09.129" v="10474"/>
          <ac:cxnSpMkLst>
            <pc:docMk/>
            <pc:sldMk cId="906419992" sldId="1411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8T15:59:09.129" v="10476"/>
          <ac:cxnSpMkLst>
            <pc:docMk/>
            <pc:sldMk cId="906419992" sldId="1411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8T15:59:09.130" v="10478"/>
          <ac:cxnSpMkLst>
            <pc:docMk/>
            <pc:sldMk cId="906419992" sldId="1411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8T15:59:09.139" v="10498"/>
          <ac:cxnSpMkLst>
            <pc:docMk/>
            <pc:sldMk cId="906419992" sldId="1411"/>
            <ac:cxnSpMk id="43" creationId="{1AC0A2C5-4B94-40F9-88E2-D3C10215517A}"/>
          </ac:cxnSpMkLst>
        </pc:cxnChg>
      </pc:sldChg>
      <pc:sldChg chg="delSp modSp add del">
        <pc:chgData name="Disselhoff, Tim" userId="3b8b5473-7050-4f60-8279-e72cc8538d43" providerId="ADAL" clId="{952E53DB-5978-46BA-964C-5B55B87B6690}" dt="2021-08-18T16:10:08.941" v="10797" actId="47"/>
        <pc:sldMkLst>
          <pc:docMk/>
          <pc:sldMk cId="977442477" sldId="1412"/>
        </pc:sldMkLst>
        <pc:spChg chg="mod">
          <ac:chgData name="Disselhoff, Tim" userId="3b8b5473-7050-4f60-8279-e72cc8538d43" providerId="ADAL" clId="{952E53DB-5978-46BA-964C-5B55B87B6690}" dt="2021-08-18T15:49:25.271" v="9714"/>
          <ac:spMkLst>
            <pc:docMk/>
            <pc:sldMk cId="977442477" sldId="1412"/>
            <ac:spMk id="363" creationId="{2D3F0300-FFE0-4579-B00E-08FCC74545E3}"/>
          </ac:spMkLst>
        </pc:spChg>
        <pc:spChg chg="del">
          <ac:chgData name="Disselhoff, Tim" userId="3b8b5473-7050-4f60-8279-e72cc8538d43" providerId="ADAL" clId="{952E53DB-5978-46BA-964C-5B55B87B6690}" dt="2021-08-18T15:49:25.271" v="9714"/>
          <ac:spMkLst>
            <pc:docMk/>
            <pc:sldMk cId="977442477" sldId="1412"/>
            <ac:spMk id="392" creationId="{46D7C816-303C-44CE-922F-50BDB4035657}"/>
          </ac:spMkLst>
        </pc:spChg>
        <pc:spChg chg="del">
          <ac:chgData name="Disselhoff, Tim" userId="3b8b5473-7050-4f60-8279-e72cc8538d43" providerId="ADAL" clId="{952E53DB-5978-46BA-964C-5B55B87B6690}" dt="2021-08-18T15:49:25.271" v="9714"/>
          <ac:spMkLst>
            <pc:docMk/>
            <pc:sldMk cId="977442477" sldId="1412"/>
            <ac:spMk id="399" creationId="{29F8AE9E-5F8A-48B7-99FC-48283AEB4DE3}"/>
          </ac:spMkLst>
        </pc:spChg>
        <pc:spChg chg="del">
          <ac:chgData name="Disselhoff, Tim" userId="3b8b5473-7050-4f60-8279-e72cc8538d43" providerId="ADAL" clId="{952E53DB-5978-46BA-964C-5B55B87B6690}" dt="2021-08-18T15:49:25.271" v="9714"/>
          <ac:spMkLst>
            <pc:docMk/>
            <pc:sldMk cId="977442477" sldId="1412"/>
            <ac:spMk id="400" creationId="{917AA14C-70BB-4178-9A5B-7837F27A29ED}"/>
          </ac:spMkLst>
        </pc:spChg>
        <pc:spChg chg="del">
          <ac:chgData name="Disselhoff, Tim" userId="3b8b5473-7050-4f60-8279-e72cc8538d43" providerId="ADAL" clId="{952E53DB-5978-46BA-964C-5B55B87B6690}" dt="2021-08-18T15:49:25.271" v="9714"/>
          <ac:spMkLst>
            <pc:docMk/>
            <pc:sldMk cId="977442477" sldId="1412"/>
            <ac:spMk id="401" creationId="{0042A59C-17F8-4F3C-AB2D-EA4B0BE6DF96}"/>
          </ac:spMkLst>
        </pc:spChg>
      </pc:sldChg>
      <pc:sldChg chg="add del">
        <pc:chgData name="Disselhoff, Tim" userId="3b8b5473-7050-4f60-8279-e72cc8538d43" providerId="ADAL" clId="{952E53DB-5978-46BA-964C-5B55B87B6690}" dt="2021-08-18T16:10:08.552" v="10796" actId="47"/>
        <pc:sldMkLst>
          <pc:docMk/>
          <pc:sldMk cId="1650326222" sldId="1413"/>
        </pc:sldMkLst>
      </pc:sldChg>
      <pc:sldChg chg="delSp modSp add del mod">
        <pc:chgData name="Disselhoff, Tim" userId="3b8b5473-7050-4f60-8279-e72cc8538d43" providerId="ADAL" clId="{952E53DB-5978-46BA-964C-5B55B87B6690}" dt="2021-08-18T16:10:08.027" v="10795" actId="47"/>
        <pc:sldMkLst>
          <pc:docMk/>
          <pc:sldMk cId="3533466664" sldId="1414"/>
        </pc:sldMkLst>
        <pc:spChg chg="del">
          <ac:chgData name="Disselhoff, Tim" userId="3b8b5473-7050-4f60-8279-e72cc8538d43" providerId="ADAL" clId="{952E53DB-5978-46BA-964C-5B55B87B6690}" dt="2021-08-18T15:51:03.188" v="9731"/>
          <ac:spMkLst>
            <pc:docMk/>
            <pc:sldMk cId="3533466664" sldId="1414"/>
            <ac:spMk id="362" creationId="{752FC1DA-4C19-4013-9DF2-81DC1022D71A}"/>
          </ac:spMkLst>
        </pc:spChg>
        <pc:spChg chg="mod">
          <ac:chgData name="Disselhoff, Tim" userId="3b8b5473-7050-4f60-8279-e72cc8538d43" providerId="ADAL" clId="{952E53DB-5978-46BA-964C-5B55B87B6690}" dt="2021-08-18T15:51:03.188" v="9731"/>
          <ac:spMkLst>
            <pc:docMk/>
            <pc:sldMk cId="3533466664" sldId="1414"/>
            <ac:spMk id="363" creationId="{1A47B6F6-4E29-4612-96F3-E6821D698464}"/>
          </ac:spMkLst>
        </pc:spChg>
        <pc:spChg chg="del">
          <ac:chgData name="Disselhoff, Tim" userId="3b8b5473-7050-4f60-8279-e72cc8538d43" providerId="ADAL" clId="{952E53DB-5978-46BA-964C-5B55B87B6690}" dt="2021-08-18T15:51:03.188" v="9731"/>
          <ac:spMkLst>
            <pc:docMk/>
            <pc:sldMk cId="3533466664" sldId="1414"/>
            <ac:spMk id="392" creationId="{46D7C816-303C-44CE-922F-50BDB4035657}"/>
          </ac:spMkLst>
        </pc:spChg>
        <pc:spChg chg="del">
          <ac:chgData name="Disselhoff, Tim" userId="3b8b5473-7050-4f60-8279-e72cc8538d43" providerId="ADAL" clId="{952E53DB-5978-46BA-964C-5B55B87B6690}" dt="2021-08-18T15:51:03.188" v="9731"/>
          <ac:spMkLst>
            <pc:docMk/>
            <pc:sldMk cId="3533466664" sldId="1414"/>
            <ac:spMk id="402" creationId="{D45B3FE9-1E70-4A86-BEF9-3593EB8AF8A2}"/>
          </ac:spMkLst>
        </pc:spChg>
        <pc:spChg chg="del mod">
          <ac:chgData name="Disselhoff, Tim" userId="3b8b5473-7050-4f60-8279-e72cc8538d43" providerId="ADAL" clId="{952E53DB-5978-46BA-964C-5B55B87B6690}" dt="2021-08-18T15:51:03.188" v="9731"/>
          <ac:spMkLst>
            <pc:docMk/>
            <pc:sldMk cId="3533466664" sldId="1414"/>
            <ac:spMk id="403" creationId="{23C2A4F5-E086-4222-8B04-A4CF87685B4B}"/>
          </ac:spMkLst>
        </pc:spChg>
      </pc:sldChg>
      <pc:sldChg chg="add del">
        <pc:chgData name="Disselhoff, Tim" userId="3b8b5473-7050-4f60-8279-e72cc8538d43" providerId="ADAL" clId="{952E53DB-5978-46BA-964C-5B55B87B6690}" dt="2021-08-18T16:10:07.534" v="10794" actId="47"/>
        <pc:sldMkLst>
          <pc:docMk/>
          <pc:sldMk cId="11661182" sldId="1415"/>
        </pc:sldMkLst>
      </pc:sldChg>
      <pc:sldChg chg="addSp modSp add del mod">
        <pc:chgData name="Disselhoff, Tim" userId="3b8b5473-7050-4f60-8279-e72cc8538d43" providerId="ADAL" clId="{952E53DB-5978-46BA-964C-5B55B87B6690}" dt="2021-08-18T16:10:06.543" v="10792" actId="47"/>
        <pc:sldMkLst>
          <pc:docMk/>
          <pc:sldMk cId="1098257872" sldId="1416"/>
        </pc:sldMkLst>
        <pc:spChg chg="add mod">
          <ac:chgData name="Disselhoff, Tim" userId="3b8b5473-7050-4f60-8279-e72cc8538d43" providerId="ADAL" clId="{952E53DB-5978-46BA-964C-5B55B87B6690}" dt="2021-08-18T15:53:17.898" v="9759" actId="14100"/>
          <ac:spMkLst>
            <pc:docMk/>
            <pc:sldMk cId="1098257872" sldId="1416"/>
            <ac:spMk id="363" creationId="{4F9D18E2-B32C-4776-95AC-2C35716A824A}"/>
          </ac:spMkLst>
        </pc:spChg>
        <pc:spChg chg="mod">
          <ac:chgData name="Disselhoff, Tim" userId="3b8b5473-7050-4f60-8279-e72cc8538d43" providerId="ADAL" clId="{952E53DB-5978-46BA-964C-5B55B87B6690}" dt="2021-08-18T15:53:06.570" v="9750"/>
          <ac:spMkLst>
            <pc:docMk/>
            <pc:sldMk cId="1098257872" sldId="1416"/>
            <ac:spMk id="404" creationId="{460B3AA4-CC09-446E-8C13-6BF2772144D3}"/>
          </ac:spMkLst>
        </pc:spChg>
      </pc:sldChg>
      <pc:sldChg chg="delSp modSp add del">
        <pc:chgData name="Disselhoff, Tim" userId="3b8b5473-7050-4f60-8279-e72cc8538d43" providerId="ADAL" clId="{952E53DB-5978-46BA-964C-5B55B87B6690}" dt="2021-08-18T16:10:07.066" v="10793" actId="47"/>
        <pc:sldMkLst>
          <pc:docMk/>
          <pc:sldMk cId="1436754830" sldId="1417"/>
        </pc:sldMkLst>
        <pc:spChg chg="del">
          <ac:chgData name="Disselhoff, Tim" userId="3b8b5473-7050-4f60-8279-e72cc8538d43" providerId="ADAL" clId="{952E53DB-5978-46BA-964C-5B55B87B6690}" dt="2021-08-18T15:53:34.289" v="9761"/>
          <ac:spMkLst>
            <pc:docMk/>
            <pc:sldMk cId="1436754830" sldId="1417"/>
            <ac:spMk id="362" creationId="{752FC1DA-4C19-4013-9DF2-81DC1022D71A}"/>
          </ac:spMkLst>
        </pc:spChg>
        <pc:spChg chg="del">
          <ac:chgData name="Disselhoff, Tim" userId="3b8b5473-7050-4f60-8279-e72cc8538d43" providerId="ADAL" clId="{952E53DB-5978-46BA-964C-5B55B87B6690}" dt="2021-08-18T15:53:34.289" v="9761"/>
          <ac:spMkLst>
            <pc:docMk/>
            <pc:sldMk cId="1436754830" sldId="1417"/>
            <ac:spMk id="363" creationId="{4F9D18E2-B32C-4776-95AC-2C35716A824A}"/>
          </ac:spMkLst>
        </pc:spChg>
        <pc:spChg chg="mod">
          <ac:chgData name="Disselhoff, Tim" userId="3b8b5473-7050-4f60-8279-e72cc8538d43" providerId="ADAL" clId="{952E53DB-5978-46BA-964C-5B55B87B6690}" dt="2021-08-18T15:53:34.289" v="9761"/>
          <ac:spMkLst>
            <pc:docMk/>
            <pc:sldMk cId="1436754830" sldId="1417"/>
            <ac:spMk id="391" creationId="{E15366EA-8A14-471B-9F2F-DB2E49EEA27F}"/>
          </ac:spMkLst>
        </pc:spChg>
        <pc:spChg chg="del">
          <ac:chgData name="Disselhoff, Tim" userId="3b8b5473-7050-4f60-8279-e72cc8538d43" providerId="ADAL" clId="{952E53DB-5978-46BA-964C-5B55B87B6690}" dt="2021-08-18T15:53:34.289" v="9761"/>
          <ac:spMkLst>
            <pc:docMk/>
            <pc:sldMk cId="1436754830" sldId="1417"/>
            <ac:spMk id="400" creationId="{917AA14C-70BB-4178-9A5B-7837F27A29ED}"/>
          </ac:spMkLst>
        </pc:spChg>
        <pc:spChg chg="del">
          <ac:chgData name="Disselhoff, Tim" userId="3b8b5473-7050-4f60-8279-e72cc8538d43" providerId="ADAL" clId="{952E53DB-5978-46BA-964C-5B55B87B6690}" dt="2021-08-18T15:53:34.289" v="9761"/>
          <ac:spMkLst>
            <pc:docMk/>
            <pc:sldMk cId="1436754830" sldId="1417"/>
            <ac:spMk id="404" creationId="{460B3AA4-CC09-446E-8C13-6BF2772144D3}"/>
          </ac:spMkLst>
        </pc:spChg>
      </pc:sldChg>
      <pc:sldChg chg="add del">
        <pc:chgData name="Disselhoff, Tim" userId="3b8b5473-7050-4f60-8279-e72cc8538d43" providerId="ADAL" clId="{952E53DB-5978-46BA-964C-5B55B87B6690}" dt="2021-08-18T16:10:05.918" v="10791" actId="47"/>
        <pc:sldMkLst>
          <pc:docMk/>
          <pc:sldMk cId="1850801385" sldId="1418"/>
        </pc:sldMkLst>
      </pc:sldChg>
      <pc:sldChg chg="delSp modSp add del">
        <pc:chgData name="Disselhoff, Tim" userId="3b8b5473-7050-4f60-8279-e72cc8538d43" providerId="ADAL" clId="{952E53DB-5978-46BA-964C-5B55B87B6690}" dt="2021-08-18T16:10:04.020" v="10789" actId="47"/>
        <pc:sldMkLst>
          <pc:docMk/>
          <pc:sldMk cId="3815021168" sldId="1419"/>
        </pc:sldMkLst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362" creationId="{752FC1DA-4C19-4013-9DF2-81DC1022D71A}"/>
          </ac:spMkLst>
        </pc:spChg>
        <pc:spChg chg="mod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363" creationId="{45C943B4-10C9-43EA-9AA0-DE6D1E2CF217}"/>
          </ac:spMkLst>
        </pc:spChg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399" creationId="{29F8AE9E-5F8A-48B7-99FC-48283AEB4DE3}"/>
          </ac:spMkLst>
        </pc:spChg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400" creationId="{917AA14C-70BB-4178-9A5B-7837F27A29ED}"/>
          </ac:spMkLst>
        </pc:spChg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402" creationId="{D45B3FE9-1E70-4A86-BEF9-3593EB8AF8A2}"/>
          </ac:spMkLst>
        </pc:spChg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405" creationId="{6D6A43E9-171A-4B5F-B5C6-AF90CD441EA7}"/>
          </ac:spMkLst>
        </pc:spChg>
        <pc:spChg chg="del">
          <ac:chgData name="Disselhoff, Tim" userId="3b8b5473-7050-4f60-8279-e72cc8538d43" providerId="ADAL" clId="{952E53DB-5978-46BA-964C-5B55B87B6690}" dt="2021-08-18T15:54:59.960" v="9771"/>
          <ac:spMkLst>
            <pc:docMk/>
            <pc:sldMk cId="3815021168" sldId="1419"/>
            <ac:spMk id="406" creationId="{13239A82-55CA-40A1-B992-29D57FE9C745}"/>
          </ac:spMkLst>
        </pc:spChg>
      </pc:sldChg>
      <pc:sldChg chg="addSp delSp modSp add mod ord">
        <pc:chgData name="Disselhoff, Tim" userId="3b8b5473-7050-4f60-8279-e72cc8538d43" providerId="ADAL" clId="{952E53DB-5978-46BA-964C-5B55B87B6690}" dt="2021-08-19T12:23:57.469" v="13925"/>
        <pc:sldMkLst>
          <pc:docMk/>
          <pc:sldMk cId="700102676" sldId="1420"/>
        </pc:sldMkLst>
        <pc:spChg chg="mod ord">
          <ac:chgData name="Disselhoff, Tim" userId="3b8b5473-7050-4f60-8279-e72cc8538d43" providerId="ADAL" clId="{952E53DB-5978-46BA-964C-5B55B87B6690}" dt="2021-08-19T12:23:39.980" v="13882"/>
          <ac:spMkLst>
            <pc:docMk/>
            <pc:sldMk cId="700102676" sldId="1420"/>
            <ac:spMk id="2" creationId="{78D159F1-0A23-447B-BF2D-08A04305ACFA}"/>
          </ac:spMkLst>
        </pc:spChg>
        <pc:spChg chg="mod ord">
          <ac:chgData name="Disselhoff, Tim" userId="3b8b5473-7050-4f60-8279-e72cc8538d43" providerId="ADAL" clId="{952E53DB-5978-46BA-964C-5B55B87B6690}" dt="2021-08-19T12:23:57.412" v="13884" actId="948"/>
          <ac:spMkLst>
            <pc:docMk/>
            <pc:sldMk cId="700102676" sldId="1420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8T16:11:52.082" v="11016"/>
          <ac:spMkLst>
            <pc:docMk/>
            <pc:sldMk cId="700102676" sldId="1420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8T16:11:52.083" v="11018"/>
          <ac:spMkLst>
            <pc:docMk/>
            <pc:sldMk cId="700102676" sldId="1420"/>
            <ac:spMk id="5" creationId="{FFD85F28-C617-44C3-AFDF-58763606B422}"/>
          </ac:spMkLst>
        </pc:spChg>
        <pc:spChg chg="add del mod modVis">
          <ac:chgData name="Disselhoff, Tim" userId="3b8b5473-7050-4f60-8279-e72cc8538d43" providerId="ADAL" clId="{952E53DB-5978-46BA-964C-5B55B87B6690}" dt="2021-08-19T12:23:57.460" v="13923"/>
          <ac:spMkLst>
            <pc:docMk/>
            <pc:sldMk cId="700102676" sldId="1420"/>
            <ac:spMk id="6" creationId="{53906498-741C-4AC5-AC70-44DA44D0310A}"/>
          </ac:spMkLst>
        </pc:spChg>
        <pc:spChg chg="mod ord">
          <ac:chgData name="Disselhoff, Tim" userId="3b8b5473-7050-4f60-8279-e72cc8538d43" providerId="ADAL" clId="{952E53DB-5978-46BA-964C-5B55B87B6690}" dt="2021-08-18T16:11:52.084" v="11020"/>
          <ac:spMkLst>
            <pc:docMk/>
            <pc:sldMk cId="700102676" sldId="1420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8T16:11:52.088" v="11028"/>
          <ac:spMkLst>
            <pc:docMk/>
            <pc:sldMk cId="700102676" sldId="1420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8T16:11:52.090" v="11030"/>
          <ac:spMkLst>
            <pc:docMk/>
            <pc:sldMk cId="700102676" sldId="1420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8T16:11:52.091" v="11032"/>
          <ac:spMkLst>
            <pc:docMk/>
            <pc:sldMk cId="700102676" sldId="1420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8T16:11:52.096" v="11040"/>
          <ac:spMkLst>
            <pc:docMk/>
            <pc:sldMk cId="700102676" sldId="1420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8T16:11:52.128" v="11092"/>
          <ac:spMkLst>
            <pc:docMk/>
            <pc:sldMk cId="700102676" sldId="1420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8T16:11:52.100" v="11048"/>
          <ac:spMkLst>
            <pc:docMk/>
            <pc:sldMk cId="700102676" sldId="1420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8T16:11:52.114" v="11070"/>
          <ac:spMkLst>
            <pc:docMk/>
            <pc:sldMk cId="700102676" sldId="1420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8T16:11:52.116" v="11072"/>
          <ac:spMkLst>
            <pc:docMk/>
            <pc:sldMk cId="700102676" sldId="1420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8T16:11:52.117" v="11074"/>
          <ac:spMkLst>
            <pc:docMk/>
            <pc:sldMk cId="700102676" sldId="1420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8T16:11:52.118" v="11076"/>
          <ac:spMkLst>
            <pc:docMk/>
            <pc:sldMk cId="700102676" sldId="1420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8T16:11:52.119" v="11078"/>
          <ac:spMkLst>
            <pc:docMk/>
            <pc:sldMk cId="700102676" sldId="1420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8T16:11:52.120" v="11080"/>
          <ac:spMkLst>
            <pc:docMk/>
            <pc:sldMk cId="700102676" sldId="1420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8T16:11:52.124" v="11084"/>
          <ac:spMkLst>
            <pc:docMk/>
            <pc:sldMk cId="700102676" sldId="1420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8T16:11:52.125" v="11086"/>
          <ac:spMkLst>
            <pc:docMk/>
            <pc:sldMk cId="700102676" sldId="1420"/>
            <ac:spMk id="42" creationId="{B5D8FFB3-E6A3-42FB-A328-4EF1E0D455B8}"/>
          </ac:spMkLst>
        </pc:spChg>
        <pc:spChg chg="mod ord topLvl">
          <ac:chgData name="Disselhoff, Tim" userId="3b8b5473-7050-4f60-8279-e72cc8538d43" providerId="ADAL" clId="{952E53DB-5978-46BA-964C-5B55B87B6690}" dt="2021-08-18T16:11:52.134" v="11101"/>
          <ac:spMkLst>
            <pc:docMk/>
            <pc:sldMk cId="700102676" sldId="1420"/>
            <ac:spMk id="48" creationId="{931EBFD0-CF6F-404D-BF78-39FD17EBEA3D}"/>
          </ac:spMkLst>
        </pc:spChg>
        <pc:spChg chg="del">
          <ac:chgData name="Disselhoff, Tim" userId="3b8b5473-7050-4f60-8279-e72cc8538d43" providerId="ADAL" clId="{952E53DB-5978-46BA-964C-5B55B87B6690}" dt="2021-08-18T16:06:09.533" v="10744" actId="478"/>
          <ac:spMkLst>
            <pc:docMk/>
            <pc:sldMk cId="700102676" sldId="1420"/>
            <ac:spMk id="360" creationId="{9B95E3CA-A7C4-46C6-A347-D430B3D8AF05}"/>
          </ac:spMkLst>
        </pc:spChg>
        <pc:spChg chg="mod ord">
          <ac:chgData name="Disselhoff, Tim" userId="3b8b5473-7050-4f60-8279-e72cc8538d43" providerId="ADAL" clId="{952E53DB-5978-46BA-964C-5B55B87B6690}" dt="2021-08-18T16:11:52.078" v="11010"/>
          <ac:spMkLst>
            <pc:docMk/>
            <pc:sldMk cId="700102676" sldId="1420"/>
            <ac:spMk id="361" creationId="{216FF5D1-F5EE-4B51-AD15-F796A02CE247}"/>
          </ac:spMkLst>
        </pc:spChg>
        <pc:spChg chg="del mod topLvl">
          <ac:chgData name="Disselhoff, Tim" userId="3b8b5473-7050-4f60-8279-e72cc8538d43" providerId="ADAL" clId="{952E53DB-5978-46BA-964C-5B55B87B6690}" dt="2021-08-18T16:07:44.570" v="10765" actId="478"/>
          <ac:spMkLst>
            <pc:docMk/>
            <pc:sldMk cId="700102676" sldId="1420"/>
            <ac:spMk id="362" creationId="{752FC1DA-4C19-4013-9DF2-81DC1022D71A}"/>
          </ac:spMkLst>
        </pc:spChg>
        <pc:spChg chg="add del mod">
          <ac:chgData name="Disselhoff, Tim" userId="3b8b5473-7050-4f60-8279-e72cc8538d43" providerId="ADAL" clId="{952E53DB-5978-46BA-964C-5B55B87B6690}" dt="2021-08-18T16:07:52.330" v="10770" actId="478"/>
          <ac:spMkLst>
            <pc:docMk/>
            <pc:sldMk cId="700102676" sldId="1420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8T16:11:52.127" v="11090"/>
          <ac:spMkLst>
            <pc:docMk/>
            <pc:sldMk cId="700102676" sldId="1420"/>
            <ac:spMk id="364" creationId="{B83EC4C5-B661-4674-8BE6-256C108497F2}"/>
          </ac:spMkLst>
        </pc:spChg>
        <pc:spChg chg="mod ord topLvl">
          <ac:chgData name="Disselhoff, Tim" userId="3b8b5473-7050-4f60-8279-e72cc8538d43" providerId="ADAL" clId="{952E53DB-5978-46BA-964C-5B55B87B6690}" dt="2021-08-18T16:11:52.136" v="11105"/>
          <ac:spMkLst>
            <pc:docMk/>
            <pc:sldMk cId="700102676" sldId="1420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8T16:07:29.292" v="10761" actId="165"/>
          <ac:spMkLst>
            <pc:docMk/>
            <pc:sldMk cId="700102676" sldId="1420"/>
            <ac:spMk id="378" creationId="{6911EA98-B3B2-4B3E-AD44-B6DC6A498943}"/>
          </ac:spMkLst>
        </pc:spChg>
        <pc:spChg chg="mod ord topLvl">
          <ac:chgData name="Disselhoff, Tim" userId="3b8b5473-7050-4f60-8279-e72cc8538d43" providerId="ADAL" clId="{952E53DB-5978-46BA-964C-5B55B87B6690}" dt="2021-08-18T16:11:52.131" v="11095"/>
          <ac:spMkLst>
            <pc:docMk/>
            <pc:sldMk cId="700102676" sldId="1420"/>
            <ac:spMk id="381" creationId="{7DC4EEF1-204D-402D-B785-CDBCACCEBD4F}"/>
          </ac:spMkLst>
        </pc:spChg>
        <pc:spChg chg="mod ord topLvl">
          <ac:chgData name="Disselhoff, Tim" userId="3b8b5473-7050-4f60-8279-e72cc8538d43" providerId="ADAL" clId="{952E53DB-5978-46BA-964C-5B55B87B6690}" dt="2021-08-18T16:11:52.132" v="11097"/>
          <ac:spMkLst>
            <pc:docMk/>
            <pc:sldMk cId="700102676" sldId="1420"/>
            <ac:spMk id="382" creationId="{38FFCDA8-F48A-49EF-AAFE-AE084AE6FAC1}"/>
          </ac:spMkLst>
        </pc:spChg>
        <pc:spChg chg="mod ord topLvl">
          <ac:chgData name="Disselhoff, Tim" userId="3b8b5473-7050-4f60-8279-e72cc8538d43" providerId="ADAL" clId="{952E53DB-5978-46BA-964C-5B55B87B6690}" dt="2021-08-18T16:11:52.133" v="11099"/>
          <ac:spMkLst>
            <pc:docMk/>
            <pc:sldMk cId="700102676" sldId="1420"/>
            <ac:spMk id="383" creationId="{BA485D0D-A8E6-4FE5-9546-4DB3BC0BECB3}"/>
          </ac:spMkLst>
        </pc:spChg>
        <pc:spChg chg="mod ord topLvl">
          <ac:chgData name="Disselhoff, Tim" userId="3b8b5473-7050-4f60-8279-e72cc8538d43" providerId="ADAL" clId="{952E53DB-5978-46BA-964C-5B55B87B6690}" dt="2021-08-18T16:11:52.137" v="11107"/>
          <ac:spMkLst>
            <pc:docMk/>
            <pc:sldMk cId="700102676" sldId="1420"/>
            <ac:spMk id="384" creationId="{9E62869D-6BAD-49C5-AB9B-3898E1044009}"/>
          </ac:spMkLst>
        </pc:spChg>
        <pc:spChg chg="mod ord topLvl">
          <ac:chgData name="Disselhoff, Tim" userId="3b8b5473-7050-4f60-8279-e72cc8538d43" providerId="ADAL" clId="{952E53DB-5978-46BA-964C-5B55B87B6690}" dt="2021-08-18T16:11:52.138" v="11109"/>
          <ac:spMkLst>
            <pc:docMk/>
            <pc:sldMk cId="700102676" sldId="1420"/>
            <ac:spMk id="385" creationId="{2FEF2853-BD2C-4F66-A827-9F3A70E17A21}"/>
          </ac:spMkLst>
        </pc:spChg>
        <pc:spChg chg="mod ord topLvl">
          <ac:chgData name="Disselhoff, Tim" userId="3b8b5473-7050-4f60-8279-e72cc8538d43" providerId="ADAL" clId="{952E53DB-5978-46BA-964C-5B55B87B6690}" dt="2021-08-18T16:11:52.138" v="11111"/>
          <ac:spMkLst>
            <pc:docMk/>
            <pc:sldMk cId="700102676" sldId="1420"/>
            <ac:spMk id="386" creationId="{FD3000A9-52BB-4F24-A2F7-DF30C8763CCB}"/>
          </ac:spMkLst>
        </pc:spChg>
        <pc:spChg chg="mod ord topLvl">
          <ac:chgData name="Disselhoff, Tim" userId="3b8b5473-7050-4f60-8279-e72cc8538d43" providerId="ADAL" clId="{952E53DB-5978-46BA-964C-5B55B87B6690}" dt="2021-08-18T16:11:52.139" v="11113"/>
          <ac:spMkLst>
            <pc:docMk/>
            <pc:sldMk cId="700102676" sldId="1420"/>
            <ac:spMk id="387" creationId="{F22FFF5C-8571-4CFD-81A4-7B18B2AC66AB}"/>
          </ac:spMkLst>
        </pc:spChg>
        <pc:spChg chg="mod ord topLvl">
          <ac:chgData name="Disselhoff, Tim" userId="3b8b5473-7050-4f60-8279-e72cc8538d43" providerId="ADAL" clId="{952E53DB-5978-46BA-964C-5B55B87B6690}" dt="2021-08-18T16:11:52.142" v="11119"/>
          <ac:spMkLst>
            <pc:docMk/>
            <pc:sldMk cId="700102676" sldId="1420"/>
            <ac:spMk id="388" creationId="{0A83D9C8-6D23-41C8-812A-6D6664EBA787}"/>
          </ac:spMkLst>
        </pc:spChg>
        <pc:spChg chg="mod ord topLvl">
          <ac:chgData name="Disselhoff, Tim" userId="3b8b5473-7050-4f60-8279-e72cc8538d43" providerId="ADAL" clId="{952E53DB-5978-46BA-964C-5B55B87B6690}" dt="2021-08-18T16:11:52.143" v="11121"/>
          <ac:spMkLst>
            <pc:docMk/>
            <pc:sldMk cId="700102676" sldId="1420"/>
            <ac:spMk id="389" creationId="{2B44649A-B4E0-4013-A2D8-ADEE9FC2D0A6}"/>
          </ac:spMkLst>
        </pc:spChg>
        <pc:spChg chg="mod ord topLvl">
          <ac:chgData name="Disselhoff, Tim" userId="3b8b5473-7050-4f60-8279-e72cc8538d43" providerId="ADAL" clId="{952E53DB-5978-46BA-964C-5B55B87B6690}" dt="2021-08-18T16:11:52.140" v="11115"/>
          <ac:spMkLst>
            <pc:docMk/>
            <pc:sldMk cId="700102676" sldId="1420"/>
            <ac:spMk id="390" creationId="{55C60B76-5103-42DC-83D7-36B18DAC247F}"/>
          </ac:spMkLst>
        </pc:spChg>
        <pc:spChg chg="add del mod">
          <ac:chgData name="Disselhoff, Tim" userId="3b8b5473-7050-4f60-8279-e72cc8538d43" providerId="ADAL" clId="{952E53DB-5978-46BA-964C-5B55B87B6690}" dt="2021-08-18T16:07:44.570" v="10765" actId="478"/>
          <ac:spMkLst>
            <pc:docMk/>
            <pc:sldMk cId="700102676" sldId="1420"/>
            <ac:spMk id="391" creationId="{E81565A6-186A-4412-9E42-5AE5F73B4AE2}"/>
          </ac:spMkLst>
        </pc:spChg>
        <pc:spChg chg="mod ord topLvl">
          <ac:chgData name="Disselhoff, Tim" userId="3b8b5473-7050-4f60-8279-e72cc8538d43" providerId="ADAL" clId="{952E53DB-5978-46BA-964C-5B55B87B6690}" dt="2021-08-18T16:11:52.146" v="11127"/>
          <ac:spMkLst>
            <pc:docMk/>
            <pc:sldMk cId="700102676" sldId="1420"/>
            <ac:spMk id="392" creationId="{46D7C816-303C-44CE-922F-50BDB4035657}"/>
          </ac:spMkLst>
        </pc:spChg>
        <pc:spChg chg="add del mod">
          <ac:chgData name="Disselhoff, Tim" userId="3b8b5473-7050-4f60-8279-e72cc8538d43" providerId="ADAL" clId="{952E53DB-5978-46BA-964C-5B55B87B6690}" dt="2021-08-18T16:07:57.034" v="10772" actId="478"/>
          <ac:spMkLst>
            <pc:docMk/>
            <pc:sldMk cId="700102676" sldId="1420"/>
            <ac:spMk id="393" creationId="{14B04545-E8B6-4EB0-81FF-0ED0C695DA7A}"/>
          </ac:spMkLst>
        </pc:spChg>
        <pc:spChg chg="add del mod">
          <ac:chgData name="Disselhoff, Tim" userId="3b8b5473-7050-4f60-8279-e72cc8538d43" providerId="ADAL" clId="{952E53DB-5978-46BA-964C-5B55B87B6690}" dt="2021-08-18T16:07:55.301" v="10771" actId="478"/>
          <ac:spMkLst>
            <pc:docMk/>
            <pc:sldMk cId="700102676" sldId="1420"/>
            <ac:spMk id="394" creationId="{AE933118-328F-4F44-817D-02F486C92D5B}"/>
          </ac:spMkLst>
        </pc:spChg>
        <pc:spChg chg="add del mod">
          <ac:chgData name="Disselhoff, Tim" userId="3b8b5473-7050-4f60-8279-e72cc8538d43" providerId="ADAL" clId="{952E53DB-5978-46BA-964C-5B55B87B6690}" dt="2021-08-18T16:07:49.402" v="10768" actId="478"/>
          <ac:spMkLst>
            <pc:docMk/>
            <pc:sldMk cId="700102676" sldId="1420"/>
            <ac:spMk id="395" creationId="{B7C80E8D-2FB3-4967-8033-EA8E43D6FAC2}"/>
          </ac:spMkLst>
        </pc:spChg>
        <pc:spChg chg="add mod ord">
          <ac:chgData name="Disselhoff, Tim" userId="3b8b5473-7050-4f60-8279-e72cc8538d43" providerId="ADAL" clId="{952E53DB-5978-46BA-964C-5B55B87B6690}" dt="2021-08-18T16:11:52.147" v="11129"/>
          <ac:spMkLst>
            <pc:docMk/>
            <pc:sldMk cId="700102676" sldId="1420"/>
            <ac:spMk id="396" creationId="{D717D091-6865-4C22-8723-5F43538442B3}"/>
          </ac:spMkLst>
        </pc:spChg>
        <pc:spChg chg="add del mod">
          <ac:chgData name="Disselhoff, Tim" userId="3b8b5473-7050-4f60-8279-e72cc8538d43" providerId="ADAL" clId="{952E53DB-5978-46BA-964C-5B55B87B6690}" dt="2021-08-18T16:07:44.570" v="10765" actId="478"/>
          <ac:spMkLst>
            <pc:docMk/>
            <pc:sldMk cId="700102676" sldId="1420"/>
            <ac:spMk id="397" creationId="{D319A06A-6DFE-4874-93D8-D67F460A2E63}"/>
          </ac:spMkLst>
        </pc:spChg>
        <pc:spChg chg="add del mod">
          <ac:chgData name="Disselhoff, Tim" userId="3b8b5473-7050-4f60-8279-e72cc8538d43" providerId="ADAL" clId="{952E53DB-5978-46BA-964C-5B55B87B6690}" dt="2021-08-18T16:06:29.787" v="10748" actId="478"/>
          <ac:spMkLst>
            <pc:docMk/>
            <pc:sldMk cId="700102676" sldId="1420"/>
            <ac:spMk id="398" creationId="{52D85AE1-EDC3-40E4-AC3C-110866765E63}"/>
          </ac:spMkLst>
        </pc:spChg>
        <pc:spChg chg="del mod topLvl">
          <ac:chgData name="Disselhoff, Tim" userId="3b8b5473-7050-4f60-8279-e72cc8538d43" providerId="ADAL" clId="{952E53DB-5978-46BA-964C-5B55B87B6690}" dt="2021-08-18T16:07:47.862" v="10767" actId="478"/>
          <ac:spMkLst>
            <pc:docMk/>
            <pc:sldMk cId="700102676" sldId="1420"/>
            <ac:spMk id="399" creationId="{29F8AE9E-5F8A-48B7-99FC-48283AEB4DE3}"/>
          </ac:spMkLst>
        </pc:spChg>
        <pc:spChg chg="add del mod">
          <ac:chgData name="Disselhoff, Tim" userId="3b8b5473-7050-4f60-8279-e72cc8538d43" providerId="ADAL" clId="{952E53DB-5978-46BA-964C-5B55B87B6690}" dt="2021-08-18T16:06:29.787" v="10748" actId="478"/>
          <ac:spMkLst>
            <pc:docMk/>
            <pc:sldMk cId="700102676" sldId="1420"/>
            <ac:spMk id="400" creationId="{01A608C0-2FE5-476A-BE6E-C00B66C8075C}"/>
          </ac:spMkLst>
        </pc:spChg>
        <pc:spChg chg="del mod topLvl">
          <ac:chgData name="Disselhoff, Tim" userId="3b8b5473-7050-4f60-8279-e72cc8538d43" providerId="ADAL" clId="{952E53DB-5978-46BA-964C-5B55B87B6690}" dt="2021-08-18T16:07:44.570" v="10765" actId="478"/>
          <ac:spMkLst>
            <pc:docMk/>
            <pc:sldMk cId="700102676" sldId="1420"/>
            <ac:spMk id="402" creationId="{D45B3FE9-1E70-4A86-BEF9-3593EB8AF8A2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03" creationId="{DC31DC38-BE0F-423E-9CED-90C9F917DBE8}"/>
          </ac:spMkLst>
        </pc:spChg>
        <pc:spChg chg="del mod topLvl">
          <ac:chgData name="Disselhoff, Tim" userId="3b8b5473-7050-4f60-8279-e72cc8538d43" providerId="ADAL" clId="{952E53DB-5978-46BA-964C-5B55B87B6690}" dt="2021-08-18T16:07:47.041" v="10766" actId="478"/>
          <ac:spMkLst>
            <pc:docMk/>
            <pc:sldMk cId="700102676" sldId="1420"/>
            <ac:spMk id="404" creationId="{460B3AA4-CC09-446E-8C13-6BF2772144D3}"/>
          </ac:spMkLst>
        </pc:spChg>
        <pc:spChg chg="del mod topLvl">
          <ac:chgData name="Disselhoff, Tim" userId="3b8b5473-7050-4f60-8279-e72cc8538d43" providerId="ADAL" clId="{952E53DB-5978-46BA-964C-5B55B87B6690}" dt="2021-08-18T16:07:44.570" v="10765" actId="478"/>
          <ac:spMkLst>
            <pc:docMk/>
            <pc:sldMk cId="700102676" sldId="1420"/>
            <ac:spMk id="405" creationId="{6D6A43E9-171A-4B5F-B5C6-AF90CD441EA7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06" creationId="{A6C332F8-C2D2-48B1-B15C-29B1D8603B15}"/>
          </ac:spMkLst>
        </pc:spChg>
        <pc:spChg chg="del mod topLvl">
          <ac:chgData name="Disselhoff, Tim" userId="3b8b5473-7050-4f60-8279-e72cc8538d43" providerId="ADAL" clId="{952E53DB-5978-46BA-964C-5B55B87B6690}" dt="2021-08-18T16:07:49.881" v="10769" actId="478"/>
          <ac:spMkLst>
            <pc:docMk/>
            <pc:sldMk cId="700102676" sldId="1420"/>
            <ac:spMk id="407" creationId="{4E05ACF2-3E18-44AB-B06F-CB6B4CEC3412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08" creationId="{C2155322-380C-401C-8DEB-836E23C0BF01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09" creationId="{52098EB0-709F-4123-8C0B-4E77DD0D24BE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1" creationId="{EB622F55-382E-406B-BEF0-0DC58E40557F}"/>
          </ac:spMkLst>
        </pc:spChg>
        <pc:spChg chg="mod ord topLvl">
          <ac:chgData name="Disselhoff, Tim" userId="3b8b5473-7050-4f60-8279-e72cc8538d43" providerId="ADAL" clId="{952E53DB-5978-46BA-964C-5B55B87B6690}" dt="2021-08-18T16:11:52.141" v="11117"/>
          <ac:spMkLst>
            <pc:docMk/>
            <pc:sldMk cId="700102676" sldId="1420"/>
            <ac:spMk id="412" creationId="{58AD9DD5-9FF5-49B7-910B-EC9F75F19A6F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3" creationId="{B91DBD0F-F53F-49C3-8D9B-AC9EC9E1E4A8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4" creationId="{1303A76B-4244-4A76-ABBF-5B24639BC287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5" creationId="{3B8F0B8C-FDD4-48B6-9D2D-8A7FA8352B78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6" creationId="{B45CD1B7-0B2D-4DDE-9268-35E62257EE60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7" creationId="{6E9416A6-F4C3-497C-BADD-9C5530375D3A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8" creationId="{8B83BD50-6800-4AF9-8EA2-9FE12CA1B754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19" creationId="{00E0E61D-3665-49F2-B1A9-103DF71DA018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0" creationId="{F25A31C9-3459-40DB-B688-883131897F74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1" creationId="{606D69BC-3FF3-49A1-8506-D92B01B571B6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2" creationId="{8C077BF5-B4B8-4EA8-99CE-36BAA033CF3A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3" creationId="{82A282BB-4921-4946-9D9D-9695293546CE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4" creationId="{20E1B357-F475-4240-A84F-99A8F18D8F4D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5" creationId="{FF84897F-BD20-4F9F-B06B-67DEE5981B36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6" creationId="{C9EB3221-548C-4438-B12C-4F965DCFC709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7" creationId="{90C67EA9-ABF9-4850-A12F-007205FE075D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8" creationId="{DB20CBEE-94C3-423C-928D-6823864A4BB3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29" creationId="{A9EC27DE-72F1-4347-BA10-B85A49E8921E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0" creationId="{4CA9DCEC-D799-4770-9E8A-AA39CB7F6E36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1" creationId="{09C33880-A5AB-4AA7-9C29-E7A93532EA8C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2" creationId="{27032B74-76A0-41CB-895D-7FFE98775F33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3" creationId="{65584161-7E3D-42A8-9BEA-C66D4637B24A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4" creationId="{F5DB4B08-E984-4B00-8A7B-D1033ABDA3AF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5" creationId="{E4E575EE-FE0E-48F7-8787-FBE5B8502551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6" creationId="{53ED5007-6EE7-4293-806C-78696C3DB6CE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7" creationId="{D9527DBF-7C25-4C0E-BF23-9B3F6FB1603D}"/>
          </ac:spMkLst>
        </pc:spChg>
        <pc:spChg chg="mod">
          <ac:chgData name="Disselhoff, Tim" userId="3b8b5473-7050-4f60-8279-e72cc8538d43" providerId="ADAL" clId="{952E53DB-5978-46BA-964C-5B55B87B6690}" dt="2021-08-18T16:06:34.571" v="10749"/>
          <ac:spMkLst>
            <pc:docMk/>
            <pc:sldMk cId="700102676" sldId="1420"/>
            <ac:spMk id="438" creationId="{C5937EE6-571B-46E6-BE82-9DF8C6576BE5}"/>
          </ac:spMkLst>
        </pc:spChg>
        <pc:spChg chg="add del mod ord topLvl">
          <ac:chgData name="Disselhoff, Tim" userId="3b8b5473-7050-4f60-8279-e72cc8538d43" providerId="ADAL" clId="{952E53DB-5978-46BA-964C-5B55B87B6690}" dt="2021-08-18T16:12:07.596" v="11133" actId="478"/>
          <ac:spMkLst>
            <pc:docMk/>
            <pc:sldMk cId="700102676" sldId="1420"/>
            <ac:spMk id="439" creationId="{D8449701-AAB9-46F9-8ABD-4A4C003D456D}"/>
          </ac:spMkLst>
        </pc:spChg>
        <pc:spChg chg="add del mod ord topLvl">
          <ac:chgData name="Disselhoff, Tim" userId="3b8b5473-7050-4f60-8279-e72cc8538d43" providerId="ADAL" clId="{952E53DB-5978-46BA-964C-5B55B87B6690}" dt="2021-08-18T16:12:07.596" v="11133" actId="478"/>
          <ac:spMkLst>
            <pc:docMk/>
            <pc:sldMk cId="700102676" sldId="1420"/>
            <ac:spMk id="440" creationId="{AAD0C493-ADA4-4ED0-8F15-B28C6CD54BA2}"/>
          </ac:spMkLst>
        </pc:spChg>
        <pc:grpChg chg="del">
          <ac:chgData name="Disselhoff, Tim" userId="3b8b5473-7050-4f60-8279-e72cc8538d43" providerId="ADAL" clId="{952E53DB-5978-46BA-964C-5B55B87B6690}" dt="2021-08-18T16:07:29.292" v="10761" actId="165"/>
          <ac:grpSpMkLst>
            <pc:docMk/>
            <pc:sldMk cId="700102676" sldId="1420"/>
            <ac:grpSpMk id="6" creationId="{C267B38D-B3F6-4816-92DD-3857B6E9F186}"/>
          </ac:grpSpMkLst>
        </pc:grpChg>
        <pc:grpChg chg="mod ord">
          <ac:chgData name="Disselhoff, Tim" userId="3b8b5473-7050-4f60-8279-e72cc8538d43" providerId="ADAL" clId="{952E53DB-5978-46BA-964C-5B55B87B6690}" dt="2021-08-18T16:11:52.085" v="11022"/>
          <ac:grpSpMkLst>
            <pc:docMk/>
            <pc:sldMk cId="700102676" sldId="1420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8T16:11:52.086" v="11024"/>
          <ac:grpSpMkLst>
            <pc:docMk/>
            <pc:sldMk cId="700102676" sldId="1420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8T16:11:52.087" v="11026"/>
          <ac:grpSpMkLst>
            <pc:docMk/>
            <pc:sldMk cId="700102676" sldId="1420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8T16:11:52.093" v="11034"/>
          <ac:grpSpMkLst>
            <pc:docMk/>
            <pc:sldMk cId="700102676" sldId="1420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8T16:11:52.094" v="11036"/>
          <ac:grpSpMkLst>
            <pc:docMk/>
            <pc:sldMk cId="700102676" sldId="1420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8T16:11:52.095" v="11038"/>
          <ac:grpSpMkLst>
            <pc:docMk/>
            <pc:sldMk cId="700102676" sldId="1420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8T16:11:52.097" v="11042"/>
          <ac:grpSpMkLst>
            <pc:docMk/>
            <pc:sldMk cId="700102676" sldId="1420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8T16:11:52.098" v="11044"/>
          <ac:grpSpMkLst>
            <pc:docMk/>
            <pc:sldMk cId="700102676" sldId="1420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8T16:11:52.099" v="11046"/>
          <ac:grpSpMkLst>
            <pc:docMk/>
            <pc:sldMk cId="700102676" sldId="1420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8T16:11:52.130" v="11093"/>
          <ac:grpSpMkLst>
            <pc:docMk/>
            <pc:sldMk cId="700102676" sldId="1420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8T16:11:52.122" v="11082"/>
          <ac:grpSpMkLst>
            <pc:docMk/>
            <pc:sldMk cId="700102676" sldId="1420"/>
            <ac:grpSpMk id="40" creationId="{37AB0EBD-FC68-47BC-BCDE-00708884834E}"/>
          </ac:grpSpMkLst>
        </pc:grpChg>
        <pc:grpChg chg="add del mod">
          <ac:chgData name="Disselhoff, Tim" userId="3b8b5473-7050-4f60-8279-e72cc8538d43" providerId="ADAL" clId="{952E53DB-5978-46BA-964C-5B55B87B6690}" dt="2021-08-18T16:11:17.851" v="10813" actId="165"/>
          <ac:grpSpMkLst>
            <pc:docMk/>
            <pc:sldMk cId="700102676" sldId="1420"/>
            <ac:grpSpMk id="44" creationId="{3BC680EC-560C-468A-996D-834D7571C81A}"/>
          </ac:grpSpMkLst>
        </pc:grpChg>
        <pc:grpChg chg="mod ord topLvl">
          <ac:chgData name="Disselhoff, Tim" userId="3b8b5473-7050-4f60-8279-e72cc8538d43" providerId="ADAL" clId="{952E53DB-5978-46BA-964C-5B55B87B6690}" dt="2021-08-18T16:11:52.135" v="11103"/>
          <ac:grpSpMkLst>
            <pc:docMk/>
            <pc:sldMk cId="700102676" sldId="1420"/>
            <ac:grpSpMk id="366" creationId="{ADD1861F-955A-47C0-A199-B30FAF33822F}"/>
          </ac:grpSpMkLst>
        </pc:grpChg>
        <pc:grpChg chg="add del mod">
          <ac:chgData name="Disselhoff, Tim" userId="3b8b5473-7050-4f60-8279-e72cc8538d43" providerId="ADAL" clId="{952E53DB-5978-46BA-964C-5B55B87B6690}" dt="2021-08-18T16:06:38.117" v="10750"/>
          <ac:grpSpMkLst>
            <pc:docMk/>
            <pc:sldMk cId="700102676" sldId="1420"/>
            <ac:grpSpMk id="401" creationId="{9BB0030B-F595-4802-8D03-6639E5B35760}"/>
          </ac:grpSpMkLst>
        </pc:grpChg>
        <pc:grpChg chg="mod">
          <ac:chgData name="Disselhoff, Tim" userId="3b8b5473-7050-4f60-8279-e72cc8538d43" providerId="ADAL" clId="{952E53DB-5978-46BA-964C-5B55B87B6690}" dt="2021-08-18T16:06:34.571" v="10749"/>
          <ac:grpSpMkLst>
            <pc:docMk/>
            <pc:sldMk cId="700102676" sldId="1420"/>
            <ac:grpSpMk id="410" creationId="{EC1234FA-2CAB-47B0-BB87-69B4B47E2AEB}"/>
          </ac:grpSpMkLst>
        </pc:grpChg>
        <pc:graphicFrameChg chg="mod">
          <ac:chgData name="Disselhoff, Tim" userId="3b8b5473-7050-4f60-8279-e72cc8538d43" providerId="ADAL" clId="{952E53DB-5978-46BA-964C-5B55B87B6690}" dt="2021-08-19T12:23:57.469" v="13925"/>
          <ac:graphicFrameMkLst>
            <pc:docMk/>
            <pc:sldMk cId="700102676" sldId="1420"/>
            <ac:graphicFrameMk id="365" creationId="{E60950EF-D161-4F96-83E4-B88E961AACA8}"/>
          </ac:graphicFrameMkLst>
        </pc:graphicFrameChg>
        <pc:picChg chg="del mod">
          <ac:chgData name="Disselhoff, Tim" userId="3b8b5473-7050-4f60-8279-e72cc8538d43" providerId="ADAL" clId="{952E53DB-5978-46BA-964C-5B55B87B6690}" dt="2021-08-18T16:06:16.060" v="10746" actId="478"/>
          <ac:picMkLst>
            <pc:docMk/>
            <pc:sldMk cId="700102676" sldId="1420"/>
            <ac:picMk id="379" creationId="{7100A991-7A62-4038-B790-C800CC86B1E6}"/>
          </ac:picMkLst>
        </pc:picChg>
        <pc:picChg chg="del">
          <ac:chgData name="Disselhoff, Tim" userId="3b8b5473-7050-4f60-8279-e72cc8538d43" providerId="ADAL" clId="{952E53DB-5978-46BA-964C-5B55B87B6690}" dt="2021-08-18T16:06:07.945" v="10743" actId="478"/>
          <ac:picMkLst>
            <pc:docMk/>
            <pc:sldMk cId="700102676" sldId="1420"/>
            <ac:picMk id="380" creationId="{1F1E990E-29B3-4762-AD32-85FA233436DD}"/>
          </ac:picMkLst>
        </pc:picChg>
        <pc:cxnChg chg="mod ord">
          <ac:chgData name="Disselhoff, Tim" userId="3b8b5473-7050-4f60-8279-e72cc8538d43" providerId="ADAL" clId="{952E53DB-5978-46BA-964C-5B55B87B6690}" dt="2021-08-18T16:11:52.101" v="11050"/>
          <ac:cxnSpMkLst>
            <pc:docMk/>
            <pc:sldMk cId="700102676" sldId="1420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8T16:11:52.102" v="11052"/>
          <ac:cxnSpMkLst>
            <pc:docMk/>
            <pc:sldMk cId="700102676" sldId="1420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8T16:11:52.103" v="11054"/>
          <ac:cxnSpMkLst>
            <pc:docMk/>
            <pc:sldMk cId="700102676" sldId="1420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8T16:11:52.104" v="11056"/>
          <ac:cxnSpMkLst>
            <pc:docMk/>
            <pc:sldMk cId="700102676" sldId="1420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8T16:11:52.105" v="11058"/>
          <ac:cxnSpMkLst>
            <pc:docMk/>
            <pc:sldMk cId="700102676" sldId="1420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8T16:11:52.107" v="11060"/>
          <ac:cxnSpMkLst>
            <pc:docMk/>
            <pc:sldMk cId="700102676" sldId="1420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8T16:11:52.108" v="11062"/>
          <ac:cxnSpMkLst>
            <pc:docMk/>
            <pc:sldMk cId="700102676" sldId="1420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8T16:11:52.110" v="11064"/>
          <ac:cxnSpMkLst>
            <pc:docMk/>
            <pc:sldMk cId="700102676" sldId="1420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8T16:11:52.112" v="11066"/>
          <ac:cxnSpMkLst>
            <pc:docMk/>
            <pc:sldMk cId="700102676" sldId="1420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8T16:11:52.113" v="11068"/>
          <ac:cxnSpMkLst>
            <pc:docMk/>
            <pc:sldMk cId="700102676" sldId="1420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8T16:11:52.125" v="11088"/>
          <ac:cxnSpMkLst>
            <pc:docMk/>
            <pc:sldMk cId="700102676" sldId="1420"/>
            <ac:cxnSpMk id="43" creationId="{1AC0A2C5-4B94-40F9-88E2-D3C10215517A}"/>
          </ac:cxnSpMkLst>
        </pc:cxnChg>
      </pc:sldChg>
      <pc:sldChg chg="delSp add del mod">
        <pc:chgData name="Disselhoff, Tim" userId="3b8b5473-7050-4f60-8279-e72cc8538d43" providerId="ADAL" clId="{952E53DB-5978-46BA-964C-5B55B87B6690}" dt="2021-08-18T16:09:34.351" v="10786" actId="47"/>
        <pc:sldMkLst>
          <pc:docMk/>
          <pc:sldMk cId="972557029" sldId="1421"/>
        </pc:sldMkLst>
        <pc:spChg chg="del">
          <ac:chgData name="Disselhoff, Tim" userId="3b8b5473-7050-4f60-8279-e72cc8538d43" providerId="ADAL" clId="{952E53DB-5978-46BA-964C-5B55B87B6690}" dt="2021-08-18T16:05:47.092" v="10737" actId="478"/>
          <ac:spMkLst>
            <pc:docMk/>
            <pc:sldMk cId="972557029" sldId="1421"/>
            <ac:spMk id="398" creationId="{52D85AE1-EDC3-40E4-AC3C-110866765E63}"/>
          </ac:spMkLst>
        </pc:spChg>
        <pc:spChg chg="del">
          <ac:chgData name="Disselhoff, Tim" userId="3b8b5473-7050-4f60-8279-e72cc8538d43" providerId="ADAL" clId="{952E53DB-5978-46BA-964C-5B55B87B6690}" dt="2021-08-18T16:05:47.092" v="10737" actId="478"/>
          <ac:spMkLst>
            <pc:docMk/>
            <pc:sldMk cId="972557029" sldId="1421"/>
            <ac:spMk id="400" creationId="{01A608C0-2FE5-476A-BE6E-C00B66C8075C}"/>
          </ac:spMkLst>
        </pc:spChg>
      </pc:sldChg>
      <pc:sldChg chg="add ord">
        <pc:chgData name="Disselhoff, Tim" userId="3b8b5473-7050-4f60-8279-e72cc8538d43" providerId="ADAL" clId="{952E53DB-5978-46BA-964C-5B55B87B6690}" dt="2021-08-18T16:09:45.359" v="10788"/>
        <pc:sldMkLst>
          <pc:docMk/>
          <pc:sldMk cId="866060108" sldId="1422"/>
        </pc:sldMkLst>
      </pc:sldChg>
      <pc:sldChg chg="addSp delSp modSp add mod">
        <pc:chgData name="Disselhoff, Tim" userId="3b8b5473-7050-4f60-8279-e72cc8538d43" providerId="ADAL" clId="{952E53DB-5978-46BA-964C-5B55B87B6690}" dt="2021-08-19T15:50:45.235" v="17471" actId="20577"/>
        <pc:sldMkLst>
          <pc:docMk/>
          <pc:sldMk cId="1534521532" sldId="1423"/>
        </pc:sldMkLst>
        <pc:spChg chg="del mod ord">
          <ac:chgData name="Disselhoff, Tim" userId="3b8b5473-7050-4f60-8279-e72cc8538d43" providerId="ADAL" clId="{952E53DB-5978-46BA-964C-5B55B87B6690}" dt="2021-08-19T14:23:49.299" v="17026" actId="478"/>
          <ac:spMkLst>
            <pc:docMk/>
            <pc:sldMk cId="1534521532" sldId="1423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4:23:49.299" v="17026" actId="478"/>
          <ac:spMkLst>
            <pc:docMk/>
            <pc:sldMk cId="1534521532" sldId="1423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4:23:01.639" v="16860"/>
          <ac:spMkLst>
            <pc:docMk/>
            <pc:sldMk cId="1534521532" sldId="1423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4:23:01.640" v="16862"/>
          <ac:spMkLst>
            <pc:docMk/>
            <pc:sldMk cId="1534521532" sldId="1423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4:23:01.643" v="16864"/>
          <ac:spMkLst>
            <pc:docMk/>
            <pc:sldMk cId="1534521532" sldId="1423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4:23:01.646" v="16872"/>
          <ac:spMkLst>
            <pc:docMk/>
            <pc:sldMk cId="1534521532" sldId="1423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4:23:01.647" v="16874"/>
          <ac:spMkLst>
            <pc:docMk/>
            <pc:sldMk cId="1534521532" sldId="1423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4:23:01.648" v="16876"/>
          <ac:spMkLst>
            <pc:docMk/>
            <pc:sldMk cId="1534521532" sldId="1423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4:23:01.652" v="16884"/>
          <ac:spMkLst>
            <pc:docMk/>
            <pc:sldMk cId="1534521532" sldId="1423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4:23:01.677" v="16936"/>
          <ac:spMkLst>
            <pc:docMk/>
            <pc:sldMk cId="1534521532" sldId="1423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4:23:01.656" v="16892"/>
          <ac:spMkLst>
            <pc:docMk/>
            <pc:sldMk cId="1534521532" sldId="1423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4:23:01.667" v="16914"/>
          <ac:spMkLst>
            <pc:docMk/>
            <pc:sldMk cId="1534521532" sldId="1423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4:23:01.669" v="16916"/>
          <ac:spMkLst>
            <pc:docMk/>
            <pc:sldMk cId="1534521532" sldId="1423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4:23:01.670" v="16918"/>
          <ac:spMkLst>
            <pc:docMk/>
            <pc:sldMk cId="1534521532" sldId="1423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4:23:01.670" v="16920"/>
          <ac:spMkLst>
            <pc:docMk/>
            <pc:sldMk cId="1534521532" sldId="1423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4:23:01.671" v="16922"/>
          <ac:spMkLst>
            <pc:docMk/>
            <pc:sldMk cId="1534521532" sldId="1423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4:23:01.672" v="16924"/>
          <ac:spMkLst>
            <pc:docMk/>
            <pc:sldMk cId="1534521532" sldId="1423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4:23:01.673" v="16928"/>
          <ac:spMkLst>
            <pc:docMk/>
            <pc:sldMk cId="1534521532" sldId="1423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4:23:01.674" v="16930"/>
          <ac:spMkLst>
            <pc:docMk/>
            <pc:sldMk cId="1534521532" sldId="1423"/>
            <ac:spMk id="42" creationId="{B5D8FFB3-E6A3-42FB-A328-4EF1E0D455B8}"/>
          </ac:spMkLst>
        </pc:spChg>
        <pc:spChg chg="mod ord topLvl">
          <ac:chgData name="Disselhoff, Tim" userId="3b8b5473-7050-4f60-8279-e72cc8538d43" providerId="ADAL" clId="{952E53DB-5978-46BA-964C-5B55B87B6690}" dt="2021-08-19T14:23:01.682" v="16945"/>
          <ac:spMkLst>
            <pc:docMk/>
            <pc:sldMk cId="1534521532" sldId="1423"/>
            <ac:spMk id="48" creationId="{931EBFD0-CF6F-404D-BF78-39FD17EBEA3D}"/>
          </ac:spMkLst>
        </pc:spChg>
        <pc:spChg chg="add mod ord">
          <ac:chgData name="Disselhoff, Tim" userId="3b8b5473-7050-4f60-8279-e72cc8538d43" providerId="ADAL" clId="{952E53DB-5978-46BA-964C-5B55B87B6690}" dt="2021-08-19T14:23:01.701" v="16991"/>
          <ac:spMkLst>
            <pc:docMk/>
            <pc:sldMk cId="1534521532" sldId="1423"/>
            <ac:spMk id="360" creationId="{7F4E4005-D4CD-4C6E-9D53-DA2CFB1751D0}"/>
          </ac:spMkLst>
        </pc:spChg>
        <pc:spChg chg="mod ord">
          <ac:chgData name="Disselhoff, Tim" userId="3b8b5473-7050-4f60-8279-e72cc8538d43" providerId="ADAL" clId="{952E53DB-5978-46BA-964C-5B55B87B6690}" dt="2021-08-19T14:23:01.631" v="16854"/>
          <ac:spMkLst>
            <pc:docMk/>
            <pc:sldMk cId="1534521532" sldId="1423"/>
            <ac:spMk id="361" creationId="{216FF5D1-F5EE-4B51-AD15-F796A02CE247}"/>
          </ac:spMkLst>
        </pc:spChg>
        <pc:spChg chg="mod ord topLvl">
          <ac:chgData name="Disselhoff, Tim" userId="3b8b5473-7050-4f60-8279-e72cc8538d43" providerId="ADAL" clId="{952E53DB-5978-46BA-964C-5B55B87B6690}" dt="2021-08-19T14:23:01.684" v="16951"/>
          <ac:spMkLst>
            <pc:docMk/>
            <pc:sldMk cId="1534521532" sldId="1423"/>
            <ac:spMk id="362" creationId="{752FC1DA-4C19-4013-9DF2-81DC1022D71A}"/>
          </ac:spMkLst>
        </pc:spChg>
        <pc:spChg chg="mod ord">
          <ac:chgData name="Disselhoff, Tim" userId="3b8b5473-7050-4f60-8279-e72cc8538d43" providerId="ADAL" clId="{952E53DB-5978-46BA-964C-5B55B87B6690}" dt="2021-08-19T14:23:01.696" v="16979"/>
          <ac:spMkLst>
            <pc:docMk/>
            <pc:sldMk cId="1534521532" sldId="1423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9T14:23:01.676" v="16934"/>
          <ac:spMkLst>
            <pc:docMk/>
            <pc:sldMk cId="1534521532" sldId="1423"/>
            <ac:spMk id="364" creationId="{B83EC4C5-B661-4674-8BE6-256C108497F2}"/>
          </ac:spMkLst>
        </pc:spChg>
        <pc:spChg chg="mod ord topLvl">
          <ac:chgData name="Disselhoff, Tim" userId="3b8b5473-7050-4f60-8279-e72cc8538d43" providerId="ADAL" clId="{952E53DB-5978-46BA-964C-5B55B87B6690}" dt="2021-08-19T14:23:01.683" v="16949"/>
          <ac:spMkLst>
            <pc:docMk/>
            <pc:sldMk cId="1534521532" sldId="1423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9T14:22:54.833" v="16852" actId="165"/>
          <ac:spMkLst>
            <pc:docMk/>
            <pc:sldMk cId="1534521532" sldId="1423"/>
            <ac:spMk id="378" creationId="{6911EA98-B3B2-4B3E-AD44-B6DC6A498943}"/>
          </ac:spMkLst>
        </pc:spChg>
        <pc:spChg chg="add mod ord">
          <ac:chgData name="Disselhoff, Tim" userId="3b8b5473-7050-4f60-8279-e72cc8538d43" providerId="ADAL" clId="{952E53DB-5978-46BA-964C-5B55B87B6690}" dt="2021-08-19T14:23:01.702" v="16993"/>
          <ac:spMkLst>
            <pc:docMk/>
            <pc:sldMk cId="1534521532" sldId="1423"/>
            <ac:spMk id="379" creationId="{EAD75343-B01A-4189-AFE6-9DB4CF95081D}"/>
          </ac:spMkLst>
        </pc:spChg>
        <pc:spChg chg="add mod ord">
          <ac:chgData name="Disselhoff, Tim" userId="3b8b5473-7050-4f60-8279-e72cc8538d43" providerId="ADAL" clId="{952E53DB-5978-46BA-964C-5B55B87B6690}" dt="2021-08-19T15:50:45.235" v="17471" actId="20577"/>
          <ac:spMkLst>
            <pc:docMk/>
            <pc:sldMk cId="1534521532" sldId="1423"/>
            <ac:spMk id="380" creationId="{610D3607-F537-4148-896C-8BE2C66B5956}"/>
          </ac:spMkLst>
        </pc:spChg>
        <pc:spChg chg="mod ord topLvl">
          <ac:chgData name="Disselhoff, Tim" userId="3b8b5473-7050-4f60-8279-e72cc8538d43" providerId="ADAL" clId="{952E53DB-5978-46BA-964C-5B55B87B6690}" dt="2021-08-19T14:23:01.679" v="16939"/>
          <ac:spMkLst>
            <pc:docMk/>
            <pc:sldMk cId="1534521532" sldId="1423"/>
            <ac:spMk id="381" creationId="{7DC4EEF1-204D-402D-B785-CDBCACCEBD4F}"/>
          </ac:spMkLst>
        </pc:spChg>
        <pc:spChg chg="mod ord topLvl">
          <ac:chgData name="Disselhoff, Tim" userId="3b8b5473-7050-4f60-8279-e72cc8538d43" providerId="ADAL" clId="{952E53DB-5978-46BA-964C-5B55B87B6690}" dt="2021-08-19T14:23:01.679" v="16941"/>
          <ac:spMkLst>
            <pc:docMk/>
            <pc:sldMk cId="1534521532" sldId="1423"/>
            <ac:spMk id="382" creationId="{38FFCDA8-F48A-49EF-AAFE-AE084AE6FAC1}"/>
          </ac:spMkLst>
        </pc:spChg>
        <pc:spChg chg="mod ord topLvl">
          <ac:chgData name="Disselhoff, Tim" userId="3b8b5473-7050-4f60-8279-e72cc8538d43" providerId="ADAL" clId="{952E53DB-5978-46BA-964C-5B55B87B6690}" dt="2021-08-19T14:23:01.680" v="16943"/>
          <ac:spMkLst>
            <pc:docMk/>
            <pc:sldMk cId="1534521532" sldId="1423"/>
            <ac:spMk id="383" creationId="{BA485D0D-A8E6-4FE5-9546-4DB3BC0BECB3}"/>
          </ac:spMkLst>
        </pc:spChg>
        <pc:spChg chg="mod ord topLvl">
          <ac:chgData name="Disselhoff, Tim" userId="3b8b5473-7050-4f60-8279-e72cc8538d43" providerId="ADAL" clId="{952E53DB-5978-46BA-964C-5B55B87B6690}" dt="2021-08-19T14:23:01.688" v="16963"/>
          <ac:spMkLst>
            <pc:docMk/>
            <pc:sldMk cId="1534521532" sldId="1423"/>
            <ac:spMk id="384" creationId="{9E62869D-6BAD-49C5-AB9B-3898E1044009}"/>
          </ac:spMkLst>
        </pc:spChg>
        <pc:spChg chg="mod ord topLvl">
          <ac:chgData name="Disselhoff, Tim" userId="3b8b5473-7050-4f60-8279-e72cc8538d43" providerId="ADAL" clId="{952E53DB-5978-46BA-964C-5B55B87B6690}" dt="2021-08-19T14:23:01.689" v="16965"/>
          <ac:spMkLst>
            <pc:docMk/>
            <pc:sldMk cId="1534521532" sldId="1423"/>
            <ac:spMk id="385" creationId="{2FEF2853-BD2C-4F66-A827-9F3A70E17A21}"/>
          </ac:spMkLst>
        </pc:spChg>
        <pc:spChg chg="mod ord topLvl">
          <ac:chgData name="Disselhoff, Tim" userId="3b8b5473-7050-4f60-8279-e72cc8538d43" providerId="ADAL" clId="{952E53DB-5978-46BA-964C-5B55B87B6690}" dt="2021-08-19T14:23:01.691" v="16967"/>
          <ac:spMkLst>
            <pc:docMk/>
            <pc:sldMk cId="1534521532" sldId="1423"/>
            <ac:spMk id="386" creationId="{FD3000A9-52BB-4F24-A2F7-DF30C8763CCB}"/>
          </ac:spMkLst>
        </pc:spChg>
        <pc:spChg chg="mod ord topLvl">
          <ac:chgData name="Disselhoff, Tim" userId="3b8b5473-7050-4f60-8279-e72cc8538d43" providerId="ADAL" clId="{952E53DB-5978-46BA-964C-5B55B87B6690}" dt="2021-08-19T14:23:01.692" v="16969"/>
          <ac:spMkLst>
            <pc:docMk/>
            <pc:sldMk cId="1534521532" sldId="1423"/>
            <ac:spMk id="387" creationId="{F22FFF5C-8571-4CFD-81A4-7B18B2AC66AB}"/>
          </ac:spMkLst>
        </pc:spChg>
        <pc:spChg chg="mod ord topLvl">
          <ac:chgData name="Disselhoff, Tim" userId="3b8b5473-7050-4f60-8279-e72cc8538d43" providerId="ADAL" clId="{952E53DB-5978-46BA-964C-5B55B87B6690}" dt="2021-08-19T14:23:01.694" v="16975"/>
          <ac:spMkLst>
            <pc:docMk/>
            <pc:sldMk cId="1534521532" sldId="1423"/>
            <ac:spMk id="388" creationId="{0A83D9C8-6D23-41C8-812A-6D6664EBA787}"/>
          </ac:spMkLst>
        </pc:spChg>
        <pc:spChg chg="mod ord topLvl">
          <ac:chgData name="Disselhoff, Tim" userId="3b8b5473-7050-4f60-8279-e72cc8538d43" providerId="ADAL" clId="{952E53DB-5978-46BA-964C-5B55B87B6690}" dt="2021-08-19T14:23:01.695" v="16977"/>
          <ac:spMkLst>
            <pc:docMk/>
            <pc:sldMk cId="1534521532" sldId="1423"/>
            <ac:spMk id="389" creationId="{2B44649A-B4E0-4013-A2D8-ADEE9FC2D0A6}"/>
          </ac:spMkLst>
        </pc:spChg>
        <pc:spChg chg="mod ord topLvl">
          <ac:chgData name="Disselhoff, Tim" userId="3b8b5473-7050-4f60-8279-e72cc8538d43" providerId="ADAL" clId="{952E53DB-5978-46BA-964C-5B55B87B6690}" dt="2021-08-19T14:23:01.693" v="16971"/>
          <ac:spMkLst>
            <pc:docMk/>
            <pc:sldMk cId="1534521532" sldId="1423"/>
            <ac:spMk id="390" creationId="{55C60B76-5103-42DC-83D7-36B18DAC247F}"/>
          </ac:spMkLst>
        </pc:spChg>
        <pc:spChg chg="mod ord">
          <ac:chgData name="Disselhoff, Tim" userId="3b8b5473-7050-4f60-8279-e72cc8538d43" providerId="ADAL" clId="{952E53DB-5978-46BA-964C-5B55B87B6690}" dt="2021-08-19T14:23:01.697" v="16981"/>
          <ac:spMkLst>
            <pc:docMk/>
            <pc:sldMk cId="1534521532" sldId="1423"/>
            <ac:spMk id="391" creationId="{E81565A6-186A-4412-9E42-5AE5F73B4AE2}"/>
          </ac:spMkLst>
        </pc:spChg>
        <pc:spChg chg="mod ord topLvl">
          <ac:chgData name="Disselhoff, Tim" userId="3b8b5473-7050-4f60-8279-e72cc8538d43" providerId="ADAL" clId="{952E53DB-5978-46BA-964C-5B55B87B6690}" dt="2021-08-19T14:23:01.684" v="16953"/>
          <ac:spMkLst>
            <pc:docMk/>
            <pc:sldMk cId="1534521532" sldId="1423"/>
            <ac:spMk id="392" creationId="{46D7C816-303C-44CE-922F-50BDB4035657}"/>
          </ac:spMkLst>
        </pc:spChg>
        <pc:spChg chg="mod ord">
          <ac:chgData name="Disselhoff, Tim" userId="3b8b5473-7050-4f60-8279-e72cc8538d43" providerId="ADAL" clId="{952E53DB-5978-46BA-964C-5B55B87B6690}" dt="2021-08-19T14:23:01.704" v="16999"/>
          <ac:spMkLst>
            <pc:docMk/>
            <pc:sldMk cId="1534521532" sldId="1423"/>
            <ac:spMk id="393" creationId="{14B04545-E8B6-4EB0-81FF-0ED0C695DA7A}"/>
          </ac:spMkLst>
        </pc:spChg>
        <pc:spChg chg="mod ord">
          <ac:chgData name="Disselhoff, Tim" userId="3b8b5473-7050-4f60-8279-e72cc8538d43" providerId="ADAL" clId="{952E53DB-5978-46BA-964C-5B55B87B6690}" dt="2021-08-19T14:23:01.698" v="16983"/>
          <ac:spMkLst>
            <pc:docMk/>
            <pc:sldMk cId="1534521532" sldId="1423"/>
            <ac:spMk id="394" creationId="{AE933118-328F-4F44-817D-02F486C92D5B}"/>
          </ac:spMkLst>
        </pc:spChg>
        <pc:spChg chg="mod ord">
          <ac:chgData name="Disselhoff, Tim" userId="3b8b5473-7050-4f60-8279-e72cc8538d43" providerId="ADAL" clId="{952E53DB-5978-46BA-964C-5B55B87B6690}" dt="2021-08-19T14:23:01.698" v="16985"/>
          <ac:spMkLst>
            <pc:docMk/>
            <pc:sldMk cId="1534521532" sldId="1423"/>
            <ac:spMk id="395" creationId="{B7C80E8D-2FB3-4967-8033-EA8E43D6FAC2}"/>
          </ac:spMkLst>
        </pc:spChg>
        <pc:spChg chg="mod ord">
          <ac:chgData name="Disselhoff, Tim" userId="3b8b5473-7050-4f60-8279-e72cc8538d43" providerId="ADAL" clId="{952E53DB-5978-46BA-964C-5B55B87B6690}" dt="2021-08-19T14:23:01.699" v="16987"/>
          <ac:spMkLst>
            <pc:docMk/>
            <pc:sldMk cId="1534521532" sldId="1423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4:23:01.700" v="16989"/>
          <ac:spMkLst>
            <pc:docMk/>
            <pc:sldMk cId="1534521532" sldId="1423"/>
            <ac:spMk id="397" creationId="{D319A06A-6DFE-4874-93D8-D67F460A2E63}"/>
          </ac:spMkLst>
        </pc:spChg>
        <pc:spChg chg="add mod">
          <ac:chgData name="Disselhoff, Tim" userId="3b8b5473-7050-4f60-8279-e72cc8538d43" providerId="ADAL" clId="{952E53DB-5978-46BA-964C-5B55B87B6690}" dt="2021-08-19T14:23:50.039" v="17029"/>
          <ac:spMkLst>
            <pc:docMk/>
            <pc:sldMk cId="1534521532" sldId="1423"/>
            <ac:spMk id="398" creationId="{12BEC56E-328A-48C0-AF8A-797E5D9B1D9B}"/>
          </ac:spMkLst>
        </pc:spChg>
        <pc:spChg chg="del mod">
          <ac:chgData name="Disselhoff, Tim" userId="3b8b5473-7050-4f60-8279-e72cc8538d43" providerId="ADAL" clId="{952E53DB-5978-46BA-964C-5B55B87B6690}" dt="2021-08-18T16:30:29.923" v="11450" actId="478"/>
          <ac:spMkLst>
            <pc:docMk/>
            <pc:sldMk cId="1534521532" sldId="1423"/>
            <ac:spMk id="398" creationId="{52D85AE1-EDC3-40E4-AC3C-110866765E63}"/>
          </ac:spMkLst>
        </pc:spChg>
        <pc:spChg chg="mod ord topLvl">
          <ac:chgData name="Disselhoff, Tim" userId="3b8b5473-7050-4f60-8279-e72cc8538d43" providerId="ADAL" clId="{952E53DB-5978-46BA-964C-5B55B87B6690}" dt="2021-08-19T14:23:01.685" v="16955"/>
          <ac:spMkLst>
            <pc:docMk/>
            <pc:sldMk cId="1534521532" sldId="1423"/>
            <ac:spMk id="399" creationId="{29F8AE9E-5F8A-48B7-99FC-48283AEB4DE3}"/>
          </ac:spMkLst>
        </pc:spChg>
        <pc:spChg chg="del mod">
          <ac:chgData name="Disselhoff, Tim" userId="3b8b5473-7050-4f60-8279-e72cc8538d43" providerId="ADAL" clId="{952E53DB-5978-46BA-964C-5B55B87B6690}" dt="2021-08-18T16:30:29.358" v="11449" actId="478"/>
          <ac:spMkLst>
            <pc:docMk/>
            <pc:sldMk cId="1534521532" sldId="1423"/>
            <ac:spMk id="400" creationId="{01A608C0-2FE5-476A-BE6E-C00B66C8075C}"/>
          </ac:spMkLst>
        </pc:spChg>
        <pc:spChg chg="add mod">
          <ac:chgData name="Disselhoff, Tim" userId="3b8b5473-7050-4f60-8279-e72cc8538d43" providerId="ADAL" clId="{952E53DB-5978-46BA-964C-5B55B87B6690}" dt="2021-08-19T14:23:50.039" v="17029"/>
          <ac:spMkLst>
            <pc:docMk/>
            <pc:sldMk cId="1534521532" sldId="1423"/>
            <ac:spMk id="400" creationId="{CC8C448D-ED24-48D5-91B3-A50306462C49}"/>
          </ac:spMkLst>
        </pc:spChg>
        <pc:spChg chg="mod ord topLvl">
          <ac:chgData name="Disselhoff, Tim" userId="3b8b5473-7050-4f60-8279-e72cc8538d43" providerId="ADAL" clId="{952E53DB-5978-46BA-964C-5B55B87B6690}" dt="2021-08-19T14:23:01.687" v="16957"/>
          <ac:spMkLst>
            <pc:docMk/>
            <pc:sldMk cId="1534521532" sldId="1423"/>
            <ac:spMk id="402" creationId="{D45B3FE9-1E70-4A86-BEF9-3593EB8AF8A2}"/>
          </ac:spMkLst>
        </pc:spChg>
        <pc:spChg chg="mod ord topLvl">
          <ac:chgData name="Disselhoff, Tim" userId="3b8b5473-7050-4f60-8279-e72cc8538d43" providerId="ADAL" clId="{952E53DB-5978-46BA-964C-5B55B87B6690}" dt="2021-08-19T14:23:01.688" v="16959"/>
          <ac:spMkLst>
            <pc:docMk/>
            <pc:sldMk cId="1534521532" sldId="1423"/>
            <ac:spMk id="404" creationId="{460B3AA4-CC09-446E-8C13-6BF2772144D3}"/>
          </ac:spMkLst>
        </pc:spChg>
        <pc:spChg chg="mod ord topLvl">
          <ac:chgData name="Disselhoff, Tim" userId="3b8b5473-7050-4f60-8279-e72cc8538d43" providerId="ADAL" clId="{952E53DB-5978-46BA-964C-5B55B87B6690}" dt="2021-08-19T14:23:01.704" v="16997"/>
          <ac:spMkLst>
            <pc:docMk/>
            <pc:sldMk cId="1534521532" sldId="1423"/>
            <ac:spMk id="405" creationId="{6D6A43E9-171A-4B5F-B5C6-AF90CD441EA7}"/>
          </ac:spMkLst>
        </pc:spChg>
        <pc:spChg chg="mod ord topLvl">
          <ac:chgData name="Disselhoff, Tim" userId="3b8b5473-7050-4f60-8279-e72cc8538d43" providerId="ADAL" clId="{952E53DB-5978-46BA-964C-5B55B87B6690}" dt="2021-08-19T14:23:01.688" v="16961"/>
          <ac:spMkLst>
            <pc:docMk/>
            <pc:sldMk cId="1534521532" sldId="1423"/>
            <ac:spMk id="407" creationId="{4E05ACF2-3E18-44AB-B06F-CB6B4CEC3412}"/>
          </ac:spMkLst>
        </pc:spChg>
        <pc:spChg chg="mod ord topLvl">
          <ac:chgData name="Disselhoff, Tim" userId="3b8b5473-7050-4f60-8279-e72cc8538d43" providerId="ADAL" clId="{952E53DB-5978-46BA-964C-5B55B87B6690}" dt="2021-08-19T14:23:01.693" v="16973"/>
          <ac:spMkLst>
            <pc:docMk/>
            <pc:sldMk cId="1534521532" sldId="1423"/>
            <ac:spMk id="412" creationId="{58AD9DD5-9FF5-49B7-910B-EC9F75F19A6F}"/>
          </ac:spMkLst>
        </pc:spChg>
        <pc:grpChg chg="del mod ord">
          <ac:chgData name="Disselhoff, Tim" userId="3b8b5473-7050-4f60-8279-e72cc8538d43" providerId="ADAL" clId="{952E53DB-5978-46BA-964C-5B55B87B6690}" dt="2021-08-19T14:22:54.833" v="16852" actId="165"/>
          <ac:grpSpMkLst>
            <pc:docMk/>
            <pc:sldMk cId="1534521532" sldId="1423"/>
            <ac:grpSpMk id="6" creationId="{C267B38D-B3F6-4816-92DD-3857B6E9F186}"/>
          </ac:grpSpMkLst>
        </pc:grpChg>
        <pc:grpChg chg="mod ord">
          <ac:chgData name="Disselhoff, Tim" userId="3b8b5473-7050-4f60-8279-e72cc8538d43" providerId="ADAL" clId="{952E53DB-5978-46BA-964C-5B55B87B6690}" dt="2021-08-19T14:23:01.643" v="16866"/>
          <ac:grpSpMkLst>
            <pc:docMk/>
            <pc:sldMk cId="1534521532" sldId="1423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4:23:01.644" v="16868"/>
          <ac:grpSpMkLst>
            <pc:docMk/>
            <pc:sldMk cId="1534521532" sldId="1423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4:23:01.645" v="16870"/>
          <ac:grpSpMkLst>
            <pc:docMk/>
            <pc:sldMk cId="1534521532" sldId="1423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4:23:01.649" v="16878"/>
          <ac:grpSpMkLst>
            <pc:docMk/>
            <pc:sldMk cId="1534521532" sldId="1423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4:23:01.650" v="16880"/>
          <ac:grpSpMkLst>
            <pc:docMk/>
            <pc:sldMk cId="1534521532" sldId="1423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4:23:01.651" v="16882"/>
          <ac:grpSpMkLst>
            <pc:docMk/>
            <pc:sldMk cId="1534521532" sldId="1423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4:23:01.653" v="16886"/>
          <ac:grpSpMkLst>
            <pc:docMk/>
            <pc:sldMk cId="1534521532" sldId="1423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4:23:01.654" v="16888"/>
          <ac:grpSpMkLst>
            <pc:docMk/>
            <pc:sldMk cId="1534521532" sldId="1423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4:23:01.656" v="16890"/>
          <ac:grpSpMkLst>
            <pc:docMk/>
            <pc:sldMk cId="1534521532" sldId="1423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4:23:01.679" v="16937"/>
          <ac:grpSpMkLst>
            <pc:docMk/>
            <pc:sldMk cId="1534521532" sldId="1423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4:23:01.673" v="16926"/>
          <ac:grpSpMkLst>
            <pc:docMk/>
            <pc:sldMk cId="1534521532" sldId="1423"/>
            <ac:grpSpMk id="40" creationId="{37AB0EBD-FC68-47BC-BCDE-00708884834E}"/>
          </ac:grpSpMkLst>
        </pc:grpChg>
        <pc:grpChg chg="mod ord topLvl">
          <ac:chgData name="Disselhoff, Tim" userId="3b8b5473-7050-4f60-8279-e72cc8538d43" providerId="ADAL" clId="{952E53DB-5978-46BA-964C-5B55B87B6690}" dt="2021-08-19T14:23:01.683" v="16947"/>
          <ac:grpSpMkLst>
            <pc:docMk/>
            <pc:sldMk cId="1534521532" sldId="1423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4:23:49.884" v="17028"/>
          <ac:graphicFrameMkLst>
            <pc:docMk/>
            <pc:sldMk cId="1534521532" sldId="1423"/>
            <ac:graphicFrameMk id="365" creationId="{E60950EF-D161-4F96-83E4-B88E961AACA8}"/>
          </ac:graphicFrameMkLst>
        </pc:graphicFrameChg>
        <pc:cxnChg chg="mod ord">
          <ac:chgData name="Disselhoff, Tim" userId="3b8b5473-7050-4f60-8279-e72cc8538d43" providerId="ADAL" clId="{952E53DB-5978-46BA-964C-5B55B87B6690}" dt="2021-08-19T14:23:01.658" v="16894"/>
          <ac:cxnSpMkLst>
            <pc:docMk/>
            <pc:sldMk cId="1534521532" sldId="1423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4:23:01.658" v="16896"/>
          <ac:cxnSpMkLst>
            <pc:docMk/>
            <pc:sldMk cId="1534521532" sldId="1423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4:23:01.659" v="16898"/>
          <ac:cxnSpMkLst>
            <pc:docMk/>
            <pc:sldMk cId="1534521532" sldId="1423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4:23:01.660" v="16900"/>
          <ac:cxnSpMkLst>
            <pc:docMk/>
            <pc:sldMk cId="1534521532" sldId="1423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4:23:01.661" v="16902"/>
          <ac:cxnSpMkLst>
            <pc:docMk/>
            <pc:sldMk cId="1534521532" sldId="1423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4:23:01.662" v="16904"/>
          <ac:cxnSpMkLst>
            <pc:docMk/>
            <pc:sldMk cId="1534521532" sldId="1423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4:23:01.664" v="16906"/>
          <ac:cxnSpMkLst>
            <pc:docMk/>
            <pc:sldMk cId="1534521532" sldId="1423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4:23:01.665" v="16908"/>
          <ac:cxnSpMkLst>
            <pc:docMk/>
            <pc:sldMk cId="1534521532" sldId="1423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4:23:01.667" v="16910"/>
          <ac:cxnSpMkLst>
            <pc:docMk/>
            <pc:sldMk cId="1534521532" sldId="1423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4:23:01.667" v="16912"/>
          <ac:cxnSpMkLst>
            <pc:docMk/>
            <pc:sldMk cId="1534521532" sldId="1423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4:23:01.675" v="16932"/>
          <ac:cxnSpMkLst>
            <pc:docMk/>
            <pc:sldMk cId="1534521532" sldId="1423"/>
            <ac:cxnSpMk id="43" creationId="{1AC0A2C5-4B94-40F9-88E2-D3C10215517A}"/>
          </ac:cxnSpMkLst>
        </pc:cxnChg>
      </pc:sldChg>
      <pc:sldChg chg="addSp delSp modSp add mod ord addCm delCm">
        <pc:chgData name="Disselhoff, Tim" userId="3b8b5473-7050-4f60-8279-e72cc8538d43" providerId="ADAL" clId="{952E53DB-5978-46BA-964C-5B55B87B6690}" dt="2021-08-19T12:20:33.392" v="13589" actId="1592"/>
        <pc:sldMkLst>
          <pc:docMk/>
          <pc:sldMk cId="2535685321" sldId="1424"/>
        </pc:sldMkLst>
        <pc:spChg chg="mod">
          <ac:chgData name="Disselhoff, Tim" userId="3b8b5473-7050-4f60-8279-e72cc8538d43" providerId="ADAL" clId="{952E53DB-5978-46BA-964C-5B55B87B6690}" dt="2021-08-19T12:19:57.296" v="13545" actId="20577"/>
          <ac:spMkLst>
            <pc:docMk/>
            <pc:sldMk cId="2535685321" sldId="1424"/>
            <ac:spMk id="2" creationId="{78D159F1-0A23-447B-BF2D-08A04305ACFA}"/>
          </ac:spMkLst>
        </pc:spChg>
        <pc:spChg chg="mod">
          <ac:chgData name="Disselhoff, Tim" userId="3b8b5473-7050-4f60-8279-e72cc8538d43" providerId="ADAL" clId="{952E53DB-5978-46BA-964C-5B55B87B6690}" dt="2021-08-19T12:20:08.953" v="13547" actId="948"/>
          <ac:spMkLst>
            <pc:docMk/>
            <pc:sldMk cId="2535685321" sldId="1424"/>
            <ac:spMk id="3" creationId="{2FDD4A1F-9D2E-4B37-BAC5-03B407488B8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7" creationId="{1145D328-0F27-4F7A-A962-22E5F65A098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" creationId="{D686AADE-66A6-4E7C-AF09-3A863BA83F0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" creationId="{ACBEA92A-3262-492F-9F9B-3CB34A403D6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" creationId="{7A410961-94F8-4E29-B29C-A7E48CF17FB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" creationId="{895CDFC1-9706-43CB-9B2F-9F9EEAE2B5A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" creationId="{E0B4C474-5E86-4BB7-8B56-55F06BD89B6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" creationId="{99709D34-AD93-49B2-8356-C74C011A224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" creationId="{0CE05C00-EAF0-42F8-9758-BD26C1DE859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6" creationId="{DD6F869B-4C4E-490E-BCC7-3A2F961C426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7" creationId="{115917A3-F8B5-4C86-B38A-A646A98E997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8" creationId="{9944332D-638D-4574-A2AD-76ABCAD5E4C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9" creationId="{5CB61C07-8803-4F43-8D15-C878A5EC9B8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41" creationId="{8D95D1C6-20B9-4408-8B83-103C8C7CF7D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42" creationId="{B5D8FFB3-E6A3-42FB-A328-4EF1E0D455B8}"/>
          </ac:spMkLst>
        </pc:spChg>
        <pc:spChg chg="add del mod modVis">
          <ac:chgData name="Disselhoff, Tim" userId="3b8b5473-7050-4f60-8279-e72cc8538d43" providerId="ADAL" clId="{952E53DB-5978-46BA-964C-5B55B87B6690}" dt="2021-08-19T12:20:09.041" v="13586"/>
          <ac:spMkLst>
            <pc:docMk/>
            <pc:sldMk cId="2535685321" sldId="1424"/>
            <ac:spMk id="44" creationId="{9695169E-C775-4A0D-BD22-D893FF216AC5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48" creationId="{931EBFD0-CF6F-404D-BF78-39FD17EBEA3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94" creationId="{7749BD14-692C-4FE1-B204-CB26CDA66E4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97" creationId="{85535ED3-61EB-4C87-97D3-7CEF93E2FC9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98" creationId="{2173BCE3-4FDC-4C33-B45C-071DB5FEE17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99" creationId="{95D6B551-F10C-4DFB-A9BA-788DBB43E96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0" creationId="{C1BE7907-2A32-4B97-AF59-4EB802FE7FD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1" creationId="{BC4FCD9D-FD6A-45EE-9090-AA7A077D0EC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2" creationId="{F9FC242C-065A-4CEB-A859-EF8264F26E0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3" creationId="{B46D82EA-C4FA-409B-BFC0-69D8A6A2EB2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4" creationId="{3EFCB747-B7D8-4363-BB3D-035A1C15440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5" creationId="{F4067F62-F1A0-46D2-8722-AD920E2E727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6" creationId="{49C0F0E4-1627-40D9-BA04-6D90EAFC0A8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7" creationId="{9BC955B6-B573-4B8D-86DF-8412CD9261D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8" creationId="{A72213D2-7304-4A88-B388-E328CAD1BEB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09" creationId="{F7EFA03C-E2C7-4D0B-B2D7-B884F953D26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0" creationId="{BF7336ED-3150-4706-82B8-59F3DCC4F8D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1" creationId="{21B023D4-7440-4A5C-B083-B7A0C5393CB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2" creationId="{894B1B8B-BA23-4CCB-85DD-2AABEDBADC4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3" creationId="{BD43A453-5378-4988-8F05-90EABC4F3C7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4" creationId="{C7A2776F-2C87-447B-9101-7DFAEC9F4BB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5" creationId="{56871B60-2A80-41C9-8B67-01D261B9B30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8" creationId="{34590D70-EE6A-42D8-AAAB-4193A44588B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19" creationId="{AE50CA02-5A99-4E1B-BB1C-3D1EF053A91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0" creationId="{E701A9EA-3A66-4579-A872-ECB6E9D9AFC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1" creationId="{67B90788-9928-4F7A-A306-974BE002002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2" creationId="{BF8F54D9-49A4-4FC9-8510-026902A743E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3" creationId="{AB70A77D-2024-4B32-97A6-9998E125B4F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4" creationId="{08DD050C-04DE-4749-BA59-703A1F61663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5" creationId="{396F87BC-91BF-42AD-BD30-71DCE5553C8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6" creationId="{F9CCE71D-90A0-4129-8E23-0D9ACE368AF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7" creationId="{E45BB45A-A965-4461-8BF3-2427E34DFA4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8" creationId="{91AAE5F0-BA9F-4259-B39C-F6C0F4227E8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29" creationId="{BDCAC196-1B90-4FBC-9BE6-AA57A5580A1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0" creationId="{94598471-BAD7-407A-BAE4-05401CA9448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1" creationId="{93A6457C-D2C6-44FE-AB37-DFAEF94439F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2" creationId="{F1690D64-BEA6-4AA8-AC05-86AB89CF0F1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3" creationId="{1C482038-49F4-44F5-BCFB-C66567EEA23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4" creationId="{7B662F96-F3A9-4841-AC68-D6C38224E6C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5" creationId="{B02273CB-4277-4761-BE60-2ED3EE18421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38" creationId="{AE463138-5739-496D-81C3-D002B94719D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1" creationId="{2B455008-B9BA-4162-89A6-37ED628D636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2" creationId="{A0CB229C-6ADB-44DE-AB7B-B87AD4F4DDC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3" creationId="{99B92B75-D257-47B8-AA67-C6CE76FAB63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4" creationId="{DD85DC6F-0CED-4373-8986-30D823C2081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5" creationId="{2A6584DA-1724-42D8-B362-749849A8CFF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6" creationId="{904190A9-7109-42B8-B794-C7589F6883B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7" creationId="{8BC09492-DA0C-406B-8A94-51964E4F332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8" creationId="{4D1EB64F-3A85-41B7-AD81-0BFF80097CD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49" creationId="{C9B6D151-5AC9-4E20-A1ED-32EAD78BACD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0" creationId="{B2084F1F-D139-425D-AD5C-7AEF34E175D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1" creationId="{924A7C37-124A-4A0C-9050-6D405458A84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2" creationId="{7413B115-9516-4EA1-A9FE-CB6C0D80BFE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3" creationId="{3AAE0CC1-11A8-4FD8-BA8D-CA73C6D345F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4" creationId="{C61818E7-BED0-4F6B-8087-F281DAC3793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5" creationId="{D15932E2-10E4-4EF5-870A-540FB29575C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6" creationId="{BAA4DD20-6AED-4135-A24A-AD94A46CA84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7" creationId="{5669E217-1AFA-4467-BFC8-386CABE1608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8" creationId="{FDDA1138-EE40-4932-801B-3505A99686B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59" creationId="{14BB09BA-EAA6-4C72-B221-0950FC4FB6D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2" creationId="{363FE1EC-3194-4613-BB5A-1BF98559918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3" creationId="{EEFE7B7B-F4F6-4A4C-90C7-D68840C9AC2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4" creationId="{3D6D805E-54C2-4C97-AADA-E9B0F58FB51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5" creationId="{D21DD822-33E6-466C-9815-BD32B87A430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6" creationId="{6D8B3619-11FD-4BB7-B0B7-7969CF07C8E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7" creationId="{54A01531-0955-4016-AF9C-94B5A29CFF6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8" creationId="{9ADE7672-D8FA-44B5-BB27-2674212198D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69" creationId="{259ECD59-BE15-4914-B789-34329741A7B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0" creationId="{20BB36F9-B6E8-4F30-89D0-1DB5EAE23F8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1" creationId="{62456BCB-8F28-447E-90F9-D8AC848DC01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2" creationId="{41E9DBEA-9895-43D8-BC5F-8C5BA51D8B5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3" creationId="{CDCAD6DC-62D5-439F-9891-D07CFD35295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4" creationId="{AB0D67AD-5666-48E5-B91C-DC9E28CB586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5" creationId="{78D6A7A4-BC84-40CF-893E-4F9505D274E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6" creationId="{73EEC402-F397-4009-8473-5240CCC353C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7" creationId="{05F6B419-5F5D-4FDC-8EB1-0DF10ED46DD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8" creationId="{617DC6B9-6942-4EE2-9A63-48FACEB7D86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79" creationId="{0CCF2E5D-6610-44F3-83A2-CB539C13610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0" creationId="{F30DAFF8-DF24-4CC6-862D-56085870AF0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3" creationId="{44D48579-F0DA-40F3-B9AB-6622EC8CCD8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4" creationId="{59E1BAD7-4299-4334-BB8F-A3CECA212A3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5" creationId="{6031C0F2-DD3A-4125-B5C1-E52C21FAC1C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6" creationId="{2F06DAF7-AD72-48CE-B4F7-C90FC2EE49D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7" creationId="{44F56B4B-9770-4944-A4D8-84BD83325C9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8" creationId="{86E6A151-6C20-4EC1-9D51-32CB7C39F7A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89" creationId="{1D5FA383-0A20-4C75-A44B-4DF479C6A1B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0" creationId="{4B98C931-334F-40E2-8488-13A0373AEBF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1" creationId="{D0B15C4C-6397-439F-9139-417261F4EDE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2" creationId="{C5303842-D418-4B64-BF06-9F81A9C541F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3" creationId="{2C7836DE-FE2F-4D3F-A53B-6DEA44887D4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4" creationId="{1C2A58E6-426F-424E-BDA1-40F8F769A61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5" creationId="{9F98AFE6-8F66-42F7-9D60-274C8A044E6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6" creationId="{1D64477E-57DA-499F-A3E9-40D2964E906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7" creationId="{239903F7-4F39-4A1B-BC08-4D8D1586835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8" creationId="{0A4EFE9E-627C-44FA-9A35-7E3DA25996A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199" creationId="{AE549482-B8E7-4B19-9EB3-2378AB20450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0" creationId="{EE6C0E54-09DC-4BC0-8B42-76D74C02944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1" creationId="{74F1F295-6451-4D8C-ACFE-3DED9CCA486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4" creationId="{EA58C5DE-9D67-46C0-A0ED-CC33080D8CC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5" creationId="{16D2EC95-E7B7-40DE-BD0D-2A069F4A053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6" creationId="{CB69B33E-8D40-46ED-9AFB-160167962FB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7" creationId="{82EE5733-1DC7-47C0-8546-B1AF0F69667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8" creationId="{B5243C77-12F9-45CA-9C93-C529A6D80EA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09" creationId="{48934C4C-E61B-4AEF-80D0-2EBEB660C2B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0" creationId="{B49DA630-0DEE-46CF-B1DF-CB96B63A7B3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1" creationId="{4913F365-19CA-463D-A4EE-DE2DD323834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2" creationId="{5526D7FA-3065-4B0A-A4D7-CFA5336AF56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3" creationId="{32DC1262-1F0A-44CA-9880-69F951C6F3A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4" creationId="{7BB28F55-9A41-43D6-812B-67F38B84B37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5" creationId="{125F94E2-E113-468B-BA5B-C905723E04F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6" creationId="{35850A50-942F-4597-85DE-6ECA4CBFB55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7" creationId="{129A7DC0-9E9B-4252-AD6D-B07331A3D2C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8" creationId="{0777627F-CEED-4F81-A922-3C84400E3E6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19" creationId="{D93AD2DF-FAC8-4AEF-AA00-D69B9248A77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0" creationId="{F24AE501-4F6B-4EA9-9B90-13826A47771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1" creationId="{B3EC0043-5837-4154-8945-A51C07610CA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2" creationId="{FAC35BDA-C607-49A5-B69B-C9222C102AB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5" creationId="{5F2ED505-D2DE-424F-8649-0023FE73476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6" creationId="{28FBCB7D-9D6E-4E23-BA71-E1FA0D32A73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7" creationId="{06E3655D-04E5-4443-A4AD-35ED96FF293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8" creationId="{B97AF97E-ABA5-447B-9B2C-0E5EB489B4E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29" creationId="{8F410454-B477-4174-8C69-0D14AA4FA0C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0" creationId="{0826EA5A-19CE-4548-8F57-467B79DF2EF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1" creationId="{A82A7994-DE7A-4938-9E4D-EAE939DE094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2" creationId="{0D29DC1E-923F-4918-97E4-951EE0EB60D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3" creationId="{BF86169B-FFE3-440E-AC59-8F598742FFF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4" creationId="{428F29FF-BBA3-4152-A490-4F6DAEADA98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5" creationId="{B0512254-43D7-40D5-BF1F-38B6F71F868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6" creationId="{D2DA3A35-270F-4CCE-BB80-686BD373316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7" creationId="{977EC5F8-3770-422A-A7FB-F75BB2CC410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8" creationId="{D8E87B50-532F-4236-8B11-65DFF11C6BA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39" creationId="{5F528908-CDF2-40C8-923E-C4B5E4EFF92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0" creationId="{EB633BB9-0ED8-4E6E-AEEC-18E390D45AD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1" creationId="{72E28AB9-8DA8-49F5-B9E4-B8A15184572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2" creationId="{A8981564-426B-4168-A565-A30FEFFCB65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3" creationId="{C68A0773-46D8-4147-B68C-4F2015F27BE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6" creationId="{7CEC4E5C-803A-4EC3-B54E-0575379E722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7" creationId="{FCA3AF92-0444-4767-91CA-18F43B8553F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8" creationId="{172BFFE6-66C8-4E46-99EB-05AC59480EC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49" creationId="{F2B711D3-BA23-4330-A5A4-3E899C7A792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0" creationId="{E7019F60-4BC4-4932-81A9-28A545A7373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1" creationId="{60FD6F88-53C2-415C-A028-60D39A01D06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2" creationId="{D96DDFD3-B76C-405B-B639-DE776CEAB8B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3" creationId="{D393D420-7AC0-4068-A675-E1E25C9AE2E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4" creationId="{429F3596-0D6A-4B57-B527-0E68FD88203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5" creationId="{1A8AA60F-6018-4437-BA67-A8F5090C43D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6" creationId="{0E804998-234F-4EA9-A675-8B715537155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7" creationId="{1925DACD-8015-4607-96A7-8146567EA33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8" creationId="{18DD1813-4DA0-473C-9754-74B8DDC91AF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59" creationId="{F64183AB-7FCC-423A-ACA8-61B03405D4D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0" creationId="{88A23712-6AA9-4ECE-9175-EC1A6B1EE5A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1" creationId="{4A26AF7F-6750-4427-9349-3FD2994ECDB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2" creationId="{D646EE59-0CF4-4428-AD83-27822A451A8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3" creationId="{90CCB0B9-F41F-4AD3-89EF-6C3F5B0B5D8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4" creationId="{F9126B0A-B3B2-4D06-8A77-E75714AB282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7" creationId="{ED9D659D-99C0-46FC-BBFB-75EE1C568A1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8" creationId="{ABA3781D-17E5-4C24-9BE9-6C068169647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69" creationId="{2EF73E0A-5B7A-4F48-8CEB-3B8B46CE993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0" creationId="{9CE6E499-616A-4EC5-BCEB-68AB025D4C6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1" creationId="{E786E6B6-1D40-4DFB-829C-088C12E4988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2" creationId="{12FBE122-B3E3-4039-A083-0371C68E3BD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3" creationId="{DF4C2245-893F-4062-83D8-0FB4868707C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4" creationId="{D370D2E0-0995-45E6-ACFE-663E7FA544A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5" creationId="{97E03C37-BA0C-434E-962A-C5D4A783A95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6" creationId="{AE8A3A23-6032-4E2D-930F-E7EED4E5C2B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7" creationId="{F7DED7F5-D7A5-49D2-9EDD-DB00F528484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8" creationId="{7D288892-4204-4800-9A11-9E35EB1A3D2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79" creationId="{1AD0CEA2-3FB4-4B8D-B940-6A258A90C48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0" creationId="{8C738806-211E-4614-A81B-EB259517A61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1" creationId="{D51B184C-DD45-4C99-993C-2883366E3F5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2" creationId="{7EB65D72-60F4-4DB2-8E13-8A5885EC014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3" creationId="{D7F601B9-AE17-4090-AE52-21CE218E2183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4" creationId="{3DD060F3-E1AB-4763-942B-632545D1D43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5" creationId="{43CFAD05-D64C-4411-82DA-0E72CEC37BB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8" creationId="{05E1CBDC-3049-4BC5-BD4D-CA08F694BCA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89" creationId="{557E4078-8DB1-4972-A8B0-2F894C2C903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0" creationId="{3D729086-323D-4CE3-A1B5-1DCE157FEF0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1" creationId="{38B14DE8-9DCC-406E-9A98-46DAC40C2EF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2" creationId="{EC59D072-92B5-4288-BACC-E0EF07EC7B6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3" creationId="{16150DCD-C77A-44ED-B47A-84C95DEE9DA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4" creationId="{94912203-D7B9-4F0C-89AE-1D3D7C6EF1F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5" creationId="{FF374C5C-5478-408E-B263-110F988784A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6" creationId="{98F2FC4E-2217-43C3-A229-8924ADC3353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7" creationId="{62D20C78-834B-462F-BAA3-D1B4EB2F33A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8" creationId="{B92B56F3-1C77-4D4E-92A0-5BFC06A954E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299" creationId="{44B26386-077D-4C11-BB37-F24A1C56B08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0" creationId="{A81A3E47-1D69-4A13-8A0A-93B5A932100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1" creationId="{28ED6D5D-C070-4E3E-8CC2-2073BA55FFB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2" creationId="{DE549091-2C30-4AC5-93AE-261B87D68B2D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3" creationId="{90930206-6FEC-4FD4-9C52-3455DD1F4CD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4" creationId="{1E68EA90-ED01-49F1-B286-51ED64BE4FC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5" creationId="{95EF0684-1674-4E47-A758-F90BC33A4914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08" creationId="{E269F92E-E908-4FE2-9E34-9800E67FE2C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1" creationId="{871D5881-E708-4052-B876-9B709BC2E47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2" creationId="{1DE20C1E-06A5-4A19-B0D6-4370CCB1AE5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3" creationId="{94CA5EAD-BDAD-41C8-A1B8-06957A4FDF3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4" creationId="{49BE8B7B-E76C-4BC7-818F-80CF905F4D5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5" creationId="{84B4AC8A-9862-4AA5-981C-52A52CE942A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6" creationId="{C68D6E5C-084C-4A43-9A03-CBE0B45243D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7" creationId="{50971EEF-3E57-44E4-B901-4F3CB0DC3CD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8" creationId="{464DA020-EA1B-40E9-A1B2-6BDFF412BCB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19" creationId="{13B00F47-F943-448E-8B47-0A12CA472ED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0" creationId="{86E45F8C-5723-492A-98AD-70D07432C36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1" creationId="{F3F6B270-5DEC-44E1-A46B-ABACBECFD0A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2" creationId="{B188DA2F-AB75-4010-8E46-8A7D32C53D1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3" creationId="{00AFBCBF-1C91-4478-BC83-C736B633923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4" creationId="{AA72D2EA-C57F-4999-A87B-F35DD5EC5A3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5" creationId="{13263BFB-7B6B-4FF1-A9E3-3AD002B2145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6" creationId="{E89F5BA9-A19C-4EEC-94B5-EC63347E207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7" creationId="{A1EB0A1E-9052-405B-AA16-DC7FEA23DEA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8" creationId="{AEDB19FB-CA19-4B64-A2EE-52083D919D71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29" creationId="{30BB4086-5A71-48FF-8ADE-34C52430DA9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2" creationId="{C38A7AE0-35FD-4746-89F7-C04CC6BB394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3" creationId="{D2076FB3-D03A-4B07-BE6D-73FFCD35C99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4" creationId="{0920DEBB-8A43-4EE9-A7E8-45185CA4E0C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5" creationId="{060F7C6C-D603-404E-A011-D790A1FFAB7A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6" creationId="{5017EA70-D09B-42AF-8F05-1E6043B9BFB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7" creationId="{ABB481F5-6482-49E1-9173-3D467D49C52B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8" creationId="{4EF5D306-4E5B-4FAC-BD1C-DA73E429139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39" creationId="{60538834-60D1-4B3A-85E9-88A3200FAB0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0" creationId="{1DF0BB94-CB46-49B3-BF4B-545EFBFB4FC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1" creationId="{201477A6-386D-4EF1-AEE7-D1B8F8EBB23C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2" creationId="{9BA77809-DEDD-446C-92AD-D6D4C8A951F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3" creationId="{E6522FF3-A37E-449E-A754-FCBD4441C84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4" creationId="{2953E4DF-4511-44F6-B862-D4C97EA2FAF6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5" creationId="{F62AB3EC-5C94-4E03-8E28-189ED022211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6" creationId="{8C75E997-0262-4932-A080-50144BBA948F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7" creationId="{3ECF79EF-7DF0-4D7C-88CA-094C0348F7B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8" creationId="{754190F0-F131-459F-BDF0-A0B4735CC602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49" creationId="{5D15F54F-B839-45FE-8664-5D55D39D7BD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0" creationId="{F39573C9-F7A5-49FC-A9D2-82FE734101AE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1" creationId="{C3CEC323-293D-4A3B-A41B-A875E2A8458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2" creationId="{7F643D42-333E-4294-A796-365DA3A3B427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3" creationId="{B67927C1-17A0-497C-8E80-71273FE5CB2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4" creationId="{F8F5FEE9-0B3A-433A-8143-8E8B2B3FEFC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5" creationId="{801E3919-1ACE-4D32-A4CA-5199DA505058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6" creationId="{5CF413E2-152A-4767-A7E6-2819D4514B85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7" creationId="{F07F0261-EBA3-43A6-9830-5FC74F488140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8" creationId="{7B614370-DB77-4BD1-8B0C-49927A54BAC9}"/>
          </ac:spMkLst>
        </pc:spChg>
        <pc:spChg chg="mod">
          <ac:chgData name="Disselhoff, Tim" userId="3b8b5473-7050-4f60-8279-e72cc8538d43" providerId="ADAL" clId="{952E53DB-5978-46BA-964C-5B55B87B6690}" dt="2021-08-19T08:33:30.448" v="13019"/>
          <ac:spMkLst>
            <pc:docMk/>
            <pc:sldMk cId="2535685321" sldId="1424"/>
            <ac:spMk id="359" creationId="{0D1D795A-FA8E-4A36-9545-25C5453AB9C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362" creationId="{1AD78190-763F-4490-B768-C3449D132D4D}"/>
          </ac:spMkLst>
        </pc:spChg>
        <pc:spChg chg="del mod topLvl">
          <ac:chgData name="Disselhoff, Tim" userId="3b8b5473-7050-4f60-8279-e72cc8538d43" providerId="ADAL" clId="{952E53DB-5978-46BA-964C-5B55B87B6690}" dt="2021-08-18T16:06:58.702" v="10754" actId="478"/>
          <ac:spMkLst>
            <pc:docMk/>
            <pc:sldMk cId="2535685321" sldId="1424"/>
            <ac:spMk id="362" creationId="{752FC1DA-4C19-4013-9DF2-81DC1022D71A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63" creationId="{EDDD1F26-F9D8-4D9E-BA37-1B15C600929D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67" creationId="{DE91575A-3185-DE4E-BF38-E185B82E0FCB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68" creationId="{C8072A68-91F5-426B-A9BF-6AAFE181A4F5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69" creationId="{F4811333-FAAF-4B80-8568-ED13172A7B6F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0" creationId="{CDC5C74F-F6BE-4853-8F7E-2EAC138E6D32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1" creationId="{2A8E5DAD-F23A-4683-A8EA-B55CD0E65E19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2" creationId="{91B961E0-A83E-4603-9E8E-398DC787BCBA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3" creationId="{4E1DB371-7EF5-4980-A417-B27942F8CE3E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4" creationId="{1419F436-567C-452D-B217-78C4FEB49DA9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5" creationId="{76F8AEA5-2484-4D9C-A417-55CEC754F425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6" creationId="{376162B9-247B-4966-947C-EA9BA9DB5AA3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7" creationId="{F10802F6-2CDA-4F9D-A454-FC81371AE221}"/>
          </ac:spMkLst>
        </pc:spChg>
        <pc:spChg chg="mod">
          <ac:chgData name="Disselhoff, Tim" userId="3b8b5473-7050-4f60-8279-e72cc8538d43" providerId="ADAL" clId="{952E53DB-5978-46BA-964C-5B55B87B6690}" dt="2021-08-18T16:06:46.845" v="10752" actId="165"/>
          <ac:spMkLst>
            <pc:docMk/>
            <pc:sldMk cId="2535685321" sldId="1424"/>
            <ac:spMk id="378" creationId="{6911EA98-B3B2-4B3E-AD44-B6DC6A498943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1" creationId="{7DC4EEF1-204D-402D-B785-CDBCACCEBD4F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2" creationId="{38FFCDA8-F48A-49EF-AAFE-AE084AE6FAC1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3" creationId="{BA485D0D-A8E6-4FE5-9546-4DB3BC0BECB3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4" creationId="{9E62869D-6BAD-49C5-AB9B-3898E1044009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5" creationId="{2FEF2853-BD2C-4F66-A827-9F3A70E17A21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6" creationId="{FD3000A9-52BB-4F24-A2F7-DF30C8763CCB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7" creationId="{F22FFF5C-8571-4CFD-81A4-7B18B2AC66AB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8" creationId="{0A83D9C8-6D23-41C8-812A-6D6664EBA787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89" creationId="{2B44649A-B4E0-4013-A2D8-ADEE9FC2D0A6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390" creationId="{55C60B76-5103-42DC-83D7-36B18DAC247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391" creationId="{9E2A1499-0B83-41B9-9D83-6428F3817BBC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1" creationId="{E81565A6-186A-4412-9E42-5AE5F73B4AE2}"/>
          </ac:spMkLst>
        </pc:spChg>
        <pc:spChg chg="del mod topLvl">
          <ac:chgData name="Disselhoff, Tim" userId="3b8b5473-7050-4f60-8279-e72cc8538d43" providerId="ADAL" clId="{952E53DB-5978-46BA-964C-5B55B87B6690}" dt="2021-08-18T16:06:59.407" v="10755" actId="478"/>
          <ac:spMkLst>
            <pc:docMk/>
            <pc:sldMk cId="2535685321" sldId="1424"/>
            <ac:spMk id="392" creationId="{46D7C816-303C-44CE-922F-50BDB403565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392" creationId="{C59D746F-0EA8-45D6-82C2-8DBA7D40235B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3" creationId="{14B04545-E8B6-4EB0-81FF-0ED0C695DA7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393" creationId="{F97C1EB4-6566-4BBA-AC9F-37D832962B47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4" creationId="{AE933118-328F-4F44-817D-02F486C92D5B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5" creationId="{B7C80E8D-2FB3-4967-8033-EA8E43D6FAC2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6" creationId="{D717D091-6865-4C22-8723-5F43538442B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397" creationId="{350C56F3-A8D5-44F2-B906-8C3CA07038E8}"/>
          </ac:spMkLst>
        </pc:spChg>
        <pc:spChg chg="de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397" creationId="{D319A06A-6DFE-4874-93D8-D67F460A2E63}"/>
          </ac:spMkLst>
        </pc:spChg>
        <pc:spChg chg="del mod topLvl">
          <ac:chgData name="Disselhoff, Tim" userId="3b8b5473-7050-4f60-8279-e72cc8538d43" providerId="ADAL" clId="{952E53DB-5978-46BA-964C-5B55B87B6690}" dt="2021-08-18T16:07:00.075" v="10756" actId="478"/>
          <ac:spMkLst>
            <pc:docMk/>
            <pc:sldMk cId="2535685321" sldId="1424"/>
            <ac:spMk id="399" creationId="{29F8AE9E-5F8A-48B7-99FC-48283AEB4DE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02" creationId="{0A5DDCF6-9D7E-4197-9C99-52B227969523}"/>
          </ac:spMkLst>
        </pc:spChg>
        <pc:spChg chg="del mod topLv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402" creationId="{D45B3FE9-1E70-4A86-BEF9-3593EB8AF8A2}"/>
          </ac:spMkLst>
        </pc:spChg>
        <pc:spChg chg="del mod topLv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404" creationId="{460B3AA4-CC09-446E-8C13-6BF2772144D3}"/>
          </ac:spMkLst>
        </pc:spChg>
        <pc:spChg chg="del mod topLv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405" creationId="{6D6A43E9-171A-4B5F-B5C6-AF90CD441EA7}"/>
          </ac:spMkLst>
        </pc:spChg>
        <pc:spChg chg="del mod topLvl">
          <ac:chgData name="Disselhoff, Tim" userId="3b8b5473-7050-4f60-8279-e72cc8538d43" providerId="ADAL" clId="{952E53DB-5978-46BA-964C-5B55B87B6690}" dt="2021-08-18T16:06:56.472" v="10753" actId="478"/>
          <ac:spMkLst>
            <pc:docMk/>
            <pc:sldMk cId="2535685321" sldId="1424"/>
            <ac:spMk id="407" creationId="{4E05ACF2-3E18-44AB-B06F-CB6B4CEC3412}"/>
          </ac:spMkLst>
        </pc:spChg>
        <pc:spChg chg="del mod topLvl">
          <ac:chgData name="Disselhoff, Tim" userId="3b8b5473-7050-4f60-8279-e72cc8538d43" providerId="ADAL" clId="{952E53DB-5978-46BA-964C-5B55B87B6690}" dt="2021-08-19T08:48:22.165" v="13043" actId="478"/>
          <ac:spMkLst>
            <pc:docMk/>
            <pc:sldMk cId="2535685321" sldId="1424"/>
            <ac:spMk id="412" creationId="{58AD9DD5-9FF5-49B7-910B-EC9F75F19A6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4" creationId="{1B039711-98D1-4424-B547-14E0C750092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5" creationId="{5122B7BA-6A29-4B73-A182-C76C7A3EDA8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6" creationId="{0FECCFBB-0A5A-4938-BEC9-52B7078A0F6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7" creationId="{E889090C-F3F7-4F5C-83BE-9D0C00A2018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8" creationId="{14B9E32A-6AD4-4B23-B51B-13B6FE27FD8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19" creationId="{A70ACA7B-F30A-4235-AE0E-767B6B99363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21" creationId="{75AB71E2-470C-42FD-B211-C0A3DC4A016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22" creationId="{8684A040-421D-4806-9554-7AFF824DBDD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26" creationId="{31406277-01F9-4105-B07F-5852499AE78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29" creationId="{D5CABCD2-5476-49B9-B6FA-9133622810C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0" creationId="{B8CD0C4E-53D1-444B-A845-EAE1342FC92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1" creationId="{73164FE9-3356-4B18-894B-5B814EF737B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2" creationId="{1D1C25C1-2222-4B35-82C9-6FF8A683D8A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3" creationId="{CFE6FF4B-B4FB-4DA0-B802-33049B5EE44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4" creationId="{F40F7707-2180-4C31-84A4-47AB6D8D69C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5" creationId="{B9D7F5B4-CF8D-43B1-BA71-74ABDEBBAB5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6" creationId="{7BBE18DC-60C5-4E08-B111-9D14F95BEE4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7" creationId="{F59D45C3-1352-4BCD-A03B-7F6B394A0D9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8" creationId="{C672460C-FA61-4FCC-80FA-5A4C827F0C0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39" creationId="{DF4FC4A6-99DB-4ABE-9FAE-AE5C82F16FA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0" creationId="{73484003-601B-4459-8091-F477E612B43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1" creationId="{5B4A993B-1AE2-4A97-A47E-F1C01E639FE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2" creationId="{113DC088-2E7A-456D-B53D-3609BEB9244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3" creationId="{FD3180A2-6558-4994-93AA-B162DBAD12E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4" creationId="{B66A4257-3363-440B-94FE-71326E68CC9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5" creationId="{32F57725-9707-48CE-AA63-CA44FC58C47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6" creationId="{CE138361-B869-438C-9899-E7005F18940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47" creationId="{DA0AA5F9-8D0F-4593-8DF1-438492AA044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0" creationId="{029054D4-FE67-46F6-8923-ED5E789B9A1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1" creationId="{5F517ACA-3996-42AF-A294-8A8BB0F7EAD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2" creationId="{E18F04C9-A932-4DCB-ACEB-4F96E2D1E48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3" creationId="{75015D2D-C238-4FD6-94A7-842756F38AD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4" creationId="{C76E256A-5836-4FA0-9E6C-BD11C02B94E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5" creationId="{A227B8C9-026C-4315-BC13-9D1F153FDE6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6" creationId="{E3C0492B-786D-430E-B774-D491C5F978B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7" creationId="{CAB9D4E9-39F0-473F-AD3E-5BA9358F7FF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8" creationId="{BB831C79-EFE1-49EE-AF0E-3FDB9A70EBF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59" creationId="{57AE8469-70B9-477C-8D3E-6594A9C5BEE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0" creationId="{80D59B1D-756B-47FB-9B51-0294A43AD11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1" creationId="{8DEAC563-1E05-4068-BCB0-CE01043C665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2" creationId="{4A0EEC3D-3D2A-47C8-9440-F601ECB7CA9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3" creationId="{DD092322-DE6D-4666-AC66-1AAA24559E8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4" creationId="{9D431431-C638-4222-8043-16312D03F79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5" creationId="{82087859-680D-4A4F-A6BE-B34FFA9BC53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6" creationId="{302A93B6-1959-4AB2-A6F2-E1473772643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67" creationId="{1B9AB873-B185-4731-8479-B2EA9137FE4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0" creationId="{EFCD24CB-898B-4928-9BA4-552E182F9C5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3" creationId="{B53C708C-47CD-4CEA-9234-72F9FB3C57C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4" creationId="{DF51A302-EAE7-40BD-A064-253C8EFD94A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5" creationId="{500F5E05-140A-4229-AE01-0C4680BF4F1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6" creationId="{64F9151C-D2DC-419B-8881-0A2F9F06F87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7" creationId="{7A0A7565-6325-4728-8C32-310C7E94E25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8" creationId="{FBB61F91-7F24-4D77-BCEA-5AE1E1F7A1D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79" creationId="{AFA504F7-1FD8-42F0-A9A1-0FB0F00AC10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0" creationId="{6CAB0735-82F8-49C7-B779-C5E025F6B13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1" creationId="{734BEEB4-24A6-414F-91BD-F262418EAAF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2" creationId="{01F85A7D-8D52-46F9-B6E6-FD2FDDA862A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3" creationId="{9D99DD0B-BA7F-43E2-9AF9-255B5825632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4" creationId="{783DE26C-79AE-4924-8C78-DE9DA0B18DA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5" creationId="{DE920B7D-28D0-4817-B599-936B2166832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6" creationId="{7FE343E3-85F7-4CE1-8CCB-1F0BA81CF7C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7" creationId="{80046E15-594F-4C90-B900-57BFDA92753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8" creationId="{80D33590-192B-470D-8D90-50CC4542200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89" creationId="{6969BC54-526E-4C0E-946A-B5C344E8CF7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0" creationId="{13225367-9161-45E8-9B6B-7FBB4EC6D04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1" creationId="{349686EB-3671-4720-8F8B-8C894DA85BB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4" creationId="{D9E91FB8-8F5C-4FD3-B995-592BC099F10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5" creationId="{B3DC37A5-D0DE-47EA-AA2E-7A7E9D8AF84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6" creationId="{A349190C-18A7-45AE-B28F-AEE9AEBF6F7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7" creationId="{96FF7B21-6476-4087-970E-5DF0E8C41E2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8" creationId="{67E9E957-163F-439B-AD40-C23A0FB32F4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499" creationId="{50B354C8-A46E-4199-A519-CAC693F6D4E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0" creationId="{5625DE58-BC31-4735-B055-988AB0F4D6F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1" creationId="{3104B240-B57B-4ACA-B7D7-C7F0C3631D2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2" creationId="{5C781019-7056-47A0-AE60-B1DAC7C501B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3" creationId="{96E429E2-480B-44D3-98B3-B6EE4CD8E32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4" creationId="{C0BB2968-B63E-487F-AB0F-DB8A069DACD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5" creationId="{662D49F4-BFAA-427A-9C96-226791845BE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6" creationId="{8DCE9BEF-5D6A-46A8-A490-5DB6FED2BFF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7" creationId="{DB7EE8B3-AF98-4E2D-8F5E-4F5864DA153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8" creationId="{07A8F60F-E411-4037-9EA8-159DCD4B23C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09" creationId="{EFCC6674-3297-4D84-AF43-B1B4C60BE7C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0" creationId="{336FF106-5232-462A-9DC7-9504FB9C7D3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1" creationId="{B70696E7-6968-43D2-BBEF-11EC188DC3C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2" creationId="{B1A714CB-9EFB-4EFC-BF3D-AD398FF45E4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5" creationId="{4003C514-0B8E-4918-A697-3DAF5C6D5C3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6" creationId="{F4465F18-51A9-4D19-969F-0CABB1A7345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7" creationId="{20F5EF50-0997-4DB6-8ED1-913203BED08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8" creationId="{CA47962A-238A-4AF4-9A62-8CD5247B7F2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19" creationId="{4AA441A0-8D7D-438B-B1B1-5D6FC514E6F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0" creationId="{19DF433B-E33B-4127-A070-997B896A39F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1" creationId="{8637B6A5-7C73-4498-8ED9-CC75B58E0F7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2" creationId="{5709B10C-F7B5-4FBD-B1F6-A86007E38F8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3" creationId="{18DD3B54-2754-419B-953C-247842BC55A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4" creationId="{2384B52D-1E46-4F6F-8649-CA7B5359F02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5" creationId="{336EB82F-1BE3-44EC-A3FB-41AF726876E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6" creationId="{E39AA93C-4E4C-49C0-98CB-A4B06404828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7" creationId="{514FB9D2-3729-4066-9480-670E73A0C7E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8" creationId="{49EB5035-87F1-427E-BA98-6AC89ABBA16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29" creationId="{557FC6A1-C19E-4D0A-B294-9929BBEE833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0" creationId="{AF401022-4F42-4E3C-BE42-BD23144E04F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1" creationId="{FD1C9CA3-2C33-4296-80BF-7D0207FFC42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2" creationId="{AE7373EF-2162-4F71-A34C-C7B79F6CA8A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3" creationId="{ED849612-C8A9-4713-A2C9-D297995F22A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6" creationId="{11A3818F-457F-4A72-9C2A-74AD4A92D7B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7" creationId="{A3AE4523-D3AF-470B-8E4E-A3BAFD1003F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8" creationId="{3C754206-5EE3-4495-BF7E-7ADE9EDB26F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39" creationId="{71798AFA-D911-4DB5-8FDA-3F7DD876BDA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0" creationId="{F4446E36-838E-4C74-AC29-25B132A7DA2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1" creationId="{6D3D46FA-139C-4FD9-87E3-C6311FEC7C5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2" creationId="{281A13E4-8349-47AB-8C7A-3685E919059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3" creationId="{9C8489C5-7ABD-4BF9-8549-6B60DEA593F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4" creationId="{49A80A05-4FD3-432C-A662-46BA43EFAC2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5" creationId="{A2D5F1CF-610E-4DEF-87C1-9352433BC04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6" creationId="{FF520956-F1EF-426B-A3F1-8E4ED7CC008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7" creationId="{C6D162B7-C720-4B8C-A436-0EA868FB170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8" creationId="{7BB6AF52-EC49-4927-A5AF-7624FD6978C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49" creationId="{2737E4CF-DE5C-45D1-ADC6-20F1B1120BF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0" creationId="{D69C3D01-B79D-4B87-9039-5B52AD2AC17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1" creationId="{B745E6C2-0592-47FD-912B-EADAEA92621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2" creationId="{134E1E11-958F-407E-A1F1-4091BFAC2CE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3" creationId="{C262E2D0-56EA-42F7-B946-0BA57D22FD7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4" creationId="{55E6825E-6BB5-492D-ACF8-E7C7D900341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7" creationId="{62E72D23-D49E-485D-A32B-32C4CA6C69B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8" creationId="{3543E38A-38F1-4008-BCFC-8ACA0A080B2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59" creationId="{19B638A7-A2E1-471D-A18A-18F9E1790DE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0" creationId="{E120709C-4B35-4249-B5A5-53CB371F5EB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1" creationId="{3E512201-1EE6-4041-88D6-4883CB630C4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2" creationId="{2E565A6A-A32E-4C43-9A48-66ED60133F0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3" creationId="{5F02E910-B0B3-484A-A877-ABB5D535086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4" creationId="{92A362DE-0B43-48AB-8F64-9AB896B092A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5" creationId="{A7F72487-8D60-458D-AD72-9D44AE9F117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6" creationId="{0D22CD7C-D2A6-4B6E-8316-6634AD57F5A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7" creationId="{8741D3CF-984F-4A08-8D3C-07C063B2266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8" creationId="{90C58533-6CC8-43B8-B1D6-98A180E0C36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69" creationId="{8461D0AD-1EF9-487F-B0E8-E62CF8A56DF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0" creationId="{6F99B6D6-26D4-4F6C-8BFE-A48BF1D1EA4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1" creationId="{2F2E71FB-5F51-476C-8445-87F7D68DB2C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2" creationId="{31EACDDE-071A-471E-88A8-02E15458E8F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3" creationId="{52650D47-CF82-4C5E-9EE2-BEB49D340BC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4" creationId="{145B56EC-C36E-4413-B8EA-D18B279DC7F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5" creationId="{B1A6461E-DC6A-41F0-B193-8967283D4FD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8" creationId="{1EB26524-C582-4709-AE8E-782A7A8C52B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79" creationId="{4FC5D59C-C2A0-4833-838A-481ADECECD5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0" creationId="{52B76657-2E7E-4AAF-BEA4-4B3B0A2F1B8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1" creationId="{D3B76F29-0C25-4506-8108-950D9D54831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2" creationId="{71312C19-F95E-4CBC-9711-5659139EE25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3" creationId="{66E46C2C-0CCD-452B-A3C2-7E9161100F0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4" creationId="{583C7B52-3FAA-4E19-A570-7443EE43D0C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5" creationId="{63794E9F-BAB8-4796-AF4C-B176C369026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6" creationId="{DB240A9A-BAB1-4C68-8F3C-0A855C11EE5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7" creationId="{F27C554E-E388-486A-9A7F-C3E4CCE5D72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8" creationId="{47AD4127-CFCB-49FB-9334-6442C54998E9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89" creationId="{F5937C04-08F3-41FC-9CD1-FB15C196523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0" creationId="{9145B091-32A6-4BE4-BD54-2A1595286B9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1" creationId="{57721C55-3E16-4340-B7E5-9A3F85254D6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2" creationId="{89B5F00C-6E52-4C70-952C-E7A2114FF45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3" creationId="{5B1F5455-4DF2-414B-B500-7989DE8989D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4" creationId="{782B5F42-F675-4197-BC98-5EC618F0CAC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5" creationId="{CB84472F-7AA3-4BA2-AD61-D61A0B41478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6" creationId="{2C7830E1-121B-4050-83D3-424DE119A58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599" creationId="{155FA02D-0D2E-4523-A319-6505B51B312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0" creationId="{F723B56A-B9C5-4263-A0D4-088BB2CF26F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1" creationId="{CC33AB94-02AF-43B6-A5F7-181A4CA6C7F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2" creationId="{FD818AB1-0ED7-495C-84FC-47E50FB8523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3" creationId="{FF6717A5-27D2-492C-9F49-0833C30EE0B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4" creationId="{54D58861-F7DB-4C10-8988-16CC1935C5A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5" creationId="{CE271648-3C27-496E-B835-8E361A1CF7A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6" creationId="{C91D21F3-21C2-4B01-9F32-D3EF6BA7163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7" creationId="{5DBA37CB-769A-4E6E-A6FF-5F2BDA5FA79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8" creationId="{8CF39580-9C85-4AEA-BDEA-AE9D44D5D9C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09" creationId="{CEFF1ECA-09CA-44D7-8328-35BA2FBB951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0" creationId="{BFFB3EBD-1481-4C2D-A5E6-548D8AF988D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1" creationId="{B9B9CBB6-7075-4037-96EA-26E04DB0EBC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2" creationId="{229AC3CA-2FF4-4723-8D0A-69157273F8B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3" creationId="{E1219D24-2E69-402D-BD02-B15A4BAD5CF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4" creationId="{267839FF-BFCC-44C4-9172-9CE6B2BFDB5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5" creationId="{6EEB0D6C-28A6-4980-A1B3-3530D62468D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6" creationId="{46F49314-FBD3-411D-A80D-AE65CE65B8E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17" creationId="{798486F3-0536-4603-AFC6-7FE53D99A39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0" creationId="{8269AB9E-D20C-4EE3-AC28-B73D1A9FEAD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1" creationId="{8FB540E7-1A1D-4E65-BC3F-F48BDAA7299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2" creationId="{A2680253-F667-4FB7-A6AA-75444D3D14C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3" creationId="{109EF261-B867-4E03-8D80-677AC8F126E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4" creationId="{436D68B3-7939-4702-8EF9-7A5ECC28EE0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5" creationId="{D7893CEE-A27F-439B-9654-1F73B4B9D05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6" creationId="{E368C006-4E0F-47CD-B526-FDA97C403D9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7" creationId="{3DBDAFCF-9093-40E4-AED2-A40D1E420A2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8" creationId="{AA4B3C80-8CE6-4035-9FC2-0E97B2360AD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29" creationId="{F150A2FE-6F1D-48FC-8F1B-17CCC104186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0" creationId="{AD36DCA4-F3D6-4AA5-B418-13E74BC3BCB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1" creationId="{D8A05964-A067-44BA-89F9-29DE09CEA3E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2" creationId="{8BB5CF29-25C4-4970-B028-C59BCD27423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3" creationId="{EA291712-C437-40E5-820B-3074FFD64BC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4" creationId="{918977ED-CFED-4904-8AF8-8CB9C33C330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5" creationId="{FD8B5B11-DE33-402C-9F7E-163EE42E78F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6" creationId="{FBB3DE0B-08A1-4913-A7CD-4C1566AD79E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37" creationId="{828F8695-E69E-4B07-A2AA-D2D0F5FDB4A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0" creationId="{F64D8ECA-5ED6-4208-ADF4-0E8E68B4251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3" creationId="{D180E9E5-9E47-41AD-AFE1-65150ED17B4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4" creationId="{0DAD33D7-4ACD-4096-83D4-EE741E7AA93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5" creationId="{EE7D2E1A-1F8C-4C71-A73B-91E82BEF719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6" creationId="{F65A36BE-D0C4-4F85-AAAB-DFFF6CF8A24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7" creationId="{315187B1-EC14-495B-BFD6-CB32E08E55A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8" creationId="{8FA75E92-2973-4088-A3A6-1C1433D6E48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49" creationId="{26864BEB-E716-40EA-8CC6-AD85E42339D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0" creationId="{FE86AA34-FBD4-4F1C-A5B8-7CC60B364FF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1" creationId="{0E3943EF-E0B6-4DC1-8B12-B5F6172DB0F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2" creationId="{2B522F65-E655-46B4-A95C-5BCC8A8D6F7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3" creationId="{CF00F3D9-155D-4963-BCB7-12E942541F4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4" creationId="{9D494A48-32F8-421D-A4F0-1586F7A679B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5" creationId="{420AB003-ED9F-41B2-8C03-C18F5AFBC37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6" creationId="{69A3FA8B-178C-4C3C-ACCB-03D487D7FDEC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7" creationId="{9E67B738-7A6C-4DF5-A392-7153B2DE032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8" creationId="{1A2EC629-0FDA-4BA4-A9B8-E22D03EC85AE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59" creationId="{CE6AD90D-2B10-4C53-B803-A23AD8CDFEB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0" creationId="{CFE2B4D6-769C-4984-A0AE-B855360EF64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1" creationId="{B5CDD542-1616-41F8-854F-59E089ADF20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4" creationId="{105479EC-1FFF-4797-B95A-A0C8AFBD002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5" creationId="{6E11074D-3E0C-4A4E-85AF-81EB7DD3F4C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6" creationId="{94CD2D10-16D5-425D-92CB-59DA221549C8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7" creationId="{615B056E-04C5-4B4C-975D-13468363A951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8" creationId="{D8FB0439-4EBD-4E11-9641-54750B43188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69" creationId="{E44F3061-F456-440E-8D95-622F9651A44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0" creationId="{CDC61EAA-8F62-4661-B0E0-BD0ADE1CFA8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1" creationId="{2F8DABCC-C858-4B39-AD98-EFB5AE1A4EC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2" creationId="{B734C73A-407C-4C11-B4E3-63EB1B4C2874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3" creationId="{A737253A-C24A-4427-A2F3-05E508DB119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4" creationId="{C3F7569E-829B-47C0-8EFD-4ABFF18069A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5" creationId="{B4F86F2D-6C91-4368-A0D0-F76534C5333A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6" creationId="{C0DD8C40-0484-427B-9323-37EEE902408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7" creationId="{03AB15CB-F4F0-46FC-B5A5-0BB63A56C6C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8" creationId="{8DAA1382-D4F1-482C-B6CD-2C2B1BA36E0F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79" creationId="{0DEA6D14-9E1B-4C64-95F0-2D34A53716AD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0" creationId="{8B8F58DF-4CC8-4FA5-BE78-80616B8D2185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1" creationId="{132E7650-8861-4F4F-8C91-B6A30658745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2" creationId="{7D980860-C8C9-4216-B289-F1DFCC0CAB1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3" creationId="{EB148988-3B45-4A7A-BCAC-CF82291E10F0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4" creationId="{43BBBAEA-5F81-476A-BE0C-732C4B47302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5" creationId="{9FF46C0E-75FE-45C1-8E55-73A0491A06C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6" creationId="{C423DC65-023C-4E95-AE7E-82B65B089B52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7" creationId="{0C2EB0AA-78D0-445F-9F0B-0EC9CA59F0A7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8" creationId="{781B59DC-367A-42A3-8FCB-F1CAC3A8B413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89" creationId="{D1C6B52E-1A6F-47FF-A51D-5D5B212B52C6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90" creationId="{2013308A-F938-4A5F-8BA9-D3753320703B}"/>
          </ac:spMkLst>
        </pc:spChg>
        <pc:spChg chg="mod">
          <ac:chgData name="Disselhoff, Tim" userId="3b8b5473-7050-4f60-8279-e72cc8538d43" providerId="ADAL" clId="{952E53DB-5978-46BA-964C-5B55B87B6690}" dt="2021-08-19T08:33:30.508" v="13023"/>
          <ac:spMkLst>
            <pc:docMk/>
            <pc:sldMk cId="2535685321" sldId="1424"/>
            <ac:spMk id="691" creationId="{5F8FCE1C-0D13-4268-8D46-03C39AC6A081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2" creationId="{7BEFA531-4B62-43D4-A0EE-47F344A27F4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4" creationId="{3B13A542-89DC-4543-858C-816225DFE53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5" creationId="{B347B5AC-3870-444B-A8C3-FD3607AFEF7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6" creationId="{DD661DA8-725B-4E0B-89C0-6BC82ADBBC8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7" creationId="{B8593746-2C82-4BC2-8048-61FEE14D7C0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698" creationId="{9F9D3A5D-55DE-4AE8-A8CE-BD5848329CF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0" creationId="{6A068754-89AF-4C13-9452-45D546D414B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1" creationId="{72DA3110-D080-4AB3-AF78-7E8C160170F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2" creationId="{607A9003-536F-46A1-861B-952B645E82B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3" creationId="{72FC5652-322D-4140-8E28-2E112B59E2D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4" creationId="{A9212B3B-8EDD-490C-B46A-D2F0421FF82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08" creationId="{CBA8E89B-E2C4-4EF1-A02E-4310F9E4FDC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1" creationId="{C0FF24AF-A974-4072-86B2-83F20F89D59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2" creationId="{3252D0F9-5870-445F-B7A7-013A310AC00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3" creationId="{4066D851-6384-45EC-8A59-31B3E0253A1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4" creationId="{CAB09E6D-32E1-4362-B44E-3200FC8BC0E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5" creationId="{1DBB591B-BB04-4827-8E47-6D6E0886639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6" creationId="{15694DA8-28DE-4B86-933A-09CB0473E38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7" creationId="{C391F44D-5544-4EA2-A9CB-00B2615CCDC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8" creationId="{96EC454D-DBD3-4D6A-9538-103124ACA10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19" creationId="{00163BEA-B506-4C9A-A697-73CB607131C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0" creationId="{F8050E9E-A4AB-49C6-BE8B-E2B7F883B58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1" creationId="{30580E00-8689-49C7-9E0C-68CA62D4615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2" creationId="{EB141C15-D3CA-427F-8387-45C6E945F82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3" creationId="{320F792F-B5D1-43E5-A96E-9AD68E18036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4" creationId="{55656FA7-F2B9-4A50-BB35-FC9C0C1C8D1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5" creationId="{DF9AFD3D-B60E-4B79-B2A9-625D53ECB28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6" creationId="{B1932E92-1E4A-485F-A06D-0DBEBD9A640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7" creationId="{62F1C9EC-C1DB-42CC-BB2B-562C84ADA6F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8" creationId="{DD53187E-CB93-40DB-8B4E-0B3179E7A00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29" creationId="{59C274ED-4CE1-4C25-8BCB-F77969C667B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2" creationId="{4949C75D-5A19-4B67-8DF6-A59C3F882B2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3" creationId="{2F5BF74D-17C7-4A6B-B064-C4C5BDB83B9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4" creationId="{6C8BA408-6524-400C-A0D2-7B1D79CC7C1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5" creationId="{12F01E27-4CFA-4B7C-9AA7-03DC259048D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6" creationId="{8C3574E1-0306-473A-973B-7297687B9AF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7" creationId="{6BD9E4B8-6397-4A3E-AD75-C6F82CE895D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8" creationId="{1F8DECAC-5763-4FC5-A66B-89A1B7750C9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39" creationId="{20894872-263C-4491-9ED3-1FF5F0C3F70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0" creationId="{4A14C4B7-70E2-445D-809E-ED6DEB8DB42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1" creationId="{ECED358A-C201-46A9-901F-BE425383497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2" creationId="{42B086B2-A292-490C-8985-B461E8ADFF9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3" creationId="{023F7345-77E6-4BF4-B7C8-4EBF0241AFB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4" creationId="{B29CF33C-7F8F-4C31-93A0-E5333727DE1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5" creationId="{34F58FE7-469A-4551-9331-3D7352159C3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6" creationId="{A2E7934F-7B44-4B26-9029-F5ED53C7D21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7" creationId="{39D276A5-CECF-4C57-B532-BF2E73DEA0B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8" creationId="{BA7111AF-A429-4954-A512-C2D5664CFDA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49" creationId="{17E07F0A-5FC8-43EF-B6EF-8C3B8AA09622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0" creationId="{C6221C1F-A14D-4B22-99E4-76CC63ECAD2F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1" creationId="{18696C23-3109-45E7-9AB5-CCD862AA884A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2" creationId="{3AD72F3D-EE7A-49C7-94F1-D8447CCCE80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4" creationId="{BC95CAB0-B1E3-4FD7-B650-CA09AF8C6B1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7" creationId="{43E6982F-001F-4A61-B94A-AAF5F41129E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8" creationId="{A0641ACF-C32D-4139-BD7E-AE5F4FE0A81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59" creationId="{0644D3C0-AD46-42C6-8E2A-65D7D98366B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0" creationId="{4D168320-5735-4947-A089-D37AEDD250A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1" creationId="{2618D8A4-915A-427B-8374-0A9C4F06AE8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2" creationId="{D77E4286-2966-4DB8-B28B-13ABDF61675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3" creationId="{5CAE5E76-C502-4387-8AD6-C3B7F182161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4" creationId="{F7D6180F-2F09-4FEA-A34F-BE7828C3E4E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5" creationId="{97D3A5CC-8D19-41B1-B1A5-CC7EFD12391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6" creationId="{B6F5F993-BE38-438A-B992-5B12580C556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7" creationId="{4FF5D22A-AD72-40E7-A588-62B7C27E086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8" creationId="{EC23A53F-C075-497F-9938-D665A9B7A61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69" creationId="{1E5A597A-B4D5-4991-98EE-CA7519E7479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0" creationId="{DF2A410D-6E88-4637-A9E0-CC23493E130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1" creationId="{2935622B-318F-4DFB-BE14-B85BB355FE8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2" creationId="{A8567ED1-2514-4C94-8E9E-84CBAEFA247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3" creationId="{E6768A00-B33F-4824-9674-656671BBF87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4" creationId="{F431A248-7F1A-41C4-A9A7-4DAEFEC9A0B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6" creationId="{880E8E53-3389-4328-BA6E-10A18ED3821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79" creationId="{86595C53-D96B-4360-ABCF-5B992B9EB2B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0" creationId="{D75FD584-E2C4-4731-9121-0F26C092FEC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1" creationId="{9B7D0D03-F4E4-4306-B61C-88FDB39E9A4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2" creationId="{E4559663-D49C-4319-A0EF-06597FAC162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3" creationId="{4E141A57-DAED-43E1-971A-905032F6299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4" creationId="{2B042DEA-E886-42CF-896B-CBCBDDE0003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5" creationId="{C525C7D3-CF0F-45C6-B544-DF26182BD33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6" creationId="{CAC997F5-7809-496B-990C-3B888B95A19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7" creationId="{3D7DB677-FB44-4AFB-B8D6-AAACA38380B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8" creationId="{67E8BB69-EF2E-4687-ABFA-0558A5B6FB4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89" creationId="{742DBB36-F704-45FF-AEFB-F6AE6DB9D5B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0" creationId="{FC65851E-FA6A-4FEC-8A9E-4867D46B7B2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1" creationId="{A533072C-787C-498C-ACED-674BD71EE16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2" creationId="{87E0A11C-92BA-4C01-AD80-ED1F4AADF0C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3" creationId="{B2DB5181-9451-42B7-832B-42DB069509C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4" creationId="{A3CAB27A-2318-462D-A337-9ABBE8EEC2C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5" creationId="{DC7CB233-F01B-4B24-B58D-D4B9EEC01D2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6" creationId="{12FE3CE9-8F50-436D-81F6-E036267B109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798" creationId="{ACA0B4E4-8773-4973-BAE1-62A1295D223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1" creationId="{DC934303-2316-4C01-BEAD-4F38C4EA937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2" creationId="{2D1F3448-8A5D-4F3C-AAA7-57272E09104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3" creationId="{B6E9DAE0-B728-444F-B98B-14166424E9B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4" creationId="{A18D4085-ECA9-4395-BEC2-BA6B75CD069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5" creationId="{7C466A95-D8C2-47C9-A9A0-29CF93490A5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6" creationId="{A6AA565E-4E55-40C3-9D30-4FA53DB16F2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7" creationId="{18EECCCF-8205-4E53-A463-C145FB431C8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8" creationId="{340D3A5F-83FB-479E-BA0A-0FAB8BEDB78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09" creationId="{0B5E21BC-E7EE-4A14-AE0B-5B281F06F10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0" creationId="{8DA0D98C-3F80-4DD9-B5DB-78B8FB4C1F4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1" creationId="{A7F0AAAD-2AEF-4F94-871D-3E80D3336DE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2" creationId="{CC954169-8F44-47D3-9B52-05464A1534F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3" creationId="{B2F36444-BDBF-41E3-950D-10B2C823E36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4" creationId="{56B37FAD-6B9E-40C3-A671-AF0F0E55AE8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5" creationId="{AFDB0702-0708-4D89-9B37-B1C1B39C7B7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6" creationId="{C9888FC5-1BB9-4353-BDFB-A4CB10D0B03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7" creationId="{22B0E6D5-9E77-4222-80C3-EFAD541DC8D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8" creationId="{BA54CE83-DB21-4AB4-9A22-2BEF6C00BF85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19" creationId="{7FA94657-FA4F-4149-BCFD-C367726D736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1" creationId="{429A307C-21D2-482B-BA43-6717358C9CE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4" creationId="{BD7DC0D9-C799-4EA7-BE48-116B253BE28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5" creationId="{97135F4E-8635-4D4D-ADF1-E3AB805328C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6" creationId="{029CB2A7-A858-45BC-9536-16105AA6979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7" creationId="{802233EE-8574-45F0-AFE8-7CAA7A95CD4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8" creationId="{B160BAFC-D987-41F6-9841-24BB5DA8EA2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29" creationId="{12525521-2AA2-4217-8798-469861111C1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0" creationId="{45AA86E0-79C2-49A9-9575-656E1A1A089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1" creationId="{3A1EDA58-DCF2-4D6A-B61B-D3799576EAB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2" creationId="{0C2977E8-11A1-4224-B31C-E0E783F9011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3" creationId="{077A615D-1403-4E5B-898A-D75AEA8A6BB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4" creationId="{9DFB31B5-44E9-4256-88C2-316559D17C0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5" creationId="{753EEE67-749B-4F1A-AD8E-B45338F6AB3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6" creationId="{37366129-A295-4D4B-B49C-1E61B98481F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7" creationId="{3F26E416-B0B4-498A-BE7A-1A1FFF06905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8" creationId="{C641980B-723C-4664-A2DD-477553B8359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39" creationId="{8B9946F3-38C0-4A4C-A4CF-527EB78B1BD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0" creationId="{E63551BF-57A5-4D12-8EFE-59965B26968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1" creationId="{4E421EB1-03AF-4E31-B4C0-65E13F8C7F0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3" creationId="{1A4DE95D-5378-45F5-8E28-25425A61695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6" creationId="{25112558-B3D6-4B07-BFF3-506F79625CC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7" creationId="{B7465D32-2F98-443C-B00D-C7E2EA8A34D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8" creationId="{3E747351-E922-469D-9C7F-8690B62203B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49" creationId="{645EC284-19A1-41D0-AD3B-BE50F3845DA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0" creationId="{E94058E6-B1B6-4C00-8AB6-4ADDE34D49C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1" creationId="{6EEB8A19-9B59-4927-AFC4-24771B0FB56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2" creationId="{3C1C5CAE-A928-4EDB-9A42-17D273F3055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3" creationId="{C9BE9C20-7980-47BA-AB9E-B29AADCEA0A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4" creationId="{FCFF751F-7712-4C8E-8663-29DCF53075A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5" creationId="{75BEB383-66D7-4228-9260-AF62C2E5833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6" creationId="{305100B5-43F2-4F42-8364-069CA5D1302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7" creationId="{5978DC56-D5AC-4E16-ABBD-ED6D7EEA3D6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8" creationId="{D527A4F8-4A06-4A0D-91D3-927E927B910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59" creationId="{5E951B4A-08BE-4262-86C9-7902AA0C745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0" creationId="{120FF3C3-3024-4E5C-AF73-C1DB8C8CAA2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1" creationId="{28B49262-B1F2-4344-8581-BB35F74D6F1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2" creationId="{AC0C4FD2-A5F2-4013-9179-97662570759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3" creationId="{541CB144-B158-4A19-8611-0280E715DBD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5" creationId="{8B7AF8C9-A7FE-46F2-9DCE-AAC6AD21EA2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8" creationId="{77B1ED82-5DB1-4CAC-A7D9-5221585EC78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69" creationId="{69D1F45B-AF72-4A9B-B015-41188251BE0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0" creationId="{97864F56-DBD8-4404-B98E-E0F1D005153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1" creationId="{728FA337-3A38-45C0-BC6C-0257E5C6146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2" creationId="{AA1CBD13-2B99-4076-BE58-CB6A7F7DAD5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3" creationId="{274D5809-9CBA-4CB3-8DB4-4FFB9F98412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4" creationId="{22A00BBA-1F0E-4221-BDD3-A9763EE4124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5" creationId="{106B87BE-3D6F-46A2-8EDA-3D6983AC100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6" creationId="{725C18F9-C624-4936-B542-6B9EB16AA9E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7" creationId="{E162E430-F571-4D15-B216-0722A49B54C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8" creationId="{86A204F9-5358-41F4-9DB0-AAEC4CC9CA5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79" creationId="{E7FFEE3F-F843-452D-8323-ECFBC84B610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0" creationId="{692C5444-2165-41C6-8ED1-107267FE07F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1" creationId="{D0FEEF98-EB8A-4940-BF2C-63D21AA2C3B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2" creationId="{632A9AE5-3D41-4A3F-835D-3B399AE273A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3" creationId="{226A754D-3C83-4D72-8CB1-8877D0E3830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4" creationId="{C0C43A5A-9383-4492-826A-CAE918FC045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5" creationId="{E3CECBF4-6448-4A9A-82CE-1E01B253E08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89" creationId="{71F4A558-A44E-42C9-98C5-7F19D55E92B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2" creationId="{A659A98D-E414-41E5-B373-104D6214B41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3" creationId="{C16D155F-F7D3-4537-9878-995EFC92C49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4" creationId="{A42705A0-7A91-486E-A1E9-D59D5986505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5" creationId="{3D07F873-8333-488A-A411-E00CE09551D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6" creationId="{E5CCC81E-84A0-4941-862D-FFBFC4AB2EE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7" creationId="{7B5AFB89-4360-4AD2-BAEF-15A1EF850DB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8" creationId="{E28A62B8-24A3-4E75-B8CD-95EFC719F96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899" creationId="{FF02091D-1C67-41B1-842D-94BC5480812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0" creationId="{6118E929-8E31-43D6-B225-72436E4F78F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1" creationId="{A280932E-20BD-47D7-91DB-1552E5DF279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2" creationId="{52311B03-2EC0-4ECA-919D-F8F9F3DA6C8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3" creationId="{AC7DBB67-D700-4BE8-9052-CC7A286D763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4" creationId="{7CC4C610-3BF0-47C4-B730-81E855FBFC86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5" creationId="{48E1A1EE-6F81-4D69-999D-CE4998D8075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6" creationId="{7DC22F15-BE31-44D5-9678-59087AE2036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7" creationId="{88619A01-D5BF-49A7-B62B-8EBB05B0C99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8" creationId="{83D8F6EE-1559-4616-B901-1B6FB1AC06E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09" creationId="{216AB7DB-297D-4E6E-898F-0AAB7026CB9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0" creationId="{814361A1-7EDB-4E7B-A80A-713B9CF7A03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3" creationId="{42E43B48-8CAE-4142-AE90-EE1B6D4B8EB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4" creationId="{93CEE4F4-883F-481A-ACF1-465151A62D8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5" creationId="{4DE7BAFE-1A83-4218-9184-13B26AB2D50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6" creationId="{90C9D43B-1053-4988-9C7B-7D7CD8750BB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7" creationId="{F8B49CF2-81A8-47D2-91C5-0364400B1F0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8" creationId="{20DD9810-A281-4B56-AABB-279369F24CF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19" creationId="{2FF9CBD8-E34F-4073-8252-C34DF1439B5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0" creationId="{70113427-68C5-4313-B53A-5373F351C6B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1" creationId="{88B0FC59-E312-4268-A8C5-9AC151ED0F5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2" creationId="{E241580B-FC74-422D-9472-98B5141F270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3" creationId="{D4DAC147-C8CB-42AF-8EF4-53825475CD5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4" creationId="{A205A477-A5E2-449B-B5A9-3CFFDAAAE31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5" creationId="{D287530C-C633-4BEC-8FCC-AE0F08A8C27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6" creationId="{8CC1D4D6-CEED-403C-8B2E-DC312A64AC7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7" creationId="{3B9308A9-B798-4CAB-BCC7-5F924495F1FA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8" creationId="{314DB953-B329-4BEA-B7E0-673D80F1050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29" creationId="{F5E6496C-F7A3-4A48-B1D3-59259871FFF8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30" creationId="{AEDA69A0-6DCD-4DD2-9E1F-6C31384FAADB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31" creationId="{05108146-D5E5-4AC1-AB12-5C772841775D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2" creationId="{0043DCDB-D133-4F4F-95E0-2A79C2C9E4E7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3" creationId="{487A44E1-4E49-4186-8180-2EF752DAA788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4" creationId="{9A3295FE-9B37-4E49-B6A1-E7EB18FE9590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5" creationId="{99912CC7-87CF-4CBC-9530-7E87E382C95F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6" creationId="{93049A59-6FBF-4B35-A2B2-D1D9B656C5F4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47" creationId="{5CB0EFF5-F7E5-43D0-8ED4-99E4AF214B7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1" creationId="{6967B843-C4E2-4AE5-8B3B-5168D883CBC2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4" creationId="{F59CD7F5-9ACB-4DB2-9A17-3ED6AC267E6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5" creationId="{2D0F6D28-E786-42C7-BFA7-B994066BFC4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6" creationId="{45856F08-5CF8-4DDD-BBC0-36BF5FF626F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7" creationId="{CAF33DA3-1BD2-4CC4-B98A-0B044A9AD3B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8" creationId="{99478813-1BEE-462D-BFB3-87E4E7E28F6C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59" creationId="{0246A35E-5EB5-4F49-830F-86FF176D80C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0" creationId="{FDA2ADAE-E0AF-41F9-B809-1BB8C2E5836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1" creationId="{4701A954-CB15-460E-8086-5057904B519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2" creationId="{FE74919D-4C43-4A2A-8418-7167416C7E5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3" creationId="{AD34DEC5-CFF6-4C50-857E-1D4DDE821F8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4" creationId="{64C7EA20-C7B5-4018-9BD9-E0B0EF082E2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5" creationId="{6BAFFB46-855C-4AC1-8777-2CF8E617A65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6" creationId="{C5020521-9C04-408C-8807-D23C90181F5B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7" creationId="{B1F5BF8F-A879-40CE-97BD-CB665A38309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8" creationId="{47BDB157-91C9-4A01-A4EF-099ECA697FB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69" creationId="{7888FE3B-9D7D-4A71-AC5A-90D1E13718D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0" creationId="{62BD03E9-D25A-4B1D-9F1F-B4A112AD18F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1" creationId="{1B9EF488-D012-454A-88AC-1B5563CFB29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2" creationId="{391946A9-0BB6-4AEC-8DE0-0F777ACFC4D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5" creationId="{08C23FBB-06FF-4CBE-8AAC-0D6C367A1AC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6" creationId="{340408F9-AD4D-4CB5-B2CE-E2849525D59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7" creationId="{27C78680-5312-4F2B-8E58-E5AA50700D49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8" creationId="{49C6120A-4483-4ABE-B762-C1C08816B54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79" creationId="{89A6D588-84B6-4CAF-A9DE-C7FF996D1054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0" creationId="{74350A41-1903-4D07-AEBF-D73672378C8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1" creationId="{9781E2BF-D6DC-4AEE-B234-60BB92FF243E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2" creationId="{911CF20B-9645-4E0B-BA14-B5E33482C90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3" creationId="{C1CD1585-4D95-46A9-8247-0D0958777F2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4" creationId="{971AF34B-E816-4CC3-B583-05954A48FDE7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5" creationId="{75E65DA9-0337-4D8E-AF1E-5584A0C46F70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6" creationId="{793B8AFB-0AE2-475C-B6BF-D987B546323F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7" creationId="{9AD5B995-DFE7-4C4F-BB8C-1F9871A386E5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8" creationId="{62841F3B-573A-4F9B-BBBD-8858D5C2ECCD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89" creationId="{0FC3B026-FDA6-4DD9-BAAC-98B20CA7174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90" creationId="{B8BF894E-71E4-412C-B538-1D2A92A88881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91" creationId="{7D0AD3BB-CA02-4D3F-AC48-77BAEE0259D3}"/>
          </ac:spMkLst>
        </pc:spChg>
        <pc:spChg chg="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92" creationId="{7CC6C42B-8F42-4208-BE4F-0FABBDEE4E23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93" creationId="{04F267A5-A7A9-4143-9D86-DB09CADDBB51}"/>
          </ac:spMkLst>
        </pc:spChg>
        <pc:spChg chg="add mod">
          <ac:chgData name="Disselhoff, Tim" userId="3b8b5473-7050-4f60-8279-e72cc8538d43" providerId="ADAL" clId="{952E53DB-5978-46BA-964C-5B55B87B6690}" dt="2021-08-19T08:34:33.487" v="13028" actId="1076"/>
          <ac:spMkLst>
            <pc:docMk/>
            <pc:sldMk cId="2535685321" sldId="1424"/>
            <ac:spMk id="994" creationId="{E6BBFD9B-273D-4228-9522-5461308BAD5A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999" creationId="{AD11FFDD-C529-43D1-A63D-6D35A36E7203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2" creationId="{00653519-EE28-4E66-B43D-18AA6DF0E658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3" creationId="{1B18C60B-F3CD-431C-B358-AAD19153892C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4" creationId="{75DF5D7E-68DD-4F13-A17F-513112AE3EDF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5" creationId="{C15FD74D-0157-41C8-A0E8-34CE8590552C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6" creationId="{AEE6ABFA-DF50-4CC5-8211-B27D60CDBC3F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7" creationId="{E5A28B39-9FE6-4911-B388-C7E305C8D4E9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8" creationId="{8D338741-376C-4557-9A43-F393698BFE06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09" creationId="{504FDDC6-6323-421B-9BB1-E0C35E08890E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0" creationId="{50B64E77-7C81-4AA2-AD5C-1278A629BB4D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1" creationId="{2DD2300B-BC56-46A4-A6B5-36EBC7A3C184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2" creationId="{2FBB98CA-18B4-412C-864A-7D3A22F296EA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3" creationId="{B7F5603E-1E1F-4792-833F-D7257345532B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4" creationId="{90F275F1-DEEE-4D19-925B-0A2DEC8A3EC1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5" creationId="{3AD31539-83CD-4375-B810-AE81B8512DC4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6" creationId="{C193828D-2233-4FED-95C3-4D3FEB874F6B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7" creationId="{C372DCD8-0117-4ACA-A2B5-06956A466A12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8" creationId="{CFFC7647-3B54-407C-B6AF-EE413B0429A4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19" creationId="{C49ADF59-4855-4872-BDA5-0411D8269940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0" creationId="{C73B1654-11AB-4C08-8220-7AED1257A3AF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3" creationId="{D8FEEE1C-63B3-46C5-9CB0-8E50C605DFFD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4" creationId="{DA7E9928-8788-4D3A-9973-5237D56CBEFA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5" creationId="{C4EC7D49-55F2-4FDC-816B-23FF4929E4D6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6" creationId="{E6D22FB0-31CE-4669-84BB-F7425EE078CC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7" creationId="{9D6A9E28-35AA-4F74-9691-8C50267A8FED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8" creationId="{51EDAAB8-D14C-4552-B78C-8B77F89936D7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29" creationId="{E5B364E5-C4B6-49B7-89EB-F0C75748F60A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0" creationId="{22EA5842-8938-4B69-85BD-15625E5DB1E4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1" creationId="{A55C1663-5B73-4559-9643-85B6214EB092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2" creationId="{D3FD271F-E395-4383-A200-1E67929C8AE1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3" creationId="{0DF14344-EB1E-4704-BB25-9F4E236583F6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4" creationId="{E7F918D5-5822-4516-8430-BE68E67D4851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5" creationId="{273E8E74-2203-4F00-BE9F-8A6EE5D20DC5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6" creationId="{25D38691-2322-40C4-A60D-DAF223409CC7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7" creationId="{3E5E6DA8-CDDA-4776-8AFD-E34C6B5608A7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8" creationId="{1CD58156-4229-4642-9112-5892482521B0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39" creationId="{9A12CEB2-8F95-4B28-B7A2-DC80002EB6D2}"/>
          </ac:spMkLst>
        </pc:spChg>
        <pc:spChg chg="mod">
          <ac:chgData name="Disselhoff, Tim" userId="3b8b5473-7050-4f60-8279-e72cc8538d43" providerId="ADAL" clId="{952E53DB-5978-46BA-964C-5B55B87B6690}" dt="2021-08-19T08:34:14.394" v="13026"/>
          <ac:spMkLst>
            <pc:docMk/>
            <pc:sldMk cId="2535685321" sldId="1424"/>
            <ac:spMk id="1040" creationId="{33744F3D-FB1A-4A49-AF04-61B4F399B1B9}"/>
          </ac:spMkLst>
        </pc:spChg>
        <pc:spChg chg="add del mod">
          <ac:chgData name="Disselhoff, Tim" userId="3b8b5473-7050-4f60-8279-e72cc8538d43" providerId="ADAL" clId="{952E53DB-5978-46BA-964C-5B55B87B6690}" dt="2021-08-19T08:48:02.737" v="13038" actId="478"/>
          <ac:spMkLst>
            <pc:docMk/>
            <pc:sldMk cId="2535685321" sldId="1424"/>
            <ac:spMk id="1041" creationId="{E2B29126-4D1D-436E-B4F0-09DF9CD6A75F}"/>
          </ac:spMkLst>
        </pc:spChg>
        <pc:grpChg chg="add mod">
          <ac:chgData name="Disselhoff, Tim" userId="3b8b5473-7050-4f60-8279-e72cc8538d43" providerId="ADAL" clId="{952E53DB-5978-46BA-964C-5B55B87B6690}" dt="2021-08-19T08:33:30.459" v="13020"/>
          <ac:grpSpMkLst>
            <pc:docMk/>
            <pc:sldMk cId="2535685321" sldId="1424"/>
            <ac:grpSpMk id="6" creationId="{3D13BE87-AE71-4181-9C40-AEA75778AD5C}"/>
          </ac:grpSpMkLst>
        </pc:grpChg>
        <pc:grpChg chg="del">
          <ac:chgData name="Disselhoff, Tim" userId="3b8b5473-7050-4f60-8279-e72cc8538d43" providerId="ADAL" clId="{952E53DB-5978-46BA-964C-5B55B87B6690}" dt="2021-08-18T16:06:46.845" v="10752" actId="165"/>
          <ac:grpSpMkLst>
            <pc:docMk/>
            <pc:sldMk cId="2535685321" sldId="1424"/>
            <ac:grpSpMk id="6" creationId="{C267B38D-B3F6-4816-92DD-3857B6E9F186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8" creationId="{51CB5670-EE3A-400D-AE59-99DA547646D2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9" creationId="{76BC0828-D448-4861-9806-96BBF27B3EE1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0" creationId="{D99F2DDE-F08B-4EB4-9B85-516A652FDCA6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4" creationId="{A43E4F5B-F11C-4A94-BE41-F00D5C23AEEE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5" creationId="{05478884-160C-419B-81A0-3951B4EA9DDF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6" creationId="{6569C144-B3E9-4C9F-9F9F-B30EEFF1135E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8" creationId="{D8D52534-E35E-4FE0-AF92-A6B5BD70118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9" creationId="{D4B3B856-3CB8-4EB4-A23F-750A185E3A2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1" creationId="{47C52FC8-F5D0-44A7-BB42-9F77AD4FF51D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40" creationId="{37AB0EBD-FC68-47BC-BCDE-00708884834E}"/>
          </ac:grpSpMkLst>
        </pc:grpChg>
        <pc:grpChg chg="add del mod">
          <ac:chgData name="Disselhoff, Tim" userId="3b8b5473-7050-4f60-8279-e72cc8538d43" providerId="ADAL" clId="{952E53DB-5978-46BA-964C-5B55B87B6690}" dt="2021-08-19T08:34:35.274" v="13029" actId="478"/>
          <ac:grpSpMkLst>
            <pc:docMk/>
            <pc:sldMk cId="2535685321" sldId="1424"/>
            <ac:grpSpMk id="44" creationId="{DCD0BB97-9857-4202-9612-E2C35335D567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92" creationId="{BEEC7DCF-0E88-4223-BF12-1ABE955E3A14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93" creationId="{2D742563-2A07-40D7-B998-DB702B3FD5B2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95" creationId="{795CA00F-DF54-4021-94BD-5EF86EBC881F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96" creationId="{F24AC082-7E46-44FA-88C0-97C074CE6381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16" creationId="{0AE7E91D-DE19-4D35-A0F1-F5A2113FBEE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17" creationId="{6E715F7C-0177-4EC0-8494-01F0803A956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36" creationId="{DBBF5FA3-0BA7-4A14-AC11-9AF8E8BD39D9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37" creationId="{13D138E2-B392-45D9-A24B-43AFF9831A42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39" creationId="{724D2B23-A098-470A-A77B-18CB02461DAB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40" creationId="{27280F92-46B0-4B0A-86D0-D2BC842C9F0B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60" creationId="{80AB31F1-2021-4181-BA74-399E2BFBDF8B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61" creationId="{489D2CC8-9BAF-49AF-A7B1-E88FC51134D0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81" creationId="{3080911A-A883-4C10-B9AF-597F85100F8D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182" creationId="{31F27DCB-D97E-484F-9441-5D1C933F555E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02" creationId="{BB44A379-3C60-46E3-9BFC-BBE183F774F1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03" creationId="{983772AF-EB7B-4DC2-AB89-4AF89F60FEC1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23" creationId="{2DA96181-499F-4ACF-8DDC-A65C694E5B17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24" creationId="{15744602-D56D-45C2-8573-97F9FD267A40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44" creationId="{48428891-A6D6-42D4-A0A5-79C60B1AB2A6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45" creationId="{E52E714F-5EE8-4FE8-BCB8-59DBD9CB26A0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65" creationId="{8711DBEB-140F-41FD-B9EB-0DDD39C6C447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66" creationId="{96B11A7B-A9B2-4331-90B5-4EE07782F65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86" creationId="{396F8AA0-BDF8-4DBA-84E9-223ED050BEEE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287" creationId="{5C6C42DA-9986-424D-BF29-5E09C4176482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06" creationId="{E992A2EC-308D-490C-A435-7473C9D1A488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07" creationId="{DE2A3E8E-F1A4-4588-8A15-313E0670F556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09" creationId="{1DEBCC30-2BDA-4BE0-9C34-9AF4B97961A7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10" creationId="{A6066DD2-4169-4D5D-82D1-65FEFBD30F93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30" creationId="{B2FD5241-7DF3-459E-A05B-A77433AF876A}"/>
          </ac:grpSpMkLst>
        </pc:grpChg>
        <pc:grpChg chg="mod">
          <ac:chgData name="Disselhoff, Tim" userId="3b8b5473-7050-4f60-8279-e72cc8538d43" providerId="ADAL" clId="{952E53DB-5978-46BA-964C-5B55B87B6690}" dt="2021-08-19T08:33:30.448" v="13019"/>
          <ac:grpSpMkLst>
            <pc:docMk/>
            <pc:sldMk cId="2535685321" sldId="1424"/>
            <ac:grpSpMk id="331" creationId="{0BF81806-FAB6-4BC8-A3A1-7B983AB59A96}"/>
          </ac:grpSpMkLst>
        </pc:grpChg>
        <pc:grpChg chg="add del mod">
          <ac:chgData name="Disselhoff, Tim" userId="3b8b5473-7050-4f60-8279-e72cc8538d43" providerId="ADAL" clId="{952E53DB-5978-46BA-964C-5B55B87B6690}" dt="2021-08-19T08:34:09.212" v="13025" actId="478"/>
          <ac:grpSpMkLst>
            <pc:docMk/>
            <pc:sldMk cId="2535685321" sldId="1424"/>
            <ac:grpSpMk id="360" creationId="{1A12F7AA-C173-4534-BFFB-081FE58D01BF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63" creationId="{D4E18D1D-64AC-40E9-8AD0-FE676990571D}"/>
          </ac:grpSpMkLst>
        </pc:grpChg>
        <pc:grpChg chg="del mod topLvl">
          <ac:chgData name="Disselhoff, Tim" userId="3b8b5473-7050-4f60-8279-e72cc8538d43" providerId="ADAL" clId="{952E53DB-5978-46BA-964C-5B55B87B6690}" dt="2021-08-19T08:48:22.165" v="13043" actId="478"/>
          <ac:grpSpMkLst>
            <pc:docMk/>
            <pc:sldMk cId="2535685321" sldId="1424"/>
            <ac:grpSpMk id="366" creationId="{ADD1861F-955A-47C0-A199-B30FAF33822F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79" creationId="{262E7265-9CD2-473B-83C1-4E52516C2D0A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80" creationId="{EB73DCEB-070A-4678-AD91-75F8D70C28B0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94" creationId="{07C263C7-022B-4AB0-A7FF-D9F4AB8BC2EA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95" creationId="{7AA3F02D-B274-4553-8BB2-12F379994958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96" creationId="{16795BEE-BD90-4E8E-86BD-41C598B5E53E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98" creationId="{CB7BAF14-CB43-4B85-A83E-819B90E3E4C5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399" creationId="{6B3F2E28-F94A-4F8C-8A9B-AB4742F121C0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00" creationId="{0928BC4F-DB53-45B1-BCEA-8A9355975FE1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01" creationId="{FAB26D60-169F-4CFA-97C4-5D5548D95879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20" creationId="{D94EF419-9B71-4B1B-A90B-AB2FA78959DC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24" creationId="{E1237FE6-0017-477B-AD85-75FF2B446CE5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25" creationId="{13DD8A1D-1E33-43C1-A83C-F864E034FA2A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27" creationId="{8BD12E93-2DBD-4527-A637-8A44D1F8C3BD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28" creationId="{D8012D97-F5CD-40ED-9D61-65DB7B9C0026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48" creationId="{F8A11D77-5967-4ABA-B1FB-5B5303451AF6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49" creationId="{88CB59A9-17D0-4FF9-94E3-D93966BD0239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68" creationId="{908D809D-026D-4E47-BFDC-D57BE2F7DD0B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69" creationId="{4E530991-847D-4EDE-8D7E-077B588F056C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71" creationId="{28896ACC-FEA8-475C-AE7F-43D7C25D3D3E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72" creationId="{C6C0DC91-55F9-48E3-9B04-037E4DD8955E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92" creationId="{BB36CF1A-45D7-4E88-83F5-9FE1CF424F4A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493" creationId="{873B2D3D-93DE-4F77-A266-B607BDAE56E2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13" creationId="{54908C8C-9E70-415E-8799-3A9BC2D3F8F8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14" creationId="{5B4AD2C3-8E57-4FAB-86CE-4A1BA9CDD2F9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34" creationId="{E672CEEC-5D7E-4A4B-8295-DCC63E0A6AF1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35" creationId="{31BEC1F1-BD69-45DE-9636-5EB8C21B090E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55" creationId="{F77A769C-4866-455F-B7D1-EA7A6F749573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56" creationId="{778EEEB2-78B7-4F7D-8A70-A864EDF67B45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76" creationId="{0EBE0D25-A562-49CF-AE13-BE3880FCDB97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77" creationId="{DE0E644F-164A-4062-8F78-F763492121A7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97" creationId="{06507D42-7EDE-4EFA-B1A8-6B9DDE163866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598" creationId="{3B35A597-0C11-4474-A832-934CFAC92E55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18" creationId="{E6024842-FFFE-46EE-82B1-386A65C0D8BF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19" creationId="{13B1DDA1-0D02-4F0C-B601-DCF699D58696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38" creationId="{5285FF2A-8078-4EC4-BF1C-FD010A546B11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39" creationId="{9FAC2FEE-6724-4E8A-9953-2986CEFD0CA2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41" creationId="{7CCAB91E-1432-481B-9223-F8BC5A3A1C09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42" creationId="{91CD8111-D0B7-44E3-A528-4B52D3D94AFE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62" creationId="{9EB318F2-3C62-4EE9-B368-51AB67BCB941}"/>
          </ac:grpSpMkLst>
        </pc:grpChg>
        <pc:grpChg chg="mod">
          <ac:chgData name="Disselhoff, Tim" userId="3b8b5473-7050-4f60-8279-e72cc8538d43" providerId="ADAL" clId="{952E53DB-5978-46BA-964C-5B55B87B6690}" dt="2021-08-19T08:33:30.508" v="13023"/>
          <ac:grpSpMkLst>
            <pc:docMk/>
            <pc:sldMk cId="2535685321" sldId="1424"/>
            <ac:grpSpMk id="663" creationId="{7901394C-66DC-4319-93ED-22AC56B647AA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693" creationId="{01AECB3C-BD0F-437E-B01A-3B0C17658E12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699" creationId="{A2490EF2-451C-4142-BCF9-25E3B9FFBB67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05" creationId="{868350CE-56C8-4927-8955-69912F7B19C8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06" creationId="{B0AAD7A4-BD8E-406A-B2B2-FD2046190FEF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07" creationId="{04FA1B72-A7ED-4136-BA80-AA731AE2D7C9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09" creationId="{C69CFDD3-E9E3-45EA-9B4A-B713009A68BF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10" creationId="{64438A9B-98BC-4E5A-B17A-31AEAF932A34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30" creationId="{3E5D6CBF-0C3D-4310-8A9E-7692BD755D07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31" creationId="{83C8A4FC-758C-4CA6-884E-9425C9F333BD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53" creationId="{AAC1C6B7-3463-48BA-9EF8-C5457B796630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55" creationId="{93BDABD9-BE5C-48D5-A652-B6E48093536B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56" creationId="{B29DB016-831C-4DFE-BAA8-BB6739B7DEBE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75" creationId="{884803CD-DA02-4056-87B4-EAE7188E9D8C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77" creationId="{727A2EC9-6B24-4B06-AF76-50E64B3C4711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78" creationId="{1CB25EF9-C420-4A95-AAD8-562188B400E2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97" creationId="{1E595DD8-7201-4607-9C94-F47434B5346E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799" creationId="{F36ADF2B-4883-4D03-9FED-7958BF109F62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00" creationId="{1A9568C1-BF01-438E-8D65-2B28F7DB9157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20" creationId="{104DA53A-00B6-43A3-B702-B9EB94396887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22" creationId="{AD88A02A-2E97-443F-9D5D-914100C3C1E1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23" creationId="{05EBA102-24A6-4570-8A7A-AD1A855B7D44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42" creationId="{4C763ADA-14B0-4450-BBE2-23799F557D1B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44" creationId="{5A9C7AE9-DA22-4780-B402-A83A1EFC1402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45" creationId="{CF437567-D252-4CEA-9315-F68C66842982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64" creationId="{B3483C24-0D2A-461D-8B73-9FEB07E9B99F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66" creationId="{E1D00B5E-ABC4-442E-BDE5-C2050BC42A4B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67" creationId="{4DC7D4D2-4FB6-4A89-A9F7-3F0F663641C5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86" creationId="{24B97868-7FB8-4CA9-A63E-448D4605C7CA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87" creationId="{DEBAF9A3-23CD-4FEA-A007-387DC4EDD15E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88" creationId="{6BF620DA-7243-4EA2-8998-526A9B671BF2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90" creationId="{D8E4B9C3-4D35-4C5B-9448-DF4BC84E7D09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891" creationId="{FF6D02B5-388B-4E34-B473-632F1091CBA1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11" creationId="{2C3F244F-907E-4F12-9DF3-DE326D7A4DF7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12" creationId="{0B4BEE9E-A02F-4549-9616-705DA6058934}"/>
          </ac:grpSpMkLst>
        </pc:grpChg>
        <pc:grpChg chg="add 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48" creationId="{8635B31B-1E4B-4C58-BE61-4CEAAF5EA477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49" creationId="{E6EB7F0F-4A98-4518-929F-985FD83D69D3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50" creationId="{DE0ED98F-BD43-4581-AB1D-B153927EC2A3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52" creationId="{E19FE67B-4032-4962-A93E-298176189DA8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53" creationId="{3408C8FB-607C-4677-81F8-57C19961FA57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73" creationId="{1411B0AF-8388-40C6-9E9A-487F55F3DEE2}"/>
          </ac:grpSpMkLst>
        </pc:grpChg>
        <pc:grpChg chg="mod">
          <ac:chgData name="Disselhoff, Tim" userId="3b8b5473-7050-4f60-8279-e72cc8538d43" providerId="ADAL" clId="{952E53DB-5978-46BA-964C-5B55B87B6690}" dt="2021-08-19T08:34:33.487" v="13028" actId="1076"/>
          <ac:grpSpMkLst>
            <pc:docMk/>
            <pc:sldMk cId="2535685321" sldId="1424"/>
            <ac:grpSpMk id="974" creationId="{7D705EFC-A7F8-40F8-BD67-E28033E7AAFE}"/>
          </ac:grpSpMkLst>
        </pc:grpChg>
        <pc:grpChg chg="add del mod">
          <ac:chgData name="Disselhoff, Tim" userId="3b8b5473-7050-4f60-8279-e72cc8538d43" providerId="ADAL" clId="{952E53DB-5978-46BA-964C-5B55B87B6690}" dt="2021-08-19T08:48:01.504" v="13037" actId="478"/>
          <ac:grpSpMkLst>
            <pc:docMk/>
            <pc:sldMk cId="2535685321" sldId="1424"/>
            <ac:grpSpMk id="996" creationId="{9D4FCE53-490D-46D7-8C99-962D588F138B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997" creationId="{C623F594-A7B7-4320-AA19-682C88690BF6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998" creationId="{A7BC9F51-B0FF-460B-80D0-5BFD7084FE24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1000" creationId="{AFDEFE0F-EB53-4971-9F1E-1E2B05588001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1001" creationId="{C02D6916-DD70-4C2B-8D8D-4BB69A50EDD6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1021" creationId="{62CA2143-9958-4CAB-A019-35DB956F9FC3}"/>
          </ac:grpSpMkLst>
        </pc:grpChg>
        <pc:grpChg chg="mod">
          <ac:chgData name="Disselhoff, Tim" userId="3b8b5473-7050-4f60-8279-e72cc8538d43" providerId="ADAL" clId="{952E53DB-5978-46BA-964C-5B55B87B6690}" dt="2021-08-19T08:34:14.394" v="13026"/>
          <ac:grpSpMkLst>
            <pc:docMk/>
            <pc:sldMk cId="2535685321" sldId="1424"/>
            <ac:grpSpMk id="1022" creationId="{5DCC30BB-9244-4F54-832E-97EE84868902}"/>
          </ac:grpSpMkLst>
        </pc:grpChg>
        <pc:graphicFrameChg chg="mod">
          <ac:chgData name="Disselhoff, Tim" userId="3b8b5473-7050-4f60-8279-e72cc8538d43" providerId="ADAL" clId="{952E53DB-5978-46BA-964C-5B55B87B6690}" dt="2021-08-19T12:20:09.061" v="13588"/>
          <ac:graphicFrameMkLst>
            <pc:docMk/>
            <pc:sldMk cId="2535685321" sldId="1424"/>
            <ac:graphicFrameMk id="365" creationId="{E60950EF-D161-4F96-83E4-B88E961AACA8}"/>
          </ac:graphicFrameMkLst>
        </pc:graphicFrame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4" creationId="{419302A9-1EAB-44D0-9A8C-B8BA254A1FF4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5" creationId="{C5D31BB3-E7D4-49B3-AEA7-B234B176C68E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6" creationId="{C0A3CEBE-1BE0-470F-92DB-31D74BC42461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7" creationId="{22B18F9A-52CA-4DBD-ADFF-862B4FECC0FC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8" creationId="{E5D3A9AF-B414-41F3-98B9-3F23CF1707B9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29" creationId="{33F943F0-AF0A-4E4A-B68C-C6D31D1ECCD4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30" creationId="{DB2E3063-4C91-4F5A-AFC8-DF9C6DCB02FE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31" creationId="{C72C8E0F-29A8-4DB5-A5DE-011EB8D3185E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32" creationId="{5945F2F8-D599-4F60-A753-DAE1AB0C06C8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33" creationId="{21C550AD-1E26-4E15-9D9D-DB64E5CDB215}"/>
          </ac:cxnSpMkLst>
        </pc:cxnChg>
        <pc:cxnChg chg="mod">
          <ac:chgData name="Disselhoff, Tim" userId="3b8b5473-7050-4f60-8279-e72cc8538d43" providerId="ADAL" clId="{952E53DB-5978-46BA-964C-5B55B87B6690}" dt="2021-08-19T08:33:30.448" v="13019"/>
          <ac:cxnSpMkLst>
            <pc:docMk/>
            <pc:sldMk cId="2535685321" sldId="1424"/>
            <ac:cxnSpMk id="43" creationId="{1AC0A2C5-4B94-40F9-88E2-D3C10215517A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3" creationId="{75D051AE-69B3-485A-90E9-481197F76B2C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4" creationId="{4389694F-5933-44A8-90BF-BF7F66E6DB97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5" creationId="{ACDA25C9-DF4C-42DC-A671-47F7E55B7E7A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6" creationId="{02128AD2-7349-4049-8F98-F70596C53F72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7" creationId="{84F97F56-4D38-4C1A-9983-D2D9A549EF6D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8" creationId="{56FCA376-5F87-49E5-A204-AD1EC17111EC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09" creationId="{A9F62F68-4ADD-4A52-9E25-157F86C2C896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10" creationId="{C0E93B12-65B5-4DCB-A07D-57C877890E44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11" creationId="{0BC5D613-2AA3-4CF6-A27B-FE2710B0DF58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13" creationId="{B01BA403-09ED-40F9-AC0D-09C61AFAF7FF}"/>
          </ac:cxnSpMkLst>
        </pc:cxnChg>
        <pc:cxnChg chg="mod">
          <ac:chgData name="Disselhoff, Tim" userId="3b8b5473-7050-4f60-8279-e72cc8538d43" providerId="ADAL" clId="{952E53DB-5978-46BA-964C-5B55B87B6690}" dt="2021-08-19T08:33:30.508" v="13023"/>
          <ac:cxnSpMkLst>
            <pc:docMk/>
            <pc:sldMk cId="2535685321" sldId="1424"/>
            <ac:cxnSpMk id="423" creationId="{4B3F1DAF-A971-4ABB-AC86-2E1CCCBF4420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2" creationId="{3A04EEA3-258C-4020-81D9-B2FE99C701A1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3" creationId="{7C7B6871-0E4C-4930-8014-51FCA0895F10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4" creationId="{4F8580FE-2A68-4050-A613-36CF5BAC7365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5" creationId="{30CF4B06-97DF-40A5-9192-C6B3C751C493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6" creationId="{0D644CED-10E0-4A98-9181-7715FC820015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7" creationId="{73EF9414-AA28-46D3-8798-5F9D7B6878F0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8" creationId="{D8359692-398E-402A-807A-1E7D4563B432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39" creationId="{5C6A5217-B9C8-42C4-9B78-590F8F530ED7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40" creationId="{BD67FF70-D337-4912-B82E-08530A1BE898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41" creationId="{56753139-3E13-450B-8EC8-0CCA61BFAAC5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995" creationId="{37B4DFA6-9AE8-4E33-8D3A-961ADD188B79}"/>
          </ac:cxnSpMkLst>
        </pc:cxnChg>
        <pc:cxnChg chg="add mod">
          <ac:chgData name="Disselhoff, Tim" userId="3b8b5473-7050-4f60-8279-e72cc8538d43" providerId="ADAL" clId="{952E53DB-5978-46BA-964C-5B55B87B6690}" dt="2021-08-19T08:34:33.487" v="13028" actId="1076"/>
          <ac:cxnSpMkLst>
            <pc:docMk/>
            <pc:sldMk cId="2535685321" sldId="1424"/>
            <ac:cxnSpMk id="1042" creationId="{DE6EFC2F-6EE5-42A3-AEB3-031E773FA866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2:29:28.666" v="14624"/>
        <pc:sldMkLst>
          <pc:docMk/>
          <pc:sldMk cId="2858047415" sldId="1425"/>
        </pc:sldMkLst>
        <pc:spChg chg="del">
          <ac:chgData name="Disselhoff, Tim" userId="3b8b5473-7050-4f60-8279-e72cc8538d43" providerId="ADAL" clId="{952E53DB-5978-46BA-964C-5B55B87B6690}" dt="2021-08-19T12:29:27.940" v="14621" actId="478"/>
          <ac:spMkLst>
            <pc:docMk/>
            <pc:sldMk cId="2858047415" sldId="1425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2:29:27.940" v="14621" actId="478"/>
          <ac:spMkLst>
            <pc:docMk/>
            <pc:sldMk cId="2858047415" sldId="1425"/>
            <ac:spMk id="3" creationId="{2FDD4A1F-9D2E-4B37-BAC5-03B407488B8F}"/>
          </ac:spMkLst>
        </pc:spChg>
        <pc:spChg chg="add del mod">
          <ac:chgData name="Disselhoff, Tim" userId="3b8b5473-7050-4f60-8279-e72cc8538d43" providerId="ADAL" clId="{952E53DB-5978-46BA-964C-5B55B87B6690}" dt="2021-08-19T12:24:49.086" v="13930" actId="478"/>
          <ac:spMkLst>
            <pc:docMk/>
            <pc:sldMk cId="2858047415" sldId="1425"/>
            <ac:spMk id="360" creationId="{B231D23D-751F-4F0F-9CA8-E5E395A1160A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62" creationId="{752FC1DA-4C19-4013-9DF2-81DC1022D71A}"/>
          </ac:spMkLst>
        </pc:spChg>
        <pc:spChg chg="add del mod">
          <ac:chgData name="Disselhoff, Tim" userId="3b8b5473-7050-4f60-8279-e72cc8538d43" providerId="ADAL" clId="{952E53DB-5978-46BA-964C-5B55B87B6690}" dt="2021-08-19T12:24:49.086" v="13930" actId="478"/>
          <ac:spMkLst>
            <pc:docMk/>
            <pc:sldMk cId="2858047415" sldId="1425"/>
            <ac:spMk id="362" creationId="{F8429839-EAD5-45EA-88E8-B840B4C3F719}"/>
          </ac:spMkLst>
        </pc:spChg>
        <pc:spChg chg="add mod">
          <ac:chgData name="Disselhoff, Tim" userId="3b8b5473-7050-4f60-8279-e72cc8538d43" providerId="ADAL" clId="{952E53DB-5978-46BA-964C-5B55B87B6690}" dt="2021-08-19T12:29:28.666" v="14624"/>
          <ac:spMkLst>
            <pc:docMk/>
            <pc:sldMk cId="2858047415" sldId="1425"/>
            <ac:spMk id="363" creationId="{B5FD6AFF-F7D9-4C07-9734-6798191750BD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63" creationId="{EDDD1F26-F9D8-4D9E-BA37-1B15C600929D}"/>
          </ac:spMkLst>
        </pc:spChg>
        <pc:spChg chg="add mod">
          <ac:chgData name="Disselhoff, Tim" userId="3b8b5473-7050-4f60-8279-e72cc8538d43" providerId="ADAL" clId="{952E53DB-5978-46BA-964C-5B55B87B6690}" dt="2021-08-19T12:29:28.666" v="14624"/>
          <ac:spMkLst>
            <pc:docMk/>
            <pc:sldMk cId="2858047415" sldId="1425"/>
            <ac:spMk id="379" creationId="{D2F24152-9D59-4548-828E-5C5F56DE354C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91" creationId="{E81565A6-186A-4412-9E42-5AE5F73B4AE2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93" creationId="{14B04545-E8B6-4EB0-81FF-0ED0C695DA7A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94" creationId="{AE933118-328F-4F44-817D-02F486C92D5B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95" creationId="{B7C80E8D-2FB3-4967-8033-EA8E43D6FAC2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399" creationId="{29F8AE9E-5F8A-48B7-99FC-48283AEB4DE3}"/>
          </ac:spMkLst>
        </pc:spChg>
        <pc:spChg chg="del">
          <ac:chgData name="Disselhoff, Tim" userId="3b8b5473-7050-4f60-8279-e72cc8538d43" providerId="ADAL" clId="{952E53DB-5978-46BA-964C-5B55B87B6690}" dt="2021-08-18T16:08:11.934" v="10774" actId="478"/>
          <ac:spMkLst>
            <pc:docMk/>
            <pc:sldMk cId="2858047415" sldId="1425"/>
            <ac:spMk id="402" creationId="{D45B3FE9-1E70-4A86-BEF9-3593EB8AF8A2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405" creationId="{6D6A43E9-171A-4B5F-B5C6-AF90CD441EA7}"/>
          </ac:spMkLst>
        </pc:spChg>
        <pc:spChg chg="del">
          <ac:chgData name="Disselhoff, Tim" userId="3b8b5473-7050-4f60-8279-e72cc8538d43" providerId="ADAL" clId="{952E53DB-5978-46BA-964C-5B55B87B6690}" dt="2021-08-18T16:08:09.643" v="10773" actId="478"/>
          <ac:spMkLst>
            <pc:docMk/>
            <pc:sldMk cId="2858047415" sldId="1425"/>
            <ac:spMk id="407" creationId="{4E05ACF2-3E18-44AB-B06F-CB6B4CEC3412}"/>
          </ac:spMkLst>
        </pc:spChg>
        <pc:graphicFrameChg chg="mod">
          <ac:chgData name="Disselhoff, Tim" userId="3b8b5473-7050-4f60-8279-e72cc8538d43" providerId="ADAL" clId="{952E53DB-5978-46BA-964C-5B55B87B6690}" dt="2021-08-19T12:29:28.500" v="14623"/>
          <ac:graphicFrameMkLst>
            <pc:docMk/>
            <pc:sldMk cId="2858047415" sldId="1425"/>
            <ac:graphicFrameMk id="365" creationId="{E60950EF-D161-4F96-83E4-B88E961AACA8}"/>
          </ac:graphicFrameMkLst>
        </pc:graphicFrameChg>
      </pc:sldChg>
      <pc:sldChg chg="addSp delSp modSp add mod">
        <pc:chgData name="Disselhoff, Tim" userId="3b8b5473-7050-4f60-8279-e72cc8538d43" providerId="ADAL" clId="{952E53DB-5978-46BA-964C-5B55B87B6690}" dt="2021-08-19T14:23:26.357" v="17013"/>
        <pc:sldMkLst>
          <pc:docMk/>
          <pc:sldMk cId="258330131" sldId="1426"/>
        </pc:sldMkLst>
        <pc:spChg chg="del">
          <ac:chgData name="Disselhoff, Tim" userId="3b8b5473-7050-4f60-8279-e72cc8538d43" providerId="ADAL" clId="{952E53DB-5978-46BA-964C-5B55B87B6690}" dt="2021-08-19T14:23:25.671" v="17010" actId="478"/>
          <ac:spMkLst>
            <pc:docMk/>
            <pc:sldMk cId="258330131" sldId="1426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4:23:25.671" v="17010" actId="478"/>
          <ac:spMkLst>
            <pc:docMk/>
            <pc:sldMk cId="258330131" sldId="1426"/>
            <ac:spMk id="3" creationId="{2FDD4A1F-9D2E-4B37-BAC5-03B407488B8F}"/>
          </ac:spMkLst>
        </pc:spChg>
        <pc:spChg chg="add del mod">
          <ac:chgData name="Disselhoff, Tim" userId="3b8b5473-7050-4f60-8279-e72cc8538d43" providerId="ADAL" clId="{952E53DB-5978-46BA-964C-5B55B87B6690}" dt="2021-08-19T14:15:04.603" v="15845" actId="478"/>
          <ac:spMkLst>
            <pc:docMk/>
            <pc:sldMk cId="258330131" sldId="1426"/>
            <ac:spMk id="360" creationId="{9ED45383-3706-44EC-8832-67EB23A26750}"/>
          </ac:spMkLst>
        </pc:spChg>
        <pc:spChg chg="add del mod">
          <ac:chgData name="Disselhoff, Tim" userId="3b8b5473-7050-4f60-8279-e72cc8538d43" providerId="ADAL" clId="{952E53DB-5978-46BA-964C-5B55B87B6690}" dt="2021-08-19T14:15:04.603" v="15845" actId="478"/>
          <ac:spMkLst>
            <pc:docMk/>
            <pc:sldMk cId="258330131" sldId="1426"/>
            <ac:spMk id="379" creationId="{3ADFACBD-F20B-4E67-8A19-DB5538DECA99}"/>
          </ac:spMkLst>
        </pc:spChg>
        <pc:spChg chg="add mod">
          <ac:chgData name="Disselhoff, Tim" userId="3b8b5473-7050-4f60-8279-e72cc8538d43" providerId="ADAL" clId="{952E53DB-5978-46BA-964C-5B55B87B6690}" dt="2021-08-19T14:23:26.357" v="17013"/>
          <ac:spMkLst>
            <pc:docMk/>
            <pc:sldMk cId="258330131" sldId="1426"/>
            <ac:spMk id="380" creationId="{F5056441-CC39-4F88-B6FC-CAF274483122}"/>
          </ac:spMkLst>
        </pc:spChg>
        <pc:spChg chg="add mod">
          <ac:chgData name="Disselhoff, Tim" userId="3b8b5473-7050-4f60-8279-e72cc8538d43" providerId="ADAL" clId="{952E53DB-5978-46BA-964C-5B55B87B6690}" dt="2021-08-19T14:23:26.357" v="17013"/>
          <ac:spMkLst>
            <pc:docMk/>
            <pc:sldMk cId="258330131" sldId="1426"/>
            <ac:spMk id="391" creationId="{49DB61C1-FA58-4E8B-9523-C2E240A2A294}"/>
          </ac:spMkLst>
        </pc:spChg>
        <pc:spChg chg="del">
          <ac:chgData name="Disselhoff, Tim" userId="3b8b5473-7050-4f60-8279-e72cc8538d43" providerId="ADAL" clId="{952E53DB-5978-46BA-964C-5B55B87B6690}" dt="2021-08-18T16:09:02.812" v="10784" actId="478"/>
          <ac:spMkLst>
            <pc:docMk/>
            <pc:sldMk cId="258330131" sldId="1426"/>
            <ac:spMk id="391" creationId="{E81565A6-186A-4412-9E42-5AE5F73B4AE2}"/>
          </ac:spMkLst>
        </pc:spChg>
        <pc:spChg chg="del">
          <ac:chgData name="Disselhoff, Tim" userId="3b8b5473-7050-4f60-8279-e72cc8538d43" providerId="ADAL" clId="{952E53DB-5978-46BA-964C-5B55B87B6690}" dt="2021-08-18T16:09:02.812" v="10784" actId="478"/>
          <ac:spMkLst>
            <pc:docMk/>
            <pc:sldMk cId="258330131" sldId="1426"/>
            <ac:spMk id="393" creationId="{14B04545-E8B6-4EB0-81FF-0ED0C695DA7A}"/>
          </ac:spMkLst>
        </pc:spChg>
        <pc:spChg chg="del">
          <ac:chgData name="Disselhoff, Tim" userId="3b8b5473-7050-4f60-8279-e72cc8538d43" providerId="ADAL" clId="{952E53DB-5978-46BA-964C-5B55B87B6690}" dt="2021-08-18T16:09:02.812" v="10784" actId="478"/>
          <ac:spMkLst>
            <pc:docMk/>
            <pc:sldMk cId="258330131" sldId="1426"/>
            <ac:spMk id="405" creationId="{6D6A43E9-171A-4B5F-B5C6-AF90CD441EA7}"/>
          </ac:spMkLst>
        </pc:spChg>
        <pc:spChg chg="del">
          <ac:chgData name="Disselhoff, Tim" userId="3b8b5473-7050-4f60-8279-e72cc8538d43" providerId="ADAL" clId="{952E53DB-5978-46BA-964C-5B55B87B6690}" dt="2021-08-18T16:09:02.812" v="10784" actId="478"/>
          <ac:spMkLst>
            <pc:docMk/>
            <pc:sldMk cId="258330131" sldId="1426"/>
            <ac:spMk id="407" creationId="{4E05ACF2-3E18-44AB-B06F-CB6B4CEC3412}"/>
          </ac:spMkLst>
        </pc:spChg>
        <pc:graphicFrameChg chg="mod">
          <ac:chgData name="Disselhoff, Tim" userId="3b8b5473-7050-4f60-8279-e72cc8538d43" providerId="ADAL" clId="{952E53DB-5978-46BA-964C-5B55B87B6690}" dt="2021-08-19T14:23:26.263" v="17012"/>
          <ac:graphicFrameMkLst>
            <pc:docMk/>
            <pc:sldMk cId="258330131" sldId="1426"/>
            <ac:graphicFrameMk id="365" creationId="{E60950EF-D161-4F96-83E4-B88E961AACA8}"/>
          </ac:graphicFrameMkLst>
        </pc:graphicFrameChg>
      </pc:sldChg>
      <pc:sldChg chg="addSp delSp modSp add mod">
        <pc:chgData name="Disselhoff, Tim" userId="3b8b5473-7050-4f60-8279-e72cc8538d43" providerId="ADAL" clId="{952E53DB-5978-46BA-964C-5B55B87B6690}" dt="2021-08-19T15:53:06.079" v="17475"/>
        <pc:sldMkLst>
          <pc:docMk/>
          <pc:sldMk cId="2286565448" sldId="1427"/>
        </pc:sldMkLst>
        <pc:spChg chg="del">
          <ac:chgData name="Disselhoff, Tim" userId="3b8b5473-7050-4f60-8279-e72cc8538d43" providerId="ADAL" clId="{952E53DB-5978-46BA-964C-5B55B87B6690}" dt="2021-08-19T15:53:05.115" v="17472" actId="478"/>
          <ac:spMkLst>
            <pc:docMk/>
            <pc:sldMk cId="2286565448" sldId="1427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5:53:05.115" v="17472" actId="478"/>
          <ac:spMkLst>
            <pc:docMk/>
            <pc:sldMk cId="2286565448" sldId="1427"/>
            <ac:spMk id="3" creationId="{2FDD4A1F-9D2E-4B37-BAC5-03B407488B8F}"/>
          </ac:spMkLst>
        </pc:spChg>
        <pc:spChg chg="add mod">
          <ac:chgData name="Disselhoff, Tim" userId="3b8b5473-7050-4f60-8279-e72cc8538d43" providerId="ADAL" clId="{952E53DB-5978-46BA-964C-5B55B87B6690}" dt="2021-08-19T15:53:06.079" v="17475"/>
          <ac:spMkLst>
            <pc:docMk/>
            <pc:sldMk cId="2286565448" sldId="1427"/>
            <ac:spMk id="360" creationId="{7E6AEF8E-D9C2-485A-B898-5AF7CE82DF12}"/>
          </ac:spMkLst>
        </pc:spChg>
        <pc:spChg chg="add mod">
          <ac:chgData name="Disselhoff, Tim" userId="3b8b5473-7050-4f60-8279-e72cc8538d43" providerId="ADAL" clId="{952E53DB-5978-46BA-964C-5B55B87B6690}" dt="2021-08-19T15:53:06.079" v="17475"/>
          <ac:spMkLst>
            <pc:docMk/>
            <pc:sldMk cId="2286565448" sldId="1427"/>
            <ac:spMk id="379" creationId="{48580647-36AC-421E-9E5A-485357D59E1B}"/>
          </ac:spMkLst>
        </pc:spChg>
        <pc:graphicFrameChg chg="mod">
          <ac:chgData name="Disselhoff, Tim" userId="3b8b5473-7050-4f60-8279-e72cc8538d43" providerId="ADAL" clId="{952E53DB-5978-46BA-964C-5B55B87B6690}" dt="2021-08-19T15:53:05.690" v="17474"/>
          <ac:graphicFrameMkLst>
            <pc:docMk/>
            <pc:sldMk cId="2286565448" sldId="1427"/>
            <ac:graphicFrameMk id="365" creationId="{E60950EF-D161-4F96-83E4-B88E961AACA8}"/>
          </ac:graphicFrameMkLst>
        </pc:graphicFrameChg>
      </pc:sldChg>
      <pc:sldChg chg="addSp delSp modSp add mod ord">
        <pc:chgData name="Disselhoff, Tim" userId="3b8b5473-7050-4f60-8279-e72cc8538d43" providerId="ADAL" clId="{952E53DB-5978-46BA-964C-5B55B87B6690}" dt="2021-08-19T12:29:36.765" v="14672"/>
        <pc:sldMkLst>
          <pc:docMk/>
          <pc:sldMk cId="3358334299" sldId="1428"/>
        </pc:sldMkLst>
        <pc:spChg chg="del">
          <ac:chgData name="Disselhoff, Tim" userId="3b8b5473-7050-4f60-8279-e72cc8538d43" providerId="ADAL" clId="{952E53DB-5978-46BA-964C-5B55B87B6690}" dt="2021-08-19T12:29:36.105" v="14629" actId="478"/>
          <ac:spMkLst>
            <pc:docMk/>
            <pc:sldMk cId="3358334299" sldId="1428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2:29:36.105" v="14629" actId="478"/>
          <ac:spMkLst>
            <pc:docMk/>
            <pc:sldMk cId="3358334299" sldId="1428"/>
            <ac:spMk id="3" creationId="{2FDD4A1F-9D2E-4B37-BAC5-03B407488B8F}"/>
          </ac:spMkLst>
        </pc:spChg>
        <pc:spChg chg="add del mod modVis">
          <ac:chgData name="Disselhoff, Tim" userId="3b8b5473-7050-4f60-8279-e72cc8538d43" providerId="ADAL" clId="{952E53DB-5978-46BA-964C-5B55B87B6690}" dt="2021-08-19T12:29:36.745" v="14670"/>
          <ac:spMkLst>
            <pc:docMk/>
            <pc:sldMk cId="3358334299" sldId="1428"/>
            <ac:spMk id="6" creationId="{903C8D68-4B19-4DD9-8F93-B69A802F3830}"/>
          </ac:spMkLst>
        </pc:spChg>
        <pc:spChg chg="add mod">
          <ac:chgData name="Disselhoff, Tim" userId="3b8b5473-7050-4f60-8279-e72cc8538d43" providerId="ADAL" clId="{952E53DB-5978-46BA-964C-5B55B87B6690}" dt="2021-08-19T12:29:36.290" v="14630"/>
          <ac:spMkLst>
            <pc:docMk/>
            <pc:sldMk cId="3358334299" sldId="1428"/>
            <ac:spMk id="360" creationId="{E4E3883A-9E71-4797-BB86-8A86CB20A8EA}"/>
          </ac:spMkLst>
        </pc:spChg>
        <pc:spChg chg="add mod">
          <ac:chgData name="Disselhoff, Tim" userId="3b8b5473-7050-4f60-8279-e72cc8538d43" providerId="ADAL" clId="{952E53DB-5978-46BA-964C-5B55B87B6690}" dt="2021-08-19T12:29:36.672" v="14631" actId="948"/>
          <ac:spMkLst>
            <pc:docMk/>
            <pc:sldMk cId="3358334299" sldId="1428"/>
            <ac:spMk id="362" creationId="{0AF75797-5E43-48EC-98BF-CC2A4F2176D2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62" creationId="{752FC1DA-4C19-4013-9DF2-81DC1022D71A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91" creationId="{E81565A6-186A-4412-9E42-5AE5F73B4AE2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93" creationId="{14B04545-E8B6-4EB0-81FF-0ED0C695DA7A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94" creationId="{AE933118-328F-4F44-817D-02F486C92D5B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95" creationId="{B7C80E8D-2FB3-4967-8033-EA8E43D6FAC2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399" creationId="{29F8AE9E-5F8A-48B7-99FC-48283AEB4DE3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405" creationId="{6D6A43E9-171A-4B5F-B5C6-AF90CD441EA7}"/>
          </ac:spMkLst>
        </pc:spChg>
        <pc:spChg chg="del">
          <ac:chgData name="Disselhoff, Tim" userId="3b8b5473-7050-4f60-8279-e72cc8538d43" providerId="ADAL" clId="{952E53DB-5978-46BA-964C-5B55B87B6690}" dt="2021-08-18T16:08:30.263" v="10776" actId="478"/>
          <ac:spMkLst>
            <pc:docMk/>
            <pc:sldMk cId="3358334299" sldId="1428"/>
            <ac:spMk id="407" creationId="{4E05ACF2-3E18-44AB-B06F-CB6B4CEC3412}"/>
          </ac:spMkLst>
        </pc:spChg>
        <pc:graphicFrameChg chg="mod">
          <ac:chgData name="Disselhoff, Tim" userId="3b8b5473-7050-4f60-8279-e72cc8538d43" providerId="ADAL" clId="{952E53DB-5978-46BA-964C-5B55B87B6690}" dt="2021-08-19T12:29:36.765" v="14672"/>
          <ac:graphicFrameMkLst>
            <pc:docMk/>
            <pc:sldMk cId="3358334299" sldId="1428"/>
            <ac:graphicFrameMk id="365" creationId="{E60950EF-D161-4F96-83E4-B88E961AACA8}"/>
          </ac:graphicFrameMkLst>
        </pc:graphicFrameChg>
      </pc:sldChg>
      <pc:sldChg chg="addSp delSp modSp add mod ord">
        <pc:chgData name="Disselhoff, Tim" userId="3b8b5473-7050-4f60-8279-e72cc8538d43" providerId="ADAL" clId="{952E53DB-5978-46BA-964C-5B55B87B6690}" dt="2021-08-19T14:23:16.002" v="17005"/>
        <pc:sldMkLst>
          <pc:docMk/>
          <pc:sldMk cId="1974812253" sldId="1429"/>
        </pc:sldMkLst>
        <pc:spChg chg="del">
          <ac:chgData name="Disselhoff, Tim" userId="3b8b5473-7050-4f60-8279-e72cc8538d43" providerId="ADAL" clId="{952E53DB-5978-46BA-964C-5B55B87B6690}" dt="2021-08-19T14:23:15.033" v="17002" actId="478"/>
          <ac:spMkLst>
            <pc:docMk/>
            <pc:sldMk cId="1974812253" sldId="1429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4:23:15.033" v="17002" actId="478"/>
          <ac:spMkLst>
            <pc:docMk/>
            <pc:sldMk cId="1974812253" sldId="1429"/>
            <ac:spMk id="3" creationId="{2FDD4A1F-9D2E-4B37-BAC5-03B407488B8F}"/>
          </ac:spMkLst>
        </pc:spChg>
        <pc:spChg chg="add mod">
          <ac:chgData name="Disselhoff, Tim" userId="3b8b5473-7050-4f60-8279-e72cc8538d43" providerId="ADAL" clId="{952E53DB-5978-46BA-964C-5B55B87B6690}" dt="2021-08-19T14:23:16.002" v="17005"/>
          <ac:spMkLst>
            <pc:docMk/>
            <pc:sldMk cId="1974812253" sldId="1429"/>
            <ac:spMk id="360" creationId="{A011C98E-5454-40EC-94B9-E3BDF12CF91C}"/>
          </ac:spMkLst>
        </pc:spChg>
        <pc:spChg chg="add mod">
          <ac:chgData name="Disselhoff, Tim" userId="3b8b5473-7050-4f60-8279-e72cc8538d43" providerId="ADAL" clId="{952E53DB-5978-46BA-964C-5B55B87B6690}" dt="2021-08-19T14:23:16.002" v="17005"/>
          <ac:spMkLst>
            <pc:docMk/>
            <pc:sldMk cId="1974812253" sldId="1429"/>
            <ac:spMk id="362" creationId="{67E34ABD-27B2-469D-B7EB-892CCF746B39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362" creationId="{752FC1DA-4C19-4013-9DF2-81DC1022D71A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391" creationId="{E81565A6-186A-4412-9E42-5AE5F73B4AE2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393" creationId="{14B04545-E8B6-4EB0-81FF-0ED0C695DA7A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394" creationId="{AE933118-328F-4F44-817D-02F486C92D5B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405" creationId="{6D6A43E9-171A-4B5F-B5C6-AF90CD441EA7}"/>
          </ac:spMkLst>
        </pc:spChg>
        <pc:spChg chg="del">
          <ac:chgData name="Disselhoff, Tim" userId="3b8b5473-7050-4f60-8279-e72cc8538d43" providerId="ADAL" clId="{952E53DB-5978-46BA-964C-5B55B87B6690}" dt="2021-08-18T16:08:48.371" v="10779" actId="478"/>
          <ac:spMkLst>
            <pc:docMk/>
            <pc:sldMk cId="1974812253" sldId="1429"/>
            <ac:spMk id="407" creationId="{4E05ACF2-3E18-44AB-B06F-CB6B4CEC3412}"/>
          </ac:spMkLst>
        </pc:spChg>
        <pc:graphicFrameChg chg="mod">
          <ac:chgData name="Disselhoff, Tim" userId="3b8b5473-7050-4f60-8279-e72cc8538d43" providerId="ADAL" clId="{952E53DB-5978-46BA-964C-5B55B87B6690}" dt="2021-08-19T14:23:15.597" v="17004"/>
          <ac:graphicFrameMkLst>
            <pc:docMk/>
            <pc:sldMk cId="1974812253" sldId="1429"/>
            <ac:graphicFrameMk id="365" creationId="{E60950EF-D161-4F96-83E4-B88E961AACA8}"/>
          </ac:graphicFrameMkLst>
        </pc:graphicFrameChg>
      </pc:sldChg>
      <pc:sldChg chg="addSp delSp modSp add mod">
        <pc:chgData name="Disselhoff, Tim" userId="3b8b5473-7050-4f60-8279-e72cc8538d43" providerId="ADAL" clId="{952E53DB-5978-46BA-964C-5B55B87B6690}" dt="2021-08-19T14:23:36.425" v="17021"/>
        <pc:sldMkLst>
          <pc:docMk/>
          <pc:sldMk cId="2900135866" sldId="1430"/>
        </pc:sldMkLst>
        <pc:spChg chg="del">
          <ac:chgData name="Disselhoff, Tim" userId="3b8b5473-7050-4f60-8279-e72cc8538d43" providerId="ADAL" clId="{952E53DB-5978-46BA-964C-5B55B87B6690}" dt="2021-08-19T14:23:35.303" v="17018" actId="478"/>
          <ac:spMkLst>
            <pc:docMk/>
            <pc:sldMk cId="2900135866" sldId="1430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4:23:35.303" v="17018" actId="478"/>
          <ac:spMkLst>
            <pc:docMk/>
            <pc:sldMk cId="2900135866" sldId="1430"/>
            <ac:spMk id="3" creationId="{2FDD4A1F-9D2E-4B37-BAC5-03B407488B8F}"/>
          </ac:spMkLst>
        </pc:spChg>
        <pc:spChg chg="add mod">
          <ac:chgData name="Disselhoff, Tim" userId="3b8b5473-7050-4f60-8279-e72cc8538d43" providerId="ADAL" clId="{952E53DB-5978-46BA-964C-5B55B87B6690}" dt="2021-08-19T14:23:36.425" v="17021"/>
          <ac:spMkLst>
            <pc:docMk/>
            <pc:sldMk cId="2900135866" sldId="1430"/>
            <ac:spMk id="379" creationId="{F2E7B8B9-5DB3-42B6-8531-0356E1CD5304}"/>
          </ac:spMkLst>
        </pc:spChg>
        <pc:spChg chg="add mod">
          <ac:chgData name="Disselhoff, Tim" userId="3b8b5473-7050-4f60-8279-e72cc8538d43" providerId="ADAL" clId="{952E53DB-5978-46BA-964C-5B55B87B6690}" dt="2021-08-19T14:23:36.425" v="17021"/>
          <ac:spMkLst>
            <pc:docMk/>
            <pc:sldMk cId="2900135866" sldId="1430"/>
            <ac:spMk id="380" creationId="{BFE4A254-C584-4696-8FE3-1B8469489D11}"/>
          </ac:spMkLst>
        </pc:spChg>
        <pc:spChg chg="del">
          <ac:chgData name="Disselhoff, Tim" userId="3b8b5473-7050-4f60-8279-e72cc8538d43" providerId="ADAL" clId="{952E53DB-5978-46BA-964C-5B55B87B6690}" dt="2021-08-18T16:09:14.008" v="10785" actId="478"/>
          <ac:spMkLst>
            <pc:docMk/>
            <pc:sldMk cId="2900135866" sldId="1430"/>
            <ac:spMk id="393" creationId="{14B04545-E8B6-4EB0-81FF-0ED0C695DA7A}"/>
          </ac:spMkLst>
        </pc:spChg>
        <pc:spChg chg="del">
          <ac:chgData name="Disselhoff, Tim" userId="3b8b5473-7050-4f60-8279-e72cc8538d43" providerId="ADAL" clId="{952E53DB-5978-46BA-964C-5B55B87B6690}" dt="2021-08-18T16:09:14.008" v="10785" actId="478"/>
          <ac:spMkLst>
            <pc:docMk/>
            <pc:sldMk cId="2900135866" sldId="1430"/>
            <ac:spMk id="405" creationId="{6D6A43E9-171A-4B5F-B5C6-AF90CD441EA7}"/>
          </ac:spMkLst>
        </pc:spChg>
        <pc:graphicFrameChg chg="mod">
          <ac:chgData name="Disselhoff, Tim" userId="3b8b5473-7050-4f60-8279-e72cc8538d43" providerId="ADAL" clId="{952E53DB-5978-46BA-964C-5B55B87B6690}" dt="2021-08-19T14:23:35.872" v="17020"/>
          <ac:graphicFrameMkLst>
            <pc:docMk/>
            <pc:sldMk cId="2900135866" sldId="1430"/>
            <ac:graphicFrameMk id="365" creationId="{E60950EF-D161-4F96-83E4-B88E961AACA8}"/>
          </ac:graphicFrameMkLst>
        </pc:graphicFrameChg>
        <pc:picChg chg="add del mod">
          <ac:chgData name="Disselhoff, Tim" userId="3b8b5473-7050-4f60-8279-e72cc8538d43" providerId="ADAL" clId="{952E53DB-5978-46BA-964C-5B55B87B6690}" dt="2021-08-19T14:14:31.142" v="15842" actId="478"/>
          <ac:picMkLst>
            <pc:docMk/>
            <pc:sldMk cId="2900135866" sldId="1430"/>
            <ac:picMk id="360" creationId="{72A7EF60-49F3-4DFD-BC30-F8F54973EE34}"/>
          </ac:picMkLst>
        </pc:picChg>
      </pc:sldChg>
      <pc:sldChg chg="addSp delSp modSp add mod modTransition">
        <pc:chgData name="Disselhoff, Tim" userId="3b8b5473-7050-4f60-8279-e72cc8538d43" providerId="ADAL" clId="{952E53DB-5978-46BA-964C-5B55B87B6690}" dt="2021-08-19T16:38:08.010" v="19776" actId="478"/>
        <pc:sldMkLst>
          <pc:docMk/>
          <pc:sldMk cId="3195726506" sldId="1431"/>
        </pc:sldMkLst>
        <pc:spChg chg="del">
          <ac:chgData name="Disselhoff, Tim" userId="3b8b5473-7050-4f60-8279-e72cc8538d43" providerId="ADAL" clId="{952E53DB-5978-46BA-964C-5B55B87B6690}" dt="2021-08-19T12:29:23.444" v="14617" actId="478"/>
          <ac:spMkLst>
            <pc:docMk/>
            <pc:sldMk cId="3195726506" sldId="1431"/>
            <ac:spMk id="2" creationId="{78D159F1-0A23-447B-BF2D-08A04305ACFA}"/>
          </ac:spMkLst>
        </pc:spChg>
        <pc:spChg chg="del">
          <ac:chgData name="Disselhoff, Tim" userId="3b8b5473-7050-4f60-8279-e72cc8538d43" providerId="ADAL" clId="{952E53DB-5978-46BA-964C-5B55B87B6690}" dt="2021-08-19T12:29:23.444" v="14617" actId="478"/>
          <ac:spMkLst>
            <pc:docMk/>
            <pc:sldMk cId="3195726506" sldId="1431"/>
            <ac:spMk id="3" creationId="{2FDD4A1F-9D2E-4B37-BAC5-03B407488B8F}"/>
          </ac:spMkLst>
        </pc:spChg>
        <pc:spChg chg="add mod">
          <ac:chgData name="Disselhoff, Tim" userId="3b8b5473-7050-4f60-8279-e72cc8538d43" providerId="ADAL" clId="{952E53DB-5978-46BA-964C-5B55B87B6690}" dt="2021-08-19T12:29:24.313" v="14620"/>
          <ac:spMkLst>
            <pc:docMk/>
            <pc:sldMk cId="3195726506" sldId="1431"/>
            <ac:spMk id="360" creationId="{4C3CC8B5-4761-4A69-9FE8-228B6A235D7F}"/>
          </ac:spMkLst>
        </pc:spChg>
        <pc:spChg chg="add mod">
          <ac:chgData name="Disselhoff, Tim" userId="3b8b5473-7050-4f60-8279-e72cc8538d43" providerId="ADAL" clId="{952E53DB-5978-46BA-964C-5B55B87B6690}" dt="2021-08-19T12:29:24.313" v="14620"/>
          <ac:spMkLst>
            <pc:docMk/>
            <pc:sldMk cId="3195726506" sldId="1431"/>
            <ac:spMk id="362" creationId="{A75BE058-FD1A-4BC6-8828-09BF713A3BB6}"/>
          </ac:spMkLst>
        </pc:spChg>
        <pc:spChg chg="mod">
          <ac:chgData name="Disselhoff, Tim" userId="3b8b5473-7050-4f60-8279-e72cc8538d43" providerId="ADAL" clId="{952E53DB-5978-46BA-964C-5B55B87B6690}" dt="2021-08-19T12:30:52.617" v="14677"/>
          <ac:spMkLst>
            <pc:docMk/>
            <pc:sldMk cId="3195726506" sldId="1431"/>
            <ac:spMk id="379" creationId="{E2DFFF51-F7D2-4737-B8B4-81BD1C2BA5F1}"/>
          </ac:spMkLst>
        </pc:spChg>
        <pc:spChg chg="mod">
          <ac:chgData name="Disselhoff, Tim" userId="3b8b5473-7050-4f60-8279-e72cc8538d43" providerId="ADAL" clId="{952E53DB-5978-46BA-964C-5B55B87B6690}" dt="2021-08-19T12:30:52.617" v="14677"/>
          <ac:spMkLst>
            <pc:docMk/>
            <pc:sldMk cId="3195726506" sldId="1431"/>
            <ac:spMk id="380" creationId="{0910BD0F-3238-4559-98E5-1BA7844C3926}"/>
          </ac:spMkLst>
        </pc:spChg>
        <pc:spChg chg="add mod">
          <ac:chgData name="Disselhoff, Tim" userId="3b8b5473-7050-4f60-8279-e72cc8538d43" providerId="ADAL" clId="{952E53DB-5978-46BA-964C-5B55B87B6690}" dt="2021-08-19T14:01:45.478" v="14987" actId="20577"/>
          <ac:spMkLst>
            <pc:docMk/>
            <pc:sldMk cId="3195726506" sldId="1431"/>
            <ac:spMk id="391" creationId="{1E4BADD7-C881-4FCB-89CB-793380A20238}"/>
          </ac:spMkLst>
        </pc:spChg>
        <pc:grpChg chg="add del mod">
          <ac:chgData name="Disselhoff, Tim" userId="3b8b5473-7050-4f60-8279-e72cc8538d43" providerId="ADAL" clId="{952E53DB-5978-46BA-964C-5B55B87B6690}" dt="2021-08-19T16:38:08.010" v="19776" actId="478"/>
          <ac:grpSpMkLst>
            <pc:docMk/>
            <pc:sldMk cId="3195726506" sldId="1431"/>
            <ac:grpSpMk id="363" creationId="{8022615A-FDD2-4473-8522-906B01AA7D6B}"/>
          </ac:grpSpMkLst>
        </pc:grpChg>
        <pc:graphicFrameChg chg="mod">
          <ac:chgData name="Disselhoff, Tim" userId="3b8b5473-7050-4f60-8279-e72cc8538d43" providerId="ADAL" clId="{952E53DB-5978-46BA-964C-5B55B87B6690}" dt="2021-08-19T12:29:24.021" v="14619"/>
          <ac:graphicFrameMkLst>
            <pc:docMk/>
            <pc:sldMk cId="3195726506" sldId="1431"/>
            <ac:graphicFrameMk id="365" creationId="{E60950EF-D161-4F96-83E4-B88E961AACA8}"/>
          </ac:graphicFrameMkLst>
        </pc:graphicFrameChg>
      </pc:sldChg>
      <pc:sldChg chg="addSp delSp modSp new add del mod ord">
        <pc:chgData name="Disselhoff, Tim" userId="3b8b5473-7050-4f60-8279-e72cc8538d43" providerId="ADAL" clId="{952E53DB-5978-46BA-964C-5B55B87B6690}" dt="2021-08-20T11:55:49.866" v="20227"/>
        <pc:sldMkLst>
          <pc:docMk/>
          <pc:sldMk cId="4178214091" sldId="1432"/>
        </pc:sldMkLst>
        <pc:spChg chg="mod">
          <ac:chgData name="Disselhoff, Tim" userId="3b8b5473-7050-4f60-8279-e72cc8538d43" providerId="ADAL" clId="{952E53DB-5978-46BA-964C-5B55B87B6690}" dt="2021-08-20T06:39:57.465" v="19835" actId="948"/>
          <ac:spMkLst>
            <pc:docMk/>
            <pc:sldMk cId="4178214091" sldId="1432"/>
            <ac:spMk id="3" creationId="{30D1997B-B794-4580-B1F9-AF32C6473FEC}"/>
          </ac:spMkLst>
        </pc:spChg>
        <pc:spChg chg="del">
          <ac:chgData name="Disselhoff, Tim" userId="3b8b5473-7050-4f60-8279-e72cc8538d43" providerId="ADAL" clId="{952E53DB-5978-46BA-964C-5B55B87B6690}" dt="2021-08-18T16:24:14.131" v="11276" actId="478"/>
          <ac:spMkLst>
            <pc:docMk/>
            <pc:sldMk cId="4178214091" sldId="1432"/>
            <ac:spMk id="6" creationId="{8013BEC8-66AD-4B55-B6BB-C85851254108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7" creationId="{370E8733-694D-4D69-ABB4-24A809D6E4DC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8" creationId="{DB25F970-54F1-425C-A068-80DD54667032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9" creationId="{41CF96BF-7543-417B-A54C-B7FA98571EDA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10" creationId="{B716022D-C345-485C-82D2-7C231F4F6FB1}"/>
          </ac:spMkLst>
        </pc:spChg>
        <pc:spChg chg="add del mod modVis">
          <ac:chgData name="Disselhoff, Tim" userId="3b8b5473-7050-4f60-8279-e72cc8538d43" providerId="ADAL" clId="{952E53DB-5978-46BA-964C-5B55B87B6690}" dt="2021-08-20T06:39:57.635" v="19874"/>
          <ac:spMkLst>
            <pc:docMk/>
            <pc:sldMk cId="4178214091" sldId="1432"/>
            <ac:spMk id="11" creationId="{CAB48E58-31F1-41C8-9EB7-CF1A54D03E9F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18" creationId="{65DD8589-8A0A-4083-A151-515718A51A1A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19" creationId="{4F2E74A8-24FB-4400-BD99-60F289F8A51A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0" creationId="{6A9DEC86-5D8B-423C-811D-CEDA669F9ED1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1" creationId="{8AA2E2AF-A1D9-490B-8066-63035A7E552F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2" creationId="{7AFA32D9-FCD9-48B1-BBAF-AB718F1AB869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3" creationId="{A5B9283B-1533-4645-8B70-C30B57ACEBBC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4" creationId="{DC49B867-3839-4441-A31B-260A3351D74E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5" creationId="{1050ABCD-64B0-4453-9C5C-67B1A1DC8389}"/>
          </ac:spMkLst>
        </pc:spChg>
        <pc:spChg chg="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8" creationId="{2EB9BBBF-13E7-496C-BE55-506CA95569C0}"/>
          </ac:spMkLst>
        </pc:spChg>
        <pc:spChg chg="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29" creationId="{A1F3E5A8-DE37-4891-88FE-A7CAF742ED8C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30" creationId="{D2346CEB-518F-4DA0-9DB7-D847C6490B88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31" creationId="{C310E83D-7088-44E6-A00B-526362C048E6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2" creationId="{2CDAFB42-1577-4F71-855C-CA6E298E0476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3" creationId="{32898739-9FD5-4DBA-BD19-B80EA2676000}"/>
          </ac:spMkLst>
        </pc:spChg>
        <pc:spChg chg="add mod">
          <ac:chgData name="Disselhoff, Tim" userId="3b8b5473-7050-4f60-8279-e72cc8538d43" providerId="ADAL" clId="{952E53DB-5978-46BA-964C-5B55B87B6690}" dt="2021-08-18T16:23:46.220" v="11273" actId="1037"/>
          <ac:spMkLst>
            <pc:docMk/>
            <pc:sldMk cId="4178214091" sldId="1432"/>
            <ac:spMk id="34" creationId="{41AB3686-4738-4B12-9462-62F1094F3715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5" creationId="{01FBF880-503A-4CF4-992F-B1E458699999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6" creationId="{71B5969C-C56C-41C3-8425-81E9F3A49CB3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7" creationId="{892F2F34-CA33-4086-B7AB-6E1C8D8DC89A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8" creationId="{4377330E-DEE5-47D7-A2D1-A7BD1136B90F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39" creationId="{855AD679-E113-45BB-A05F-839FA4F151F2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42" creationId="{E9F9F0AD-4E5C-4AC9-8024-E7B03572CCA0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43" creationId="{4D83EDF8-9B88-4F36-9E83-64B9AB00EB83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44" creationId="{EBF67079-6402-40C5-B259-9CAC4C923CAD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47" creationId="{C6DFEFAF-FC67-40B5-A8A8-BBD9C1081F7E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48" creationId="{0FD1ED6A-A8B6-4512-8EAD-A610995E744B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0" creationId="{9A063809-86A5-4EE5-9D85-3EA829A7E5A4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1" creationId="{6416E3BB-2C16-4212-AB16-9B693DFAAA6C}"/>
          </ac:spMkLst>
        </pc:spChg>
        <pc:spChg chg="add mod">
          <ac:chgData name="Disselhoff, Tim" userId="3b8b5473-7050-4f60-8279-e72cc8538d43" providerId="ADAL" clId="{952E53DB-5978-46BA-964C-5B55B87B6690}" dt="2021-08-20T09:10:26.316" v="20036" actId="1076"/>
          <ac:spMkLst>
            <pc:docMk/>
            <pc:sldMk cId="4178214091" sldId="1432"/>
            <ac:spMk id="52" creationId="{EEBE1106-7455-4B87-A40E-9C9D45AAC2A6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3" creationId="{325B0FEB-F19D-49EF-B189-04CF2CC8F95E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4" creationId="{8A5CB719-5598-4643-9276-004DF78582F0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6" creationId="{EF97E9B1-981F-48D7-8A90-BA4D91E7F67C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7" creationId="{B1477F2A-CCE4-43DC-A1CF-A3089B0D3C67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58" creationId="{184B036C-B87D-45AD-80F0-0DFE03B8F839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60" creationId="{00BD3BD4-7135-4479-B155-C3C07F4AF515}"/>
          </ac:spMkLst>
        </pc:spChg>
        <pc:spChg chg="add 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61" creationId="{12AC3D28-194B-4876-ADD3-416EA7DE6A08}"/>
          </ac:spMkLst>
        </pc:spChg>
        <pc:spChg chg="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63" creationId="{20676820-9F67-421E-BAE9-66B184930577}"/>
          </ac:spMkLst>
        </pc:spChg>
        <pc:spChg chg="mod">
          <ac:chgData name="Disselhoff, Tim" userId="3b8b5473-7050-4f60-8279-e72cc8538d43" providerId="ADAL" clId="{952E53DB-5978-46BA-964C-5B55B87B6690}" dt="2021-08-18T16:24:08.574" v="11275"/>
          <ac:spMkLst>
            <pc:docMk/>
            <pc:sldMk cId="4178214091" sldId="1432"/>
            <ac:spMk id="64" creationId="{7C68EAB5-EC6D-4D7C-B475-2A66CB18524D}"/>
          </ac:spMkLst>
        </pc:spChg>
        <pc:spChg chg="add del mod">
          <ac:chgData name="Disselhoff, Tim" userId="3b8b5473-7050-4f60-8279-e72cc8538d43" providerId="ADAL" clId="{952E53DB-5978-46BA-964C-5B55B87B6690}" dt="2021-08-19T16:22:40.520" v="18053" actId="478"/>
          <ac:spMkLst>
            <pc:docMk/>
            <pc:sldMk cId="4178214091" sldId="1432"/>
            <ac:spMk id="65" creationId="{B36B3F5E-12D6-4CBA-8C99-FFD975513A03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66" creationId="{2ADBA99F-8EBE-4044-94C3-A87CEE3B7588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67" creationId="{8597263D-A8EB-4739-8EB0-09E3E9609AF9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68" creationId="{84E504E3-A03B-46C1-8078-1DD932D91070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69" creationId="{925157FF-EEDE-4D9F-8FD5-77673419B39F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71" creationId="{9C3AC92E-AE05-4D49-870A-864D28EF1055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72" creationId="{E9EAABB9-2D08-4168-A357-D19EEDB2A256}"/>
          </ac:spMkLst>
        </pc:spChg>
        <pc:spChg chg="add del mod">
          <ac:chgData name="Disselhoff, Tim" userId="3b8b5473-7050-4f60-8279-e72cc8538d43" providerId="ADAL" clId="{952E53DB-5978-46BA-964C-5B55B87B6690}" dt="2021-08-18T16:25:48.145" v="11307" actId="478"/>
          <ac:spMkLst>
            <pc:docMk/>
            <pc:sldMk cId="4178214091" sldId="1432"/>
            <ac:spMk id="73" creationId="{405A1DBE-6FE1-4082-9DCC-C1D7C4C24363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74" creationId="{25FB95FB-42F1-4EC1-86F6-2B99CBD4A375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76" creationId="{47793800-3951-44BD-92A5-D859BF95B73B}"/>
          </ac:spMkLst>
        </pc:spChg>
        <pc:spChg chg="mod">
          <ac:chgData name="Disselhoff, Tim" userId="3b8b5473-7050-4f60-8279-e72cc8538d43" providerId="ADAL" clId="{952E53DB-5978-46BA-964C-5B55B87B6690}" dt="2021-08-19T16:22:17.575" v="18025"/>
          <ac:spMkLst>
            <pc:docMk/>
            <pc:sldMk cId="4178214091" sldId="1432"/>
            <ac:spMk id="77" creationId="{4915FF3A-B94A-497E-9B25-54A5E07A76AD}"/>
          </ac:spMkLst>
        </pc:spChg>
        <pc:spChg chg="add del mod">
          <ac:chgData name="Disselhoff, Tim" userId="3b8b5473-7050-4f60-8279-e72cc8538d43" providerId="ADAL" clId="{952E53DB-5978-46BA-964C-5B55B87B6690}" dt="2021-08-18T16:26:14.099" v="11314"/>
          <ac:spMkLst>
            <pc:docMk/>
            <pc:sldMk cId="4178214091" sldId="1432"/>
            <ac:spMk id="77" creationId="{91EF6B1A-3061-44D5-A522-5A5D18183EC6}"/>
          </ac:spMkLst>
        </pc:spChg>
        <pc:spChg chg="add del mod">
          <ac:chgData name="Disselhoff, Tim" userId="3b8b5473-7050-4f60-8279-e72cc8538d43" providerId="ADAL" clId="{952E53DB-5978-46BA-964C-5B55B87B6690}" dt="2021-08-18T16:26:14.099" v="11314"/>
          <ac:spMkLst>
            <pc:docMk/>
            <pc:sldMk cId="4178214091" sldId="1432"/>
            <ac:spMk id="78" creationId="{7AEB665A-EAC3-4D84-A2B1-53B1E7CDFBBD}"/>
          </ac:spMkLst>
        </pc:spChg>
        <pc:spChg chg="mod">
          <ac:chgData name="Disselhoff, Tim" userId="3b8b5473-7050-4f60-8279-e72cc8538d43" providerId="ADAL" clId="{952E53DB-5978-46BA-964C-5B55B87B6690}" dt="2021-08-19T16:22:17.575" v="18025"/>
          <ac:spMkLst>
            <pc:docMk/>
            <pc:sldMk cId="4178214091" sldId="1432"/>
            <ac:spMk id="78" creationId="{9F753AF5-2C97-4CE6-BF11-0698F1D99F7F}"/>
          </ac:spMkLst>
        </pc:spChg>
        <pc:spChg chg="add mod">
          <ac:chgData name="Disselhoff, Tim" userId="3b8b5473-7050-4f60-8279-e72cc8538d43" providerId="ADAL" clId="{952E53DB-5978-46BA-964C-5B55B87B6690}" dt="2021-08-19T16:29:10.241" v="18719" actId="6549"/>
          <ac:spMkLst>
            <pc:docMk/>
            <pc:sldMk cId="4178214091" sldId="1432"/>
            <ac:spMk id="79" creationId="{3529756E-1C38-4183-8076-0F76E9542B1D}"/>
          </ac:spMkLst>
        </pc:spChg>
        <pc:spChg chg="add del mod">
          <ac:chgData name="Disselhoff, Tim" userId="3b8b5473-7050-4f60-8279-e72cc8538d43" providerId="ADAL" clId="{952E53DB-5978-46BA-964C-5B55B87B6690}" dt="2021-08-18T16:26:14.099" v="11314"/>
          <ac:spMkLst>
            <pc:docMk/>
            <pc:sldMk cId="4178214091" sldId="1432"/>
            <ac:spMk id="79" creationId="{4F3EBAFF-1ABB-4E0C-B82F-705C645FDB77}"/>
          </ac:spMkLst>
        </pc:spChg>
        <pc:spChg chg="add del mod">
          <ac:chgData name="Disselhoff, Tim" userId="3b8b5473-7050-4f60-8279-e72cc8538d43" providerId="ADAL" clId="{952E53DB-5978-46BA-964C-5B55B87B6690}" dt="2021-08-18T16:26:14.099" v="11314"/>
          <ac:spMkLst>
            <pc:docMk/>
            <pc:sldMk cId="4178214091" sldId="1432"/>
            <ac:spMk id="80" creationId="{D4704888-440E-4B5A-BC9E-413F4C436B39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82" creationId="{9B9A368A-3F1E-4751-AA84-E8117FB8A1A6}"/>
          </ac:spMkLst>
        </pc:spChg>
        <pc:spChg chg="add mod">
          <ac:chgData name="Disselhoff, Tim" userId="3b8b5473-7050-4f60-8279-e72cc8538d43" providerId="ADAL" clId="{952E53DB-5978-46BA-964C-5B55B87B6690}" dt="2021-08-20T09:10:38.527" v="20037" actId="164"/>
          <ac:spMkLst>
            <pc:docMk/>
            <pc:sldMk cId="4178214091" sldId="1432"/>
            <ac:spMk id="83" creationId="{2D72F3FB-0C36-4DE2-8F99-E9D4030E2391}"/>
          </ac:spMkLst>
        </pc:spChg>
        <pc:grpChg chg="add del mod">
          <ac:chgData name="Disselhoff, Tim" userId="3b8b5473-7050-4f60-8279-e72cc8538d43" providerId="ADAL" clId="{952E53DB-5978-46BA-964C-5B55B87B6690}" dt="2021-08-18T16:24:00.357" v="11274" actId="165"/>
          <ac:grpSpMkLst>
            <pc:docMk/>
            <pc:sldMk cId="4178214091" sldId="1432"/>
            <ac:grpSpMk id="11" creationId="{03D79123-B74A-4B46-80CC-A5CBD10A8347}"/>
          </ac:grpSpMkLst>
        </pc:grpChg>
        <pc:grpChg chg="add mod">
          <ac:chgData name="Disselhoff, Tim" userId="3b8b5473-7050-4f60-8279-e72cc8538d43" providerId="ADAL" clId="{952E53DB-5978-46BA-964C-5B55B87B6690}" dt="2021-08-20T09:10:38.527" v="20037" actId="164"/>
          <ac:grpSpMkLst>
            <pc:docMk/>
            <pc:sldMk cId="4178214091" sldId="1432"/>
            <ac:grpSpMk id="11" creationId="{EA430FDB-1EB3-4BB6-9E12-33FF6FEBEB23}"/>
          </ac:grpSpMkLst>
        </pc:grpChg>
        <pc:grpChg chg="add mod">
          <ac:chgData name="Disselhoff, Tim" userId="3b8b5473-7050-4f60-8279-e72cc8538d43" providerId="ADAL" clId="{952E53DB-5978-46BA-964C-5B55B87B6690}" dt="2021-08-18T16:23:46.220" v="11273" actId="1037"/>
          <ac:grpSpMkLst>
            <pc:docMk/>
            <pc:sldMk cId="4178214091" sldId="1432"/>
            <ac:grpSpMk id="15" creationId="{3DA0B936-3A67-41E1-85BD-F4C69FA1C76D}"/>
          </ac:grpSpMkLst>
        </pc:grpChg>
        <pc:grpChg chg="add mod">
          <ac:chgData name="Disselhoff, Tim" userId="3b8b5473-7050-4f60-8279-e72cc8538d43" providerId="ADAL" clId="{952E53DB-5978-46BA-964C-5B55B87B6690}" dt="2021-08-18T16:23:46.220" v="11273" actId="1037"/>
          <ac:grpSpMkLst>
            <pc:docMk/>
            <pc:sldMk cId="4178214091" sldId="1432"/>
            <ac:grpSpMk id="27" creationId="{1D1E991C-0A74-48F5-BEE5-CFC67AA5C07A}"/>
          </ac:grpSpMkLst>
        </pc:grpChg>
        <pc:grpChg chg="add mod">
          <ac:chgData name="Disselhoff, Tim" userId="3b8b5473-7050-4f60-8279-e72cc8538d43" providerId="ADAL" clId="{952E53DB-5978-46BA-964C-5B55B87B6690}" dt="2021-08-18T16:24:08.574" v="11275"/>
          <ac:grpSpMkLst>
            <pc:docMk/>
            <pc:sldMk cId="4178214091" sldId="1432"/>
            <ac:grpSpMk id="62" creationId="{9E39B96E-1E78-41B7-9A90-6BC42BBAE69A}"/>
          </ac:grpSpMkLst>
        </pc:grpChg>
        <pc:grpChg chg="add mod">
          <ac:chgData name="Disselhoff, Tim" userId="3b8b5473-7050-4f60-8279-e72cc8538d43" providerId="ADAL" clId="{952E53DB-5978-46BA-964C-5B55B87B6690}" dt="2021-08-19T16:22:17.575" v="18025"/>
          <ac:grpSpMkLst>
            <pc:docMk/>
            <pc:sldMk cId="4178214091" sldId="1432"/>
            <ac:grpSpMk id="75" creationId="{47CD6861-3B63-495F-8C7A-F695FEECB53D}"/>
          </ac:grpSpMkLst>
        </pc:grpChg>
        <pc:graphicFrameChg chg="add mod ord modVis">
          <ac:chgData name="Disselhoff, Tim" userId="3b8b5473-7050-4f60-8279-e72cc8538d43" providerId="ADAL" clId="{952E53DB-5978-46BA-964C-5B55B87B6690}" dt="2021-08-20T11:55:35.254" v="20221"/>
          <ac:graphicFrameMkLst>
            <pc:docMk/>
            <pc:sldMk cId="4178214091" sldId="1432"/>
            <ac:graphicFrameMk id="6" creationId="{AA6FE7CC-580D-4536-9A9D-7B59C71D1E13}"/>
          </ac:graphicFrameMkLst>
        </pc:graphicFrameChg>
        <pc:cxnChg chg="mod topLvl">
          <ac:chgData name="Disselhoff, Tim" userId="3b8b5473-7050-4f60-8279-e72cc8538d43" providerId="ADAL" clId="{952E53DB-5978-46BA-964C-5B55B87B6690}" dt="2021-08-18T16:24:00.357" v="11274" actId="165"/>
          <ac:cxnSpMkLst>
            <pc:docMk/>
            <pc:sldMk cId="4178214091" sldId="1432"/>
            <ac:cxnSpMk id="12" creationId="{21B27293-5906-485A-AF0C-56BDBED5BF6B}"/>
          </ac:cxnSpMkLst>
        </pc:cxnChg>
        <pc:cxnChg chg="mod topLvl">
          <ac:chgData name="Disselhoff, Tim" userId="3b8b5473-7050-4f60-8279-e72cc8538d43" providerId="ADAL" clId="{952E53DB-5978-46BA-964C-5B55B87B6690}" dt="2021-08-18T16:24:00.357" v="11274" actId="165"/>
          <ac:cxnSpMkLst>
            <pc:docMk/>
            <pc:sldMk cId="4178214091" sldId="1432"/>
            <ac:cxnSpMk id="13" creationId="{7C187238-738C-4880-8133-04B9800A6BE7}"/>
          </ac:cxnSpMkLst>
        </pc:cxnChg>
        <pc:cxnChg chg="mod topLvl">
          <ac:chgData name="Disselhoff, Tim" userId="3b8b5473-7050-4f60-8279-e72cc8538d43" providerId="ADAL" clId="{952E53DB-5978-46BA-964C-5B55B87B6690}" dt="2021-08-18T16:24:00.357" v="11274" actId="165"/>
          <ac:cxnSpMkLst>
            <pc:docMk/>
            <pc:sldMk cId="4178214091" sldId="1432"/>
            <ac:cxnSpMk id="14" creationId="{D7D2866C-0B5B-486B-B34C-C8152B2A761C}"/>
          </ac:cxnSpMkLst>
        </pc:cxnChg>
        <pc:cxnChg chg="mod">
          <ac:chgData name="Disselhoff, Tim" userId="3b8b5473-7050-4f60-8279-e72cc8538d43" providerId="ADAL" clId="{952E53DB-5978-46BA-964C-5B55B87B6690}" dt="2021-08-18T16:23:46.220" v="11273" actId="1037"/>
          <ac:cxnSpMkLst>
            <pc:docMk/>
            <pc:sldMk cId="4178214091" sldId="1432"/>
            <ac:cxnSpMk id="16" creationId="{E4FA90E4-08FA-413E-A543-E8F9A15E68D8}"/>
          </ac:cxnSpMkLst>
        </pc:cxnChg>
        <pc:cxnChg chg="mod">
          <ac:chgData name="Disselhoff, Tim" userId="3b8b5473-7050-4f60-8279-e72cc8538d43" providerId="ADAL" clId="{952E53DB-5978-46BA-964C-5B55B87B6690}" dt="2021-08-18T16:23:46.220" v="11273" actId="1037"/>
          <ac:cxnSpMkLst>
            <pc:docMk/>
            <pc:sldMk cId="4178214091" sldId="1432"/>
            <ac:cxnSpMk id="17" creationId="{E01C95AF-2C29-4453-82E4-7BF3C3098690}"/>
          </ac:cxnSpMkLst>
        </pc:cxnChg>
        <pc:cxnChg chg="add mod">
          <ac:chgData name="Disselhoff, Tim" userId="3b8b5473-7050-4f60-8279-e72cc8538d43" providerId="ADAL" clId="{952E53DB-5978-46BA-964C-5B55B87B6690}" dt="2021-08-18T16:23:46.220" v="11273" actId="1037"/>
          <ac:cxnSpMkLst>
            <pc:docMk/>
            <pc:sldMk cId="4178214091" sldId="1432"/>
            <ac:cxnSpMk id="26" creationId="{B43FA27D-19BF-4937-A3BE-D287263A122A}"/>
          </ac:cxnSpMkLst>
        </pc:cxnChg>
        <pc:cxnChg chg="add mod">
          <ac:chgData name="Disselhoff, Tim" userId="3b8b5473-7050-4f60-8279-e72cc8538d43" providerId="ADAL" clId="{952E53DB-5978-46BA-964C-5B55B87B6690}" dt="2021-08-20T09:10:38.527" v="20037" actId="164"/>
          <ac:cxnSpMkLst>
            <pc:docMk/>
            <pc:sldMk cId="4178214091" sldId="1432"/>
            <ac:cxnSpMk id="40" creationId="{7364227B-917B-4FC7-942F-37DAD339973F}"/>
          </ac:cxnSpMkLst>
        </pc:cxnChg>
        <pc:cxnChg chg="add mod">
          <ac:chgData name="Disselhoff, Tim" userId="3b8b5473-7050-4f60-8279-e72cc8538d43" providerId="ADAL" clId="{952E53DB-5978-46BA-964C-5B55B87B6690}" dt="2021-08-20T09:10:38.527" v="20037" actId="164"/>
          <ac:cxnSpMkLst>
            <pc:docMk/>
            <pc:sldMk cId="4178214091" sldId="1432"/>
            <ac:cxnSpMk id="41" creationId="{7EEE569D-3BAF-44D9-9A5C-FC6FF06A310F}"/>
          </ac:cxnSpMkLst>
        </pc:cxnChg>
        <pc:cxnChg chg="add mod">
          <ac:chgData name="Disselhoff, Tim" userId="3b8b5473-7050-4f60-8279-e72cc8538d43" providerId="ADAL" clId="{952E53DB-5978-46BA-964C-5B55B87B6690}" dt="2021-08-18T16:24:08.574" v="11275"/>
          <ac:cxnSpMkLst>
            <pc:docMk/>
            <pc:sldMk cId="4178214091" sldId="1432"/>
            <ac:cxnSpMk id="45" creationId="{932805DF-ED18-4398-AC39-8E78B8638E58}"/>
          </ac:cxnSpMkLst>
        </pc:cxnChg>
        <pc:cxnChg chg="add mod">
          <ac:chgData name="Disselhoff, Tim" userId="3b8b5473-7050-4f60-8279-e72cc8538d43" providerId="ADAL" clId="{952E53DB-5978-46BA-964C-5B55B87B6690}" dt="2021-08-18T16:24:08.574" v="11275"/>
          <ac:cxnSpMkLst>
            <pc:docMk/>
            <pc:sldMk cId="4178214091" sldId="1432"/>
            <ac:cxnSpMk id="46" creationId="{359B2481-0B2B-4DA8-8917-5C6CA932B893}"/>
          </ac:cxnSpMkLst>
        </pc:cxnChg>
        <pc:cxnChg chg="add mod">
          <ac:chgData name="Disselhoff, Tim" userId="3b8b5473-7050-4f60-8279-e72cc8538d43" providerId="ADAL" clId="{952E53DB-5978-46BA-964C-5B55B87B6690}" dt="2021-08-18T16:24:08.574" v="11275"/>
          <ac:cxnSpMkLst>
            <pc:docMk/>
            <pc:sldMk cId="4178214091" sldId="1432"/>
            <ac:cxnSpMk id="49" creationId="{67411C81-678F-48F7-8E63-33A870114128}"/>
          </ac:cxnSpMkLst>
        </pc:cxnChg>
        <pc:cxnChg chg="add mod">
          <ac:chgData name="Disselhoff, Tim" userId="3b8b5473-7050-4f60-8279-e72cc8538d43" providerId="ADAL" clId="{952E53DB-5978-46BA-964C-5B55B87B6690}" dt="2021-08-18T16:24:08.574" v="11275"/>
          <ac:cxnSpMkLst>
            <pc:docMk/>
            <pc:sldMk cId="4178214091" sldId="1432"/>
            <ac:cxnSpMk id="55" creationId="{C33FDA92-40C4-44B4-8531-D3363DD4487B}"/>
          </ac:cxnSpMkLst>
        </pc:cxnChg>
        <pc:cxnChg chg="add mod">
          <ac:chgData name="Disselhoff, Tim" userId="3b8b5473-7050-4f60-8279-e72cc8538d43" providerId="ADAL" clId="{952E53DB-5978-46BA-964C-5B55B87B6690}" dt="2021-08-18T16:24:08.574" v="11275"/>
          <ac:cxnSpMkLst>
            <pc:docMk/>
            <pc:sldMk cId="4178214091" sldId="1432"/>
            <ac:cxnSpMk id="59" creationId="{B03E5021-E66D-41C1-AD86-EF5E9DF1D4F9}"/>
          </ac:cxnSpMkLst>
        </pc:cxnChg>
        <pc:cxnChg chg="add mod">
          <ac:chgData name="Disselhoff, Tim" userId="3b8b5473-7050-4f60-8279-e72cc8538d43" providerId="ADAL" clId="{952E53DB-5978-46BA-964C-5B55B87B6690}" dt="2021-08-20T09:10:38.527" v="20037" actId="164"/>
          <ac:cxnSpMkLst>
            <pc:docMk/>
            <pc:sldMk cId="4178214091" sldId="1432"/>
            <ac:cxnSpMk id="70" creationId="{1B63A02A-59E7-4D77-B397-F40AD746FAA0}"/>
          </ac:cxnSpMkLst>
        </pc:cxnChg>
        <pc:cxnChg chg="add del mod">
          <ac:chgData name="Disselhoff, Tim" userId="3b8b5473-7050-4f60-8279-e72cc8538d43" providerId="ADAL" clId="{952E53DB-5978-46BA-964C-5B55B87B6690}" dt="2021-08-18T16:25:49.371" v="11308" actId="478"/>
          <ac:cxnSpMkLst>
            <pc:docMk/>
            <pc:sldMk cId="4178214091" sldId="1432"/>
            <ac:cxnSpMk id="75" creationId="{E3F0F231-BC20-4CC0-9E8F-5E0339BE99C5}"/>
          </ac:cxnSpMkLst>
        </pc:cxnChg>
        <pc:cxnChg chg="add del mod">
          <ac:chgData name="Disselhoff, Tim" userId="3b8b5473-7050-4f60-8279-e72cc8538d43" providerId="ADAL" clId="{952E53DB-5978-46BA-964C-5B55B87B6690}" dt="2021-08-18T16:26:14.099" v="11314"/>
          <ac:cxnSpMkLst>
            <pc:docMk/>
            <pc:sldMk cId="4178214091" sldId="1432"/>
            <ac:cxnSpMk id="81" creationId="{572B0CDE-807D-4C04-8089-7408CBBF9A8C}"/>
          </ac:cxnSpMkLst>
        </pc:cxnChg>
      </pc:sldChg>
      <pc:sldChg chg="addSp delSp modSp new add mod">
        <pc:chgData name="Disselhoff, Tim" userId="3b8b5473-7050-4f60-8279-e72cc8538d43" providerId="ADAL" clId="{952E53DB-5978-46BA-964C-5B55B87B6690}" dt="2021-08-19T12:18:57.270" v="13450" actId="20577"/>
        <pc:sldMkLst>
          <pc:docMk/>
          <pc:sldMk cId="10542637" sldId="1433"/>
        </pc:sldMkLst>
        <pc:spChg chg="mod">
          <ac:chgData name="Disselhoff, Tim" userId="3b8b5473-7050-4f60-8279-e72cc8538d43" providerId="ADAL" clId="{952E53DB-5978-46BA-964C-5B55B87B6690}" dt="2021-08-19T12:18:57.270" v="13450" actId="20577"/>
          <ac:spMkLst>
            <pc:docMk/>
            <pc:sldMk cId="10542637" sldId="1433"/>
            <ac:spMk id="2" creationId="{01329974-8EEC-4BBB-80C0-AC6CC4E178EF}"/>
          </ac:spMkLst>
        </pc:spChg>
        <pc:spChg chg="mod">
          <ac:chgData name="Disselhoff, Tim" userId="3b8b5473-7050-4f60-8279-e72cc8538d43" providerId="ADAL" clId="{952E53DB-5978-46BA-964C-5B55B87B6690}" dt="2021-08-19T12:17:09.589" v="13287" actId="948"/>
          <ac:spMkLst>
            <pc:docMk/>
            <pc:sldMk cId="10542637" sldId="1433"/>
            <ac:spMk id="3" creationId="{DC83CC61-2405-41C0-9BDC-C214FBB5538E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6" creationId="{AA14030C-241F-41F9-9328-08476AEFB4C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" creationId="{76BC160D-B144-459F-8E0B-CC7A015D5B8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" creationId="{BDF8166E-43B3-4A64-8976-DE2F8836936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" creationId="{A1D07B9D-B962-4484-8166-11243366E37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" creationId="{A8D8760A-5204-4A5F-AF0C-FC328A39591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" creationId="{024AEEC0-C36D-4D4A-9647-B511ED7688C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" creationId="{535F1AA4-1329-4EF6-8668-183AB838146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" creationId="{F24620E1-1790-4276-967E-DE73D2865F8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" creationId="{DF47CD67-8DFD-4884-948D-BD57369FE30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" creationId="{5470422E-14C0-4303-859C-650591A8BF3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" creationId="{707E01CA-2D03-4777-98C9-9993AFC506F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" creationId="{FD7A9E79-A48A-4E38-87D7-8C4053478BD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5" creationId="{BDFDCBCF-6026-40D1-9AD6-9036D60C192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6" creationId="{6053BAA4-9E10-4CA2-B537-837A8DC0652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" creationId="{99347D37-87A9-4E81-A704-FECFAF0FBD6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" creationId="{96576032-9059-401B-A25D-B5CE542D619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" creationId="{576B4DD5-6BD3-46A4-83EE-B62A97EDBBA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" creationId="{82B5F739-F70B-45EA-8A04-2EEBD1E246A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1" creationId="{FCDECD8A-A41D-42B2-8A75-E1ADB79D0BB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2" creationId="{9024121E-2035-4F1C-883A-A35982016FF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3" creationId="{5FA91F2F-349B-4F1B-86C0-BC067337A99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4" creationId="{63AA159F-A678-4155-9D8A-ECB53DD7660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5" creationId="{C4A418FC-6BD3-4A6E-9D0F-196EF0757AA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6" creationId="{95CDEA1D-EE09-4B08-8A97-17EB05356C5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7" creationId="{B0DBC47F-7F51-433B-A358-4F6CC233DE6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8" creationId="{2F7C1606-2FED-49CD-859F-4E11FCCAE1C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9" creationId="{9F48F958-C170-4180-BDB3-0E49B4531A2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0" creationId="{7C3507B3-91D2-41EC-AFE9-89F90139A51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1" creationId="{9AEF8960-076C-491D-A773-C2458D7E92E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2" creationId="{F3A7E9A0-4289-4D97-9D7D-E9ACD647562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3" creationId="{B55F37C3-F36D-4031-9616-228A6026B6D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6" creationId="{F983476F-4742-4E05-B767-53DC56F7F29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7" creationId="{E0EA532B-AFEC-4B6D-A2DA-85771522B56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8" creationId="{09A05D28-79D6-4665-95A2-812FF6DB81E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49" creationId="{DFA4CBC6-EC00-400C-A2F1-A13B082A100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0" creationId="{A5442778-D7DE-46C2-A2E5-D18E958FF7A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1" creationId="{C1358C43-5013-4656-B41D-E7717A9C255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2" creationId="{96D9A673-0626-47F8-A04D-88404E7310E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3" creationId="{39B94979-BD33-4D6E-A23E-8953D7B707C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4" creationId="{41096320-8917-4110-849D-59182E6F486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5" creationId="{65A7C957-E96C-4C8B-B1C6-D30738F4931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6" creationId="{F02EA6B2-0FD0-4DC4-8D8D-1B83B55E56E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7" creationId="{DCDB041C-F8C8-47FC-9EA5-6D39A12AA3A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8" creationId="{7D0E5D57-08EE-47F9-8DAC-A67BC927605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59" creationId="{C8B53C61-A048-4F8F-8036-33D3F6529C9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60" creationId="{B82655D2-D435-41C3-8033-78D0EA55218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61" creationId="{96BF8295-0DCB-42D1-AF07-E22E36EE5A6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62" creationId="{4CC6A69D-A0AB-4F42-A7DA-FABF9291575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63" creationId="{D85AAF0F-6E84-4160-986D-409C1AADF953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64" creationId="{25CEDA54-11F6-4C59-B680-1F700D33D78C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65" creationId="{4DC72FA0-3D4D-4351-9ACC-0AF4290D7450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66" creationId="{EFE04E3D-D8E0-444E-9004-A415DD6B73A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68" creationId="{9D598E24-CAB6-4307-95E9-29B84DF2406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1" creationId="{3A1D5F51-76B4-4630-BA2F-6131400DA9E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2" creationId="{48480D54-BA0F-4183-8BB2-A37F1201F0A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3" creationId="{2DB3723A-ED3E-494E-AB8D-F604D14EA35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4" creationId="{E82D0217-6D55-4822-9439-5DA6C0ED3C4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5" creationId="{9367EA6F-E400-422F-B856-8B53AF98357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6" creationId="{92559548-1339-40B4-A661-264E5B5DEE8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7" creationId="{95D8477C-2F99-430E-AE68-0DCB523A828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8" creationId="{E3A0EC31-91BC-49FD-832F-0909959BA12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79" creationId="{8D5A248F-D64A-468E-A937-74CEC291B46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0" creationId="{92C8436A-C082-4898-A995-2B9F8C9A3AC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1" creationId="{F68FA7A7-9BFE-46CA-95CD-56A666E6F79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2" creationId="{F57A96A5-7965-432B-B4CF-4182167DAC8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3" creationId="{A1D140F2-CC81-4CD5-BFDB-AAD04B3588A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4" creationId="{A31BF8D6-DE5E-4794-A554-FEF599C3E4B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5" creationId="{86B56798-C2C8-4847-9163-43C94042F68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6" creationId="{D6D33976-7661-4E79-95F7-B10E9BA0994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7" creationId="{CF71A4E0-50E2-42D1-B312-30184A8D632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88" creationId="{EAC78B8E-F0B3-4D84-8FF9-12CB54166F9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0" creationId="{E612496A-5BA4-4BD9-8D27-4CD036CF7A7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3" creationId="{C0AC0095-6C45-4FF6-A7A7-79292D2D539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4" creationId="{618CD24F-E4AE-42CA-A99C-9417F9CA340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5" creationId="{D53F6687-1C7A-49CC-80BB-B6F51D60F03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6" creationId="{1519518F-F831-4051-A606-3A28EA9AE0A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7" creationId="{7B28C835-C020-4D4D-87C9-7F60F661C80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8" creationId="{007AA018-F045-47F2-9839-BAD265E33F5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99" creationId="{A5273CAF-902D-45C9-A252-8EA460762F0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0" creationId="{6699F8DF-2CF9-4A72-80D0-2F52D2E33EA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1" creationId="{714515B7-806F-4F58-8F9A-5D0D5320A24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2" creationId="{29356193-652A-45A4-B5BA-68232CE346C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3" creationId="{1B58C9EA-04DF-462E-AB24-184FA7F6BDB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4" creationId="{6EEDF412-ACBB-445A-8485-6D5D24492E8F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5" creationId="{C59EC3FE-298B-43BB-8561-8834B3AF926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6" creationId="{A7989C1E-0967-45BA-A10A-70E5EF8A65C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7" creationId="{4A172FA1-E59C-40EE-BDB5-559D0CBD8CC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8" creationId="{E7AC4370-B35E-48BF-A8C5-4538FF58409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09" creationId="{731D56C8-2737-4325-8F45-0B23BB09FC1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0" creationId="{5F1A85CD-9AD9-4BB8-8F47-20103DF00F0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2" creationId="{2EC3996F-5C12-4604-A6FC-BD230AFEED9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5" creationId="{AB810001-4AFE-4737-A2D1-9A98E8FD57E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6" creationId="{5771FD6F-8AE1-4ABD-8513-DCC2FFC1E16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7" creationId="{DCD8D41A-C41C-4665-ACB4-E6C92D0CE33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8" creationId="{7637941B-FCC1-43AC-A35F-9D6C4F2EE4B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19" creationId="{A7149A6D-8F08-4B5F-9C88-C1466BF64DB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0" creationId="{DDBB4739-B9D3-405E-83BE-D9225392AEF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1" creationId="{532E5385-758A-4C67-AAF8-67146685298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2" creationId="{368479BF-B25F-4019-AD3F-88874E1419F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3" creationId="{FAE91622-E8B4-44D3-99AE-658FD79B2EE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4" creationId="{B9DE57C7-45BC-45AC-BEF9-B4FAF4D7414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5" creationId="{5DD0D4ED-73C2-4BFE-86CD-0C9D49F33AE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6" creationId="{9ABEC28A-B72D-4060-9A8C-A15A9D4D316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7" creationId="{948D3EDB-4E02-43ED-B7F8-BF2FC1DC04C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8" creationId="{A84BEDE7-C80C-4433-A1AD-4773D8A1382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29" creationId="{31227CDB-F79B-4DC1-B7C7-53D1F17C33E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0" creationId="{9B0F6B7E-6CD0-418C-8180-BCA6E3FC665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1" creationId="{1B161A5A-2118-4D2F-B91A-B2DC36A6017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2" creationId="{E2183E27-CA16-4D43-BE1D-65434AC0DBBD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133" creationId="{BD866136-C4BC-4C47-A301-35AA00149E5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5" creationId="{54707187-B045-4014-B620-D938D181279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8" creationId="{63CC74FD-2B77-4269-970F-26A39E4291E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39" creationId="{FA57ECF8-0C9A-4D3A-AAD5-3D14048932A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0" creationId="{421690A9-371E-4747-ADD9-C8917CE8CD3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1" creationId="{0056DFDE-8CDE-4D61-B39D-0F909C9B84C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2" creationId="{1C3963C2-2088-4FBD-9606-11C9C8D035C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3" creationId="{0207DAC4-0B36-4003-B41A-17E6A72826C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4" creationId="{0CF36F9E-CE23-4821-B3C8-3922C67771C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5" creationId="{5E103C14-EBB1-4CB0-810D-4CF056A59A1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6" creationId="{4B80F852-135F-4E6F-92CB-AFD82A1E0F8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7" creationId="{1BEE2488-0880-482C-8FB3-50BCA54FA4F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8" creationId="{15C401B0-86BE-49FE-BDC5-C082988502FF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49" creationId="{6CA3ED62-FC56-40CD-AFA7-636346CA58B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0" creationId="{4EB74BAA-9932-45D6-8F8D-D27AEB7917E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1" creationId="{C3BB8778-4608-4A66-B7E8-C7882EC5B7D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2" creationId="{6AFFF121-C0F4-4B20-ADB2-4629239D400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3" creationId="{0FC92D0E-15FA-40DE-A76C-E107207C09C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4" creationId="{691F4BB4-0E0B-46C2-A7A0-F0CB82F8BC5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5" creationId="{CEF22CF0-91AB-4410-8A99-528A1F7C4BC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57" creationId="{18E7874F-88B7-4AFB-AFFA-C1A716BA2F1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0" creationId="{48F0B37A-E046-469A-8FE5-F91B6DEB075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1" creationId="{4FE1166F-8881-4B65-80A4-75DC12F7924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2" creationId="{36447431-21B1-4EC2-AC83-1C9F5C1FDE3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3" creationId="{0854C9F4-EB8F-44D0-9EBC-26DFCF5549C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4" creationId="{1091A093-4B71-402F-AD52-4BE756A7C79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5" creationId="{71BD83D5-84AD-4844-BDCB-AD6F5760AA6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6" creationId="{3E0D6444-C853-4568-A37C-4A400B9DA9F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7" creationId="{C76DAE5B-3E64-4046-BB39-3754A251FEA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8" creationId="{163A42A3-C82D-42BF-92CF-F275E02C51B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69" creationId="{EBC3C3FD-135A-4F53-BE84-DD0D8543383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0" creationId="{AF642703-BC03-46F6-8F9F-6CC5347C42E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1" creationId="{7BD39B82-B5F7-4DC3-91E2-5D393315CBA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2" creationId="{FB8E3A2C-3368-4109-8C05-C08DF3E7E53F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3" creationId="{901C5E8C-B6FB-4062-AE6B-938F4CE7BC2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4" creationId="{04123357-4ACB-4726-AE34-E8544BA71FB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5" creationId="{B9AEE5E8-7B22-4E79-9D14-A8B84143CB9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6" creationId="{4123F253-1CD3-4A52-BB5F-B70A86F2182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7" creationId="{870C4E9E-38F0-47AC-A917-F16E3D3B160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79" creationId="{AF3D03A7-00C5-4516-AF89-64676F98D21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2" creationId="{0F30F695-F1D5-4F27-A2CE-4980BD2BE31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3" creationId="{F2AC41E2-410B-44C2-81CD-975768DBF85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4" creationId="{CCE8E769-757A-425A-9BE9-F5F45F46984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5" creationId="{550E5AC4-C1C2-4194-A930-F86EC8224B5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6" creationId="{DC0CAE23-5926-4270-BBD7-B9174F143D4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7" creationId="{01E0278C-07CD-4156-98F3-82B1320B598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8" creationId="{6F7FB770-5D7F-43C6-8EA1-6D51EBA0AB2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89" creationId="{83BE8E7D-930E-47BF-AEC3-C82C5B27B49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0" creationId="{8741DF7F-46A5-43BC-A531-C2881D6508E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1" creationId="{93B2EAB9-EC12-4A23-BA80-E3E883DEA68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2" creationId="{1636D7B0-2C1F-4D19-BBEA-FB17C7C7430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3" creationId="{67660070-7981-4CAE-BABF-13FE02BBE66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4" creationId="{505AB8BF-0D04-4C72-A22E-AB0CF19B518F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5" creationId="{73B0ECF1-30BA-4FC2-972A-B93FED55BE3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6" creationId="{A5755BBE-3AA2-48B1-BAF1-F7A511CF9EC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7" creationId="{7765D6A5-7A34-4870-B479-DE9E142AD07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8" creationId="{2291C6BC-F47B-4CA0-AB64-2ED060389A1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199" creationId="{A5777253-89F9-4EAC-B465-7D8C9E61EC8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03" creationId="{A86A10AB-A0C1-44DF-94A6-FE1E09AF1EA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06" creationId="{DE86A846-8D25-420C-BC90-EADFC52C65F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07" creationId="{0F95500D-1758-46C5-A5A3-254A7D3933E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08" creationId="{7B5A9C5F-73B6-40B0-8C70-FE605411395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09" creationId="{955D7FE1-83C5-4503-BD87-3AF88BDDD1D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0" creationId="{CF91E4EE-2D48-4344-875C-9460D064A60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1" creationId="{43DE77EA-AE3D-4D62-B289-1F3F1EAF0DE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2" creationId="{A62821E4-53DB-40B0-A229-7D5DB33ADB9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3" creationId="{2B18E250-7445-4889-9108-24DB7A15788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4" creationId="{BA4DDC68-66F6-421D-8ED2-DF24A429F24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5" creationId="{26260424-9AE8-4EFD-AB9E-C6F2246E00A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6" creationId="{0E268504-2786-4692-A4B9-88DEE687E97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7" creationId="{55083AF7-38CA-41D7-9540-835E0E40A92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8" creationId="{AE287C2C-4822-4422-B5BB-B671F9B504A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19" creationId="{2DC1E176-CF4F-42A6-A1F0-35B53A3FF58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0" creationId="{1ABF364F-14C0-4815-ABF2-76AC1A9C47D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1" creationId="{96F66BD9-8DEF-482E-AD79-159DD1EE340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2" creationId="{01FA7FCE-58B1-4CAC-BAF0-8F54C7A4752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3" creationId="{4F3A68A1-F513-4CA9-83D6-6CD6FAA961E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4" creationId="{2CDEBC9C-BD09-429A-A92D-A1314EF1C91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7" creationId="{DA020616-DDCD-418B-8E53-1807B794A29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8" creationId="{146AAA8F-98BB-4CFD-B020-75A5DB79965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29" creationId="{A5F6CAD7-5960-48FF-9F29-CEC42AFE5E4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0" creationId="{8B8DCA26-17CF-429F-9A72-756E81F0A10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1" creationId="{EE9F1F46-6E13-429C-A17D-B6F55B6C9A1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2" creationId="{CCD35F5C-2ED9-45FE-8362-DE3DD413A6A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3" creationId="{482FF96B-EE39-4C03-BAEE-7D8EBC5B12B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4" creationId="{10C2FEAE-3026-4DA1-A1E3-3F48F49EDEA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5" creationId="{230992B3-66F1-43EE-8ACE-CA6E6DDD98B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6" creationId="{94A1B8AE-353D-4C2D-B834-FDC5A87A7F0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7" creationId="{D815798B-1432-4FE0-8064-13251627C27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8" creationId="{CA447BD5-9DDC-46B6-A4A2-D94941A027A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39" creationId="{9EFE603A-2F09-4B44-82AB-B8E7D6475D1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40" creationId="{12F878AD-3308-48B9-B085-C2AB1668D32A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41" creationId="{03DD533E-D065-4EF9-9417-405EF2C93D9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42" creationId="{5A577130-3D69-49AC-918E-B0855D8B6A4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43" creationId="{93754982-5F05-4C2F-9B7D-AFCDDBF43F2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44" creationId="{D51E9003-24FF-47FE-97FC-943333B6E265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45" creationId="{7528F26D-3835-4670-96F7-3D906DA2A4EB}"/>
          </ac:spMkLst>
        </pc:spChg>
        <pc:spChg chg="add del mod">
          <ac:chgData name="Disselhoff, Tim" userId="3b8b5473-7050-4f60-8279-e72cc8538d43" providerId="ADAL" clId="{952E53DB-5978-46BA-964C-5B55B87B6690}" dt="2021-08-19T08:32:40.316" v="12994" actId="478"/>
          <ac:spMkLst>
            <pc:docMk/>
            <pc:sldMk cId="10542637" sldId="1433"/>
            <ac:spMk id="246" creationId="{0F6E6F68-741C-48D0-976D-4AB4FB15053E}"/>
          </ac:spMkLst>
        </pc:spChg>
        <pc:spChg chg="add del mod modVis">
          <ac:chgData name="Disselhoff, Tim" userId="3b8b5473-7050-4f60-8279-e72cc8538d43" providerId="ADAL" clId="{952E53DB-5978-46BA-964C-5B55B87B6690}" dt="2021-08-19T12:17:09.671" v="13326"/>
          <ac:spMkLst>
            <pc:docMk/>
            <pc:sldMk cId="10542637" sldId="1433"/>
            <ac:spMk id="246" creationId="{90322EFE-4944-4677-B031-787FBBFFC97F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57" creationId="{DD4AE2F7-67BC-4FA8-8EA9-F1C50CC62B30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58" creationId="{EC43B18A-A67F-41C5-B84F-A837C241F28C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59" creationId="{C6AA2AB4-E216-4527-8ABE-F60FE1083FA5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60" creationId="{ADA79FAA-5799-4AE7-8FFF-09A373DE7485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61" creationId="{BE91974D-08B9-4FC0-AFC6-97DFDBDF90A3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262" creationId="{9C761722-86C8-4F9B-875D-5D48D1965DF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66" creationId="{05C5953E-BF0B-4E43-8C4D-BF79CA3A807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69" creationId="{BA6FAE5D-00BA-4A97-9505-B2E49D83601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0" creationId="{3DA8F574-E63A-4508-BA47-63FAB9D9104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1" creationId="{FD53F7D9-92CB-4E6D-BD9A-C1DFDB6DC15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2" creationId="{AA5460E8-FA4E-4222-A588-EB13F453CDC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3" creationId="{4781E9FF-E597-4407-B2A2-C8EC7B8E1572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4" creationId="{F710DA43-095D-4CCD-8418-5A5814DCC5E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5" creationId="{F97B7B86-319D-446D-8758-5C1B118A976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6" creationId="{41696C71-B27F-47D1-836E-B9DEA2A07A3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7" creationId="{7F852F67-04E2-412C-8C2C-BFEE7953187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8" creationId="{2668819F-BD3D-4CA1-8740-FCFBB3BDD1FD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79" creationId="{FFA6CE02-81FD-4B79-A564-52B36204BC0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0" creationId="{ABF876AB-1E09-4E84-89A8-E0CF9CF630C3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1" creationId="{09F041DA-453C-4BCB-B995-AFC161CAC96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2" creationId="{30E16524-FBB9-41E0-82A8-FBE9340FA61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3" creationId="{1CF917EF-44C2-4DB5-95D0-31428FFF060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4" creationId="{F8559464-F9F8-4241-9033-682A2F6127C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5" creationId="{B377A405-74FA-4464-9F88-9F4E74DCF52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6" creationId="{B305CB5D-EE1B-439C-A234-2ACAEF306E2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87" creationId="{4C6A4E5A-FCA2-45D8-A35C-F94E2FAB781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0" creationId="{95587085-48B2-4810-8E02-E68CCB80CD6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1" creationId="{211B11E7-3822-453E-BB0B-31190F3BF66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2" creationId="{DEF7FBB9-427C-42A2-A095-C2DA2395014C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3" creationId="{930B1CDC-A7BF-41B4-99B7-B953AAB0D00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4" creationId="{66CE1B89-DE96-4B0C-9D67-EA03A975A284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5" creationId="{3F9165C5-EB46-4846-B3E0-F563F88A854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6" creationId="{DDE425B8-5181-4BAB-9D5E-53442BB2212B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7" creationId="{86231E3D-B20A-4074-83BC-393BDB4F3D2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8" creationId="{F6675F48-05C7-4842-B583-93EEC99FB8F9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299" creationId="{4EF65E5D-CC1C-4F0F-9631-A9086FE6B078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0" creationId="{21E99004-536C-4332-83B4-2FF907C2AB1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1" creationId="{FEAB911C-080B-4BCF-8401-163390A608B6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2" creationId="{8B4C111E-BBB5-4DD7-9B3F-A2BD8E0D6270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3" creationId="{3892ADFB-BB94-4263-9F0E-0F4588F28B4E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4" creationId="{3C9D7A0C-E91F-47AC-B437-E6C0014EE601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5" creationId="{4738398B-C494-4F05-B253-06A14F39E3C7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6" creationId="{06B5A802-4C6A-4F50-B43D-F417A80708F5}"/>
          </ac:spMkLst>
        </pc:spChg>
        <pc:spChg chg="mod">
          <ac:chgData name="Disselhoff, Tim" userId="3b8b5473-7050-4f60-8279-e72cc8538d43" providerId="ADAL" clId="{952E53DB-5978-46BA-964C-5B55B87B6690}" dt="2021-08-19T08:35:02.233" v="13033" actId="165"/>
          <ac:spMkLst>
            <pc:docMk/>
            <pc:sldMk cId="10542637" sldId="1433"/>
            <ac:spMk id="307" creationId="{2015BB3B-CFB7-4959-BE5D-E4195BB5E63C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308" creationId="{1F1CA63C-9C02-4EE9-901E-DAD1F640F41D}"/>
          </ac:spMkLst>
        </pc:spChg>
        <pc:spChg chg="add del mod topLvl">
          <ac:chgData name="Disselhoff, Tim" userId="3b8b5473-7050-4f60-8279-e72cc8538d43" providerId="ADAL" clId="{952E53DB-5978-46BA-964C-5B55B87B6690}" dt="2021-08-19T08:45:40.132" v="13036" actId="478"/>
          <ac:spMkLst>
            <pc:docMk/>
            <pc:sldMk cId="10542637" sldId="1433"/>
            <ac:spMk id="309" creationId="{09E722CB-87AC-4298-9667-A88B2FFB9DD1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13" creationId="{BE06FA23-B0F1-4AA2-A219-ADD3FD583222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17" creationId="{956A1DB3-D384-44A3-A986-15EF27B779AF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18" creationId="{0971D970-137C-4A38-AEA1-61BA865B145D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19" creationId="{671DE1D5-976C-49CE-8EEA-4E80D63F11FC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23" creationId="{2E665CF4-0C56-4C70-822D-64CEB163451A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37" creationId="{5EC15FC6-48F6-4442-B6D8-4C717EEEA0EA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38" creationId="{0475EFBE-E1A8-481E-BC86-1D92DED120B4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39" creationId="{2107B450-FF1F-4973-B125-15B0B9280233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0" creationId="{075EC69A-F164-494E-B703-C5E1908957BD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1" creationId="{14E95CEF-8724-4A34-A1B0-861E601AFA73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2" creationId="{BD857CA6-794E-4A9D-9C70-7499474885B3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4" creationId="{A2229038-9DF7-410E-80FC-55EB758D0538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5" creationId="{36AC6C4A-016B-4243-8818-276E6653CB3D}"/>
          </ac:spMkLst>
        </pc:spChg>
        <pc:spChg chg="del mod topLvl">
          <ac:chgData name="Disselhoff, Tim" userId="3b8b5473-7050-4f60-8279-e72cc8538d43" providerId="ADAL" clId="{952E53DB-5978-46BA-964C-5B55B87B6690}" dt="2021-08-19T08:45:37.158" v="13034" actId="478"/>
          <ac:spMkLst>
            <pc:docMk/>
            <pc:sldMk cId="10542637" sldId="1433"/>
            <ac:spMk id="347" creationId="{57785ECF-DA9E-41DD-BBB0-515C9317C60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1" creationId="{751F8937-1169-4DF5-957B-33822C99887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4" creationId="{B1A0AA28-5470-47F4-BC1E-56EE0128ED1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5" creationId="{AAE70717-FC3C-4DB9-81D5-0F3B5995E27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6" creationId="{B72F7E67-B512-4954-8075-633CD64709D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7" creationId="{AFBA27B0-EA40-4401-9E21-F88B87AC212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8" creationId="{17A108EE-E5FC-4AE4-90F7-03930427A14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59" creationId="{B8A5C6D7-C04A-406A-8887-F76C9C02BF1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0" creationId="{DFE2B9EA-745E-4A67-9C38-D6691F733E8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1" creationId="{2A5A005B-F037-4030-A90E-007947EC984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2" creationId="{CA072218-A3CB-499B-B4E9-07FA8CDE04D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3" creationId="{6D2A7A44-8059-48E2-92DB-E8E395F10C5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4" creationId="{AB43B69A-1CF6-4E08-B8A0-C610D53C1D3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5" creationId="{B6F0DB70-68F0-4379-981A-C8DD0FECB6D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6" creationId="{3A32AE8A-1F40-4F20-BD90-B4D5FE0DBC3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7" creationId="{64584AB3-0150-46E2-8155-47E7D174353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8" creationId="{2C7D31CC-64D8-4CB0-848D-4A8FAC91491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69" creationId="{3F86C620-52F0-41E3-8655-DBAECE3DA56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0" creationId="{5D874C5F-9868-468F-927C-3AEDDBD4599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1" creationId="{03A5A078-3D6B-44E0-B4B5-0A41317C6D1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2" creationId="{392C63C8-83F8-4696-9843-14B89A58C56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5" creationId="{4FFBB1DB-8922-4EB3-B3D9-F3F941D53C2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6" creationId="{2E978356-E17B-4BDF-A355-B0087F38C7D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7" creationId="{3A25130D-4619-44C3-AA59-2C5C5A785E3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8" creationId="{E7563424-1248-4EE8-B562-44180544F0E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79" creationId="{5CA45479-4F28-493F-872E-D7DC8BB9ABC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0" creationId="{725BF74C-A8A1-4670-9C89-C69E9AFBACD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1" creationId="{80F59D1C-1252-4D29-A0DC-FDB6E3DC546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2" creationId="{2C115DEC-3F7B-4D7A-873D-0A9A742934F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3" creationId="{B949922C-1DCD-4015-898E-C541BCBB5E6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4" creationId="{B4C240FC-DDB4-4B88-9A29-1747F9E0DDF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5" creationId="{B4FA984D-7DB9-4421-A039-C63A9D24481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6" creationId="{C8C3D45F-0DD2-4D6E-950C-BC5EDCB3E43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7" creationId="{5BF5D053-19E4-4DA0-BA2D-4EE07499C83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8" creationId="{DD4EF82D-B739-4E51-9B97-CFB94777D61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89" creationId="{6AAFFC80-C7EB-4B85-A630-1565F54457F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0" creationId="{0173CE2E-7D6F-457B-9FC2-FF6252F47BC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1" creationId="{ED571D62-048B-4C1D-A894-80015AAD269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2" creationId="{34393C73-64C6-48C3-B3BE-281B62FC7A3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5" creationId="{ABA39A96-4F89-4774-ABEC-B9FE003A158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8" creationId="{8697DE23-22A2-4990-B022-AAF88B5F36A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399" creationId="{FD05E4CF-5834-4E73-81C1-1FFC99C2055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0" creationId="{A593C324-6F5C-4FBC-90E9-176E22B6EAF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1" creationId="{39421EBE-E355-4F8E-AE38-3B1DA7843DC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2" creationId="{F6FF5DBA-603E-4A44-A55B-AEA003E9EF6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3" creationId="{7A1431C5-9825-49A5-B1A0-A61BAD2FB37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4" creationId="{95C221D9-04CF-4E64-9FC8-49CB454A748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5" creationId="{E852C095-C2C6-4DAB-80B3-A27FFF0B442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6" creationId="{BE45F471-660C-4C42-8413-C3A18A7CB66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7" creationId="{57C9A34D-4A36-4420-A8DF-BF9D92DEF38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8" creationId="{D43F2599-AAA9-4B26-A41E-EAB7F5533B8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09" creationId="{7F4898EF-10E8-49F4-ADE8-1C2F7C2EEE9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0" creationId="{318274E2-E725-4853-BB24-192E04F9F9E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1" creationId="{7E24F9D4-0F35-4DA6-8BD8-6DE38DC90BC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2" creationId="{610C16F3-2072-4327-A7E5-BAA4D22B197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3" creationId="{6155235A-F73D-4146-9279-7E945CB65B1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4" creationId="{F4756A57-7183-4781-ABB3-A112C161036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5" creationId="{4381510A-62D7-4CF0-AC27-864411F046D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6" creationId="{0617A2B3-433B-4486-B461-938F5ABF56F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19" creationId="{8C46E68D-9583-494A-8EA1-32845B05E29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0" creationId="{025F538F-5FB6-4C78-A16A-B8658420E22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1" creationId="{2E742DEC-CC65-4D45-9F7B-3F61C23FFA2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2" creationId="{DD870D89-6393-4890-818C-8C6BB81758E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3" creationId="{3176A68C-5254-4DCE-AC59-824807B1FC7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4" creationId="{0F0E6DA5-9965-4719-AAA5-CF97313F699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5" creationId="{6FFE7BB6-07A9-4226-B458-3BB72A7D341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6" creationId="{3C164A45-C98A-450E-9BA8-23C60C8D988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7" creationId="{B7AB8308-6CC1-4D0F-BC06-598C156E724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8" creationId="{531EAF4B-90DB-4A62-8524-7C746D8BFDE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29" creationId="{80A09826-2ED8-4861-B3E9-4EC67677299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0" creationId="{413C76DE-E06C-4AFD-8F61-F8F380F70E6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1" creationId="{B5B2FA04-A1B7-488B-B414-48991026AA7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2" creationId="{FAA7545E-96C2-4D5F-B0DC-3422AA5C215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3" creationId="{F4FCBC7C-ACAF-46FF-9290-21044C1F487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4" creationId="{98CD1640-549C-4AA8-86D7-F838E2B6642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5" creationId="{F78B60FF-1ADA-4977-8418-C159CAA39CF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6" creationId="{0D7F5210-9913-405A-B351-C141221CEB2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37" creationId="{1FBD915F-2711-496E-B034-A493DEA4FEF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0" creationId="{851F9FF7-3FC7-4DBB-A77D-7D106DA328E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1" creationId="{BC8FF825-8A6A-4059-8918-5208F5A77ED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2" creationId="{AFC37789-06AF-4148-82B4-18FB2B689FF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3" creationId="{481C48A9-4E7D-4F45-86C5-04189253606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4" creationId="{A370DC8A-2B66-425F-A483-770DD330DE5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5" creationId="{30FED1FE-77F0-428C-9819-F22B65469DD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6" creationId="{2C251BA6-F3F8-4531-B281-742ADF4F446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7" creationId="{AB1D837A-0A29-47BC-8B2E-EA2B8C4FC14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8" creationId="{8D6A4CD3-7D7C-46A2-89F7-4A8800F2132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49" creationId="{6C523D55-72E1-4111-B937-5FDA8E7F89F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0" creationId="{CF51020E-1544-452F-A364-114089C9ADD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1" creationId="{2437E33A-DA89-4A09-AD39-274D6A785C6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2" creationId="{E5536013-955E-4B69-AFB6-9069F0BC8F2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3" creationId="{289B265D-A559-453C-8E1A-1FE0E2050D0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4" creationId="{CE0BB70C-05A3-4F15-A1ED-97E88DA3CAF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5" creationId="{2B0A73D6-7E0C-4327-BCF9-577A87C6FF5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6" creationId="{CCE324EE-E387-4DC8-922C-FBAFB58B5D2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7" creationId="{51D13E52-A1AB-49EE-B870-42716F83CC3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58" creationId="{B5117DA9-1F24-4B73-BD60-C6DB0B413B4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1" creationId="{F1304535-1E60-4319-9C48-C7CD5C54052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2" creationId="{0A4E8693-EEF3-42E3-AFE5-5D4457F6093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3" creationId="{66E2B5B4-23FF-4E80-9AF8-038F1D430B1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4" creationId="{375CBC1A-977A-49F3-987C-F7F37F708AB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5" creationId="{59F62277-B9B8-4494-80CE-7726C996D40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6" creationId="{65EB0A13-40E8-46F5-B3F4-BA9333E732A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7" creationId="{5CCCB89E-551E-4B43-9F7D-717C9F8CD8D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8" creationId="{0EBEC20B-F87D-43A5-99F8-743559851E0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69" creationId="{22ADE687-03F3-475B-AC35-1E647648D30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0" creationId="{225E5381-43F0-40BB-A8EC-1C4118FD01B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1" creationId="{2B026F0C-157C-47F6-8B22-C214782DC22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2" creationId="{B5468BC7-45BF-48E5-9067-303D7C62599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3" creationId="{5486C089-8684-4D92-B8D4-F524F4D4A12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4" creationId="{A74BE0E4-A564-44AF-94F1-D7826BFE15F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5" creationId="{747206C9-4461-4AEB-98DA-42827F8F4CE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6" creationId="{7EBDE247-1E0A-4F93-A5C1-413AA814B0B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7" creationId="{35A3D7FE-5C54-4CB8-A24E-C4E5F14FE2C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8" creationId="{D0F2B77A-3697-4616-8265-06D95A6F479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79" creationId="{BF88FAB2-B162-4397-8FC5-7E6442939A3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2" creationId="{2A894050-2045-4A27-94E7-9217A86F05C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3" creationId="{06A9C513-D265-48E1-A227-4A2CC8F12F8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4" creationId="{CBA1C2FE-6C0C-49BA-95DF-9DDADD89B80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5" creationId="{D6800951-86BF-47F6-9283-D70E690A323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6" creationId="{B8709B14-008B-4C56-ABFA-C9CF2751CE6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7" creationId="{146E9C4A-FFB6-42FF-B05D-716AE410157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8" creationId="{AC4432BF-C6ED-4179-B5EF-78AF2BDB151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89" creationId="{135A0820-496A-4470-BB1F-47CC91083F9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0" creationId="{A618295D-A03A-4EE0-AA1C-F12459A6668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1" creationId="{1BAEAD90-D0F6-472A-A8C9-77AAB83D17C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2" creationId="{3D95C03D-C77D-4837-972A-AD0D7879AC0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3" creationId="{B489F51C-7658-40EB-9F0D-4E5078548F3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4" creationId="{83CA0CF8-209C-42DD-85A4-E151BA2762B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5" creationId="{6580E6AD-61AA-44A8-926F-27012EFEC1D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6" creationId="{ACB56DC2-01D1-46CE-BCD4-82BF906478F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7" creationId="{BC3EDB8B-1ABA-49BC-8944-3DA315ABC13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8" creationId="{C0EE1A4E-BA63-4C5E-853E-ECC044A652F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499" creationId="{4BE4A35F-5657-441A-B0E3-F8431CD8850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0" creationId="{B8595135-4520-485D-977C-9011E15B63D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3" creationId="{D2764245-B2AA-4ABE-B32D-64F4847A9D2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4" creationId="{B8AA8B1B-9C91-4472-9F90-180DC73C23B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5" creationId="{AB6841F2-643C-4997-B374-CAD12AE12E8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6" creationId="{247D65E1-8AAF-42CA-8EB0-4F60B341C34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7" creationId="{9115AEB7-8917-489D-9174-F29BDD8C72D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8" creationId="{8A89A5DA-A07D-47D8-810C-46E5D6C3CA1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09" creationId="{963C4080-A3D3-451E-BFB8-BD1E4382686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0" creationId="{AB7CC5E3-9435-4036-95BB-46609057309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1" creationId="{5966F17A-DCA3-4F0F-BC3C-C9A12679566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2" creationId="{31A2E6A6-6BCB-4899-A78D-2507F35D7E8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3" creationId="{527D67A3-D9B5-45DB-B36F-F3FD90C56AC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4" creationId="{01135DF8-E5FF-4F71-8028-CA3DAE31BF9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5" creationId="{343235BB-6F53-4F7E-A9AF-B590B6E0157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6" creationId="{E6E4B683-F03D-43E5-A2C3-1A173D04399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7" creationId="{EDED0B0C-656F-4569-99AF-B468EE1FD0B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8" creationId="{68FD3D74-D984-40E9-B7AC-30AA5DB9E71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19" creationId="{485AB5AC-25CF-4926-9C5A-CCEA79B7FEB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0" creationId="{826870BF-4872-4A57-B5AB-BD041C39545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1" creationId="{84362E68-1EA8-491F-9170-317173D4E6F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4" creationId="{70E9CBEA-2F8E-4D3B-B810-ABC76868F56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5" creationId="{04D34DB8-76FA-4848-BA3B-070E43881E9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6" creationId="{DCB00FF9-27F7-4BB3-B139-865445B29A9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7" creationId="{9C10ECD7-84C3-4F11-AEA5-66AC2147162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8" creationId="{168F510F-05B4-4EFA-84AC-A9EDDD0AD10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29" creationId="{A26F08FD-6CE1-4E3D-99D5-674BE93018C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0" creationId="{CBB0AC91-D13B-476B-AE42-5C81316E879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1" creationId="{A1EEAC54-8923-4EEA-B8CF-F77C86A1542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2" creationId="{63799B29-83ED-4F5F-AC66-81DF20A0B8A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3" creationId="{FDB341A7-4E28-478A-9F69-1BFDAE8A417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4" creationId="{8E0A720A-EE08-4DD5-B709-46F683DC14D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5" creationId="{4856E158-2CD2-40FA-81DC-385522D721F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6" creationId="{E20786B2-5EE6-4E97-ADF2-B4C0DC643C0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7" creationId="{E317EBB5-4D4B-4026-8B4F-675AF665A54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8" creationId="{DC1B7F91-ADA7-4C1A-A859-53DCCD333DF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39" creationId="{05965B3F-ADD8-4265-827A-42472E2B98B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0" creationId="{D69A461B-092A-47C7-B52E-DEC4754B71A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1" creationId="{3DA7047D-195E-41BD-BC5B-68750F04811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2" creationId="{7F3D151C-7BE6-41B7-A113-7A86E8FB768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5" creationId="{CA84FE8A-52C4-408D-AB1F-F06FC230D98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6" creationId="{4E0C5543-D05A-4EDA-9408-04A847D44C8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7" creationId="{34579471-9311-4A7E-90A2-4301C0148FD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8" creationId="{5FD28672-44F7-4DE9-B2AA-92FD250D99A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49" creationId="{E685EEFF-774A-4652-9D9F-E8A6B7039F5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0" creationId="{D082CA42-0584-4B7E-A425-88A7ED7B3B1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1" creationId="{785FA500-9EAA-4B17-80D9-505F94FCBC3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2" creationId="{23967144-35E6-4F94-90B0-184D8053B14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3" creationId="{B5C528DB-25AE-4CA5-8C37-477AD67A9A1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4" creationId="{53DB1228-643E-41C0-A8FA-FF760C9A8D9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5" creationId="{8D9B9970-1348-49C4-9A72-CEB84739C2D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6" creationId="{ED4154CD-B1A5-45FF-9D6E-F5010DFB1D0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7" creationId="{3B2BB5EF-AA55-44A6-BEEF-98FEA9B3F4A5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8" creationId="{D91600BB-FAE1-4B96-84D4-06EB21BCF04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59" creationId="{A75E2A22-A923-4311-8F90-CB62153660E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0" creationId="{F4F145B7-F894-464B-8607-C16A1EF0756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1" creationId="{97A9F7E5-46AF-4378-A5D4-52E28404390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2" creationId="{08C128FD-2E11-4705-91BC-718BD5B2570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5" creationId="{1DCCEBEA-0F03-405E-884A-B410324757D7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8" creationId="{10EF0514-BD85-4B33-8A50-8FD6593C6DE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69" creationId="{342CE264-F451-4075-A7B0-DF9BB9D35BB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0" creationId="{9FA41848-4472-450A-B23D-16756397863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1" creationId="{24B9B2A6-7FAD-48EE-B00C-4CABC28380D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2" creationId="{BEDCE1BD-B461-41EA-864D-A7736A93015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3" creationId="{09E3228C-1458-42A2-91E3-FDD9C4709E9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4" creationId="{D84AC27B-F484-4C37-A9C0-618F7864D71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5" creationId="{4DFBC8BD-FEE5-4E0B-830F-567D8B5B4B33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6" creationId="{07C34ED9-407C-4695-9692-693C250C0CC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7" creationId="{AB8FD985-776F-4774-981E-8B3B35B2730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8" creationId="{91426E1A-9A7C-4098-B13F-4AF835EAAC5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79" creationId="{E2126405-F84B-4304-9620-1CFCF43F6AE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0" creationId="{871990E1-7A2C-487D-8822-324E4520741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1" creationId="{386A83B2-1C24-40F5-B21D-997D49B2D36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2" creationId="{3FA5AF6B-CB44-4438-9CA4-2F437B2DAE9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3" creationId="{A8FD0024-26F5-4392-BD79-B258DD004CB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4" creationId="{85B2F53E-8771-4B10-942A-4EAEC0C27B3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5" creationId="{C53DE0AB-0615-47D5-AEF1-8B99974C5360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6" creationId="{87F64FE1-C345-4B49-B93E-10618C770E7B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89" creationId="{9679BAEF-9321-4BFD-90EA-D55D0D4CC3D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0" creationId="{45B58560-DFEF-40B8-BE71-DD47146BF5F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1" creationId="{5740EA44-47DA-4D6B-A1BE-79618C91EAE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2" creationId="{83DEC296-CCE8-4F49-B98F-72CF1A905A7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3" creationId="{4F78D88A-5F55-469A-ABF4-7234FEDC5B68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4" creationId="{08D74439-D699-497D-9FE9-C0C81D422FB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5" creationId="{E7D01C1D-DFDE-4BD3-A3CA-A13CC10C7FC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6" creationId="{C863D24C-6246-4B74-AEAE-207C8F5D01E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7" creationId="{A0E1E3D5-93F8-43A9-B280-48ABA764940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8" creationId="{F219F21E-FE55-40E0-A8A3-37480841AFA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599" creationId="{35C62361-A2D3-449E-B1A9-446ED1E84AA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0" creationId="{39AD62EC-6A12-405F-9CFC-6A4E7DD620F2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1" creationId="{EDA7B0BB-94C7-4E15-84D4-9DEC2E7A35F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2" creationId="{8D441970-E77A-4545-91BE-83981ED48DE1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3" creationId="{F3D9C072-B1D4-4AEB-ABB5-84AF2E07424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4" creationId="{F4FDED2D-4094-4289-A0B7-BBB1B348EE4F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5" creationId="{52ACEB61-D1F7-45AC-BE4F-D33CFD92CD8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6" creationId="{41AC60B2-501A-4034-9E8C-FF5DBDFD99A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7" creationId="{392ED1C5-E62C-45A9-8909-09A8DB52A0B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8" creationId="{C5A6FEC2-F2BA-4D43-94A5-062AE0129974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09" creationId="{F6FE56C0-C8B3-4EE3-B751-CCE84E36BF4E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0" creationId="{22B9CBE0-DB2B-4935-A451-FF333C438B2D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1" creationId="{5A3B906D-1446-416A-AFED-3CE5D14CE7C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2" creationId="{76FCA800-F0FE-4FD1-8DA7-495BC2CAAE39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3" creationId="{DA988A41-0222-4771-8382-BF2818608E96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4" creationId="{233FBBFD-4D6B-4149-AC63-C39D5F2D965C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5" creationId="{4E79A865-CFF3-4C8B-9342-C1089F96C79A}"/>
          </ac:spMkLst>
        </pc:spChg>
        <pc:spChg chg="mod">
          <ac:chgData name="Disselhoff, Tim" userId="3b8b5473-7050-4f60-8279-e72cc8538d43" providerId="ADAL" clId="{952E53DB-5978-46BA-964C-5B55B87B6690}" dt="2021-08-19T08:34:50.960" v="13032" actId="165"/>
          <ac:spMkLst>
            <pc:docMk/>
            <pc:sldMk cId="10542637" sldId="1433"/>
            <ac:spMk id="616" creationId="{99A1FCF9-8D74-4395-9E7D-3396E3A374AE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17" creationId="{6D0871BE-4735-43E5-8847-9FDB7A1E3B0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19" creationId="{B72E6E6D-D801-41B5-B2C5-0D8F685C135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0" creationId="{E07F1338-6A12-452D-9BF1-677DFB8927C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1" creationId="{D4B16153-AA9B-47C0-BA17-CC627D2214A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2" creationId="{C52BDC64-A2FC-4826-8C8F-C3022598FFA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3" creationId="{3CA1DA92-B162-4D61-BCD8-7204594A1D5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5" creationId="{41E8BE38-0921-479A-A665-FB50FDAC397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6" creationId="{8AEAC9BD-CF25-444A-AC11-53320F7B319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7" creationId="{E8C7E2F6-7D28-446B-95ED-F454E2725A5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8" creationId="{2E22044C-111A-4531-B927-E7440A67D4F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29" creationId="{7479FC02-B5E9-4B0E-8824-29186969660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33" creationId="{296E0034-057C-4099-BCCA-AEC4CB82EF8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36" creationId="{EBAA79CE-BCA2-4E17-AEFB-301E931C1D3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37" creationId="{EB74AD2B-37CB-4E36-8822-8F4EFA20FFE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38" creationId="{60CDD1BE-4F42-4550-8E9A-6D48309A505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39" creationId="{BEF9B334-13BA-42FF-AF03-2CF2C1A47E7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0" creationId="{526D685D-A269-44F8-800C-2700CCF3991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1" creationId="{2D0D7F5D-E4A2-4C25-9018-D80941ED4C0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2" creationId="{16189EEF-856A-4353-ACC9-0DF2063F67E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3" creationId="{944DCE97-7605-4543-84A5-1B391907FCB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4" creationId="{399C71FF-5B6F-44BE-8A29-4C1C0BE986A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5" creationId="{3EFB8618-98CB-4EF0-8431-E2187A9F112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6" creationId="{8FDDBE31-29FB-4341-8233-FF3DFCA5412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7" creationId="{E19A79ED-BBAF-4296-B9F8-2FE3B5047C4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8" creationId="{15795C0D-D566-4A2E-824A-900402AD951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49" creationId="{5EA069F8-13FD-47F6-9388-D00090591FD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0" creationId="{5205A405-E990-4EAA-BA9C-2E5164B5EE9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1" creationId="{1B1C22A2-B53D-4637-B62D-A0E4A2CCD15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2" creationId="{E4E1F552-48DC-4F40-AB0F-ED73FDA9BB8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3" creationId="{865CB7CC-5B81-4C77-81C0-155775200CB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4" creationId="{BC9B1A64-BDA6-4964-B3B9-63DC4C83448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7" creationId="{186A44F5-325F-40D4-AFCC-D7859DF2877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8" creationId="{25F292F1-DD41-49A8-BA39-2A13958B5A8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59" creationId="{04668E8D-6665-4448-93E6-424D5AA235A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0" creationId="{46801DA0-85BD-435D-AFB3-469EF8097B8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1" creationId="{B819CA70-B0DB-4609-B448-4F7F4AE81AE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2" creationId="{F5C5BE7C-03EF-4C95-8774-D3BD9C354B6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3" creationId="{00DF0029-1A2E-411C-9140-51CE619D78E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4" creationId="{CDAEE6EB-0D90-4625-8349-E0471F4FDF2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5" creationId="{F906820D-DA8D-44C2-855A-29A117EB94C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6" creationId="{F94F8F43-9F35-456B-87CA-F8D885B77EC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7" creationId="{82B03563-1BB7-48AB-9FD2-A7FDF1614E1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8" creationId="{CD2F9D92-C720-4723-98FB-FCDAF35167B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69" creationId="{969FCC6E-3CD5-4615-9143-E3333F45B55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0" creationId="{30E3F903-4F08-422C-A145-BD508DE862C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1" creationId="{6EC0D27B-E4A8-4D98-9E77-A56A41DB077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2" creationId="{A242E0ED-42E5-454A-B1BE-A79AA8081A9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3" creationId="{410035AF-9739-4FF1-A926-FE01259E4AB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4" creationId="{B74C8BDA-3A4E-4DAD-A1C8-563A4F6A2FB4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5" creationId="{38B2D0EC-903F-45A4-A5E5-6E93B1AEBCE1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6" creationId="{2ABECAE7-649A-4D94-94CD-CD20845722A8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7" creationId="{D2E84B43-EACC-46A9-98C9-D900782BC2F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79" creationId="{45F2BC21-0276-4F96-A08A-410B2F540AC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2" creationId="{CDC34FE5-3EF8-46BD-86B2-4E32DE1CBD7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3" creationId="{1C5E0984-6552-4B42-8E6B-D9A51DC2DB9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4" creationId="{63CA7370-E33E-43C2-A5A9-A8E47B84FEC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5" creationId="{9C46D199-F0B2-438F-9E11-3A1278AAD1E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6" creationId="{48BA0D37-82DF-4E7D-9144-5A2EBBC2B66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7" creationId="{B9E3507E-8321-449D-91A4-16A415768D9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8" creationId="{8D4429F4-BAD7-4964-9986-1B2FB62BE33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89" creationId="{CA5EB785-FB3D-4033-A3C4-4C33522BD0E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0" creationId="{6F45899B-F238-46A3-B45D-C278452D5A5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1" creationId="{16C69D00-FE5D-4EE8-A9CD-EDE3A623435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2" creationId="{217E4590-79DF-4E53-BD8A-069900B88D6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3" creationId="{FA29C533-228E-4064-88D0-8D567C08971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4" creationId="{F6DD8FFE-C3C0-484A-9AE3-049AB624D25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5" creationId="{5D22B82E-566C-4C3B-8461-A8EE281A65D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6" creationId="{8904B9A7-49D9-412C-8234-1BD001D815B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7" creationId="{17223C99-A35B-4A9C-8090-75ED04A6201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8" creationId="{755800ED-F890-418C-B2E7-2223ED8739F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699" creationId="{87AAD6A1-9308-4B06-B08E-D861AA8C1BD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1" creationId="{5AE3B4C1-D8C7-448D-A8B3-8DA2FB5C8A6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4" creationId="{6BF3803C-1302-4CA7-8D6C-757B85714D1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5" creationId="{F801E9E1-296E-401D-97F0-8C16E3AA00B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6" creationId="{240ADA27-9ED8-4976-BC92-1DCB0AB5D06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7" creationId="{51E70150-DE47-4DF8-A4C1-76E2512F29E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8" creationId="{C758B32C-F135-450C-BB67-851233BFF5D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09" creationId="{C2A5B9B9-6187-4DB5-AC7A-0AD9A6CF497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0" creationId="{7F43ABD9-4CCD-44BA-82CA-55DE1A9E4FA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1" creationId="{5975D891-5FEB-4201-A929-3731267F44D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2" creationId="{0AD6CE34-DA69-4C08-ACAA-7BF2B09DD1D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3" creationId="{8848905C-C123-4FBD-B9B8-3392A94A346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4" creationId="{042F0995-F5FC-4ECD-BDF6-09691CFE83F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5" creationId="{EDD5B4AF-8C0D-40DF-9808-1174ABD44B5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6" creationId="{D1574D10-27D3-4968-8294-3FA33A13DAD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7" creationId="{4C15414B-F217-449A-A576-B960C4FA278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8" creationId="{54AE930D-CC34-470B-8222-FC4BF7ED55A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19" creationId="{B5A15022-81D4-411E-9563-D5CAFDD5537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0" creationId="{EEFE4E5B-7505-45B1-BE8B-723E1372C16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1" creationId="{2C7ED307-EB1D-4CAF-AE0F-B78201AD5B6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3" creationId="{80F988CD-F3A6-4BE2-8972-AA79CFD437C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6" creationId="{2C791E41-3B88-4F96-93C3-3E2DD30A1FF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7" creationId="{5FC68A93-7749-472A-A9B8-D292782EB64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8" creationId="{505B7F65-63FC-4B61-A637-A1A0BBDF6A0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29" creationId="{D08E39E4-FA7E-406D-A5CD-22DB2D89658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0" creationId="{EF887DF3-32AE-4AA7-A88C-A1387F73790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1" creationId="{190ADED9-DF8D-44F8-B44A-73D4DE96DB0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2" creationId="{60113696-24C1-4D28-8456-B992D79AAEC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3" creationId="{3DE2282D-0BA6-49A6-9D5A-2013464E8AE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4" creationId="{76CF4DC5-2A25-4081-95B7-FCA7C1D8AB3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5" creationId="{9D4A37E8-7D9A-4EA4-A9B7-86F87714F4E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6" creationId="{1B2C3723-0A8A-4960-86FB-B100D7406C8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7" creationId="{71A05436-443E-4992-A7CC-AB07A7F8035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8" creationId="{BD9BD1B5-3DC7-4E45-B393-E0CEEFF06A2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39" creationId="{5B0B7BBC-9FEB-47FA-8DAF-FF71D868497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0" creationId="{C110B80C-0A83-4A57-A1E1-27C12498ECA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1" creationId="{B49DCAB3-7FF1-4404-8B17-B942FFDAADB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2" creationId="{3418146E-25EF-44E3-AAC5-0AFCA97C25C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3" creationId="{90AD32D4-9F66-4546-8127-F97812E0A6D4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4" creationId="{026E545C-5F36-4527-92F2-402C6E6110A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6" creationId="{EA406461-37BB-4DC5-BA82-8CFA08DB1D6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49" creationId="{4636770A-B489-458D-9F4D-44C17A21C8C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0" creationId="{0AA8F6E5-A3AD-404E-9675-A81D0AD10F8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1" creationId="{A72CB797-8443-4D63-8925-24ABB56210A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2" creationId="{8408CA59-5B32-4814-AA0A-685D9A0416E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3" creationId="{054C3AF7-FDA1-4064-BE92-9A0ADFA0E67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4" creationId="{7F6C57CB-65F3-4B80-A2AF-522C04453F3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5" creationId="{81FFD70E-2124-49E0-8C02-A0D2BE04667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6" creationId="{CDFF726C-F6E0-4919-8028-1EF850473A3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7" creationId="{C70BF4EA-C7EF-4B19-8BE7-A5E439AA46C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8" creationId="{0CACB34E-A252-48A9-B18C-FE4DC550AF4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59" creationId="{3CB8BD5C-2390-4979-822F-07A9FEBB882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0" creationId="{BD6626B7-2D35-4400-9CE0-E3EF4804B6A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1" creationId="{5E3EA567-3431-4E0C-A184-4D93909D6C5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2" creationId="{3C2F84A0-662D-4DF6-8B17-04F08EDC33F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3" creationId="{41BE74F0-33D3-4F37-886E-0F6FB87F3DA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4" creationId="{7316A3AD-40C4-4F3A-8853-783708E61D3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5" creationId="{FDBC5149-ECB9-4284-BB61-0928D841B6C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6" creationId="{116C0F9B-41A4-4630-A6CE-1C9CA25DC10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68" creationId="{08D17B63-E7ED-403F-8B5E-71D2825D9AF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1" creationId="{5A3468BA-BE10-4D5D-AAC9-660AD598AB9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2" creationId="{9741EFAE-8CCC-433F-9454-DA930560711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3" creationId="{253392E6-166F-4527-A129-234B50EA921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4" creationId="{D577A930-84D3-45A1-AC61-1A607B070E2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5" creationId="{C7C22FEF-0B5B-428A-8F17-5420AB61C65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6" creationId="{234DBF88-DC81-4A52-AC0E-25CB42CA8B2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7" creationId="{C3165073-CDE5-4EEB-81AF-B1113EF3D0A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8" creationId="{5C8C2C40-C6DE-435F-B0BC-4EF10AFEE57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79" creationId="{E17A7E6D-BEF6-4E30-95AA-6C5F0882C47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0" creationId="{A7EB18CD-1DAE-4565-9D74-1EFF8584F6C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1" creationId="{ED6685E9-5E3E-4F8C-8E3B-551756AC3D9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2" creationId="{04C1A2EE-CAD1-49DE-B241-AF30B413219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3" creationId="{9A739380-95D4-4E18-ACA2-CA09A527324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4" creationId="{37028783-3ACE-4218-8A55-8ECF89F27A4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5" creationId="{25715908-70F0-40BB-9DAE-711E5B184E5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6" creationId="{609C3790-306E-43FE-BBC9-D31B908FC89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7" creationId="{0A29EB19-67D4-4A8F-8F63-105BBF989DF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88" creationId="{1AD9E6A7-3499-44DD-88F0-BF8C2DD63D3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0" creationId="{18259A6D-EDED-44FE-AC32-2DD3E81CBDB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3" creationId="{E2A5E9FC-665D-4589-89DB-BC0208D636A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4" creationId="{B68B0054-1782-4B92-A46D-8B52F0F0992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5" creationId="{003EFE92-972B-4AF9-8C4F-5C8920DF9D8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6" creationId="{799F2851-9D18-48C9-A42D-DE5FA5D98C3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7" creationId="{92C5F00B-76FE-4F80-8395-44813DF8FA0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8" creationId="{D1AAC82F-C130-482B-AE69-7CF0FE26591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799" creationId="{F84BC6D2-7DA3-4BA2-8F0F-9D7F2A7B05C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0" creationId="{568636FD-CB47-4117-956F-1ABC401C8D3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1" creationId="{D7E498C0-AB27-4CFA-BFCD-FC412C44356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2" creationId="{375DB19B-B867-49A6-B711-3468F425B0F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3" creationId="{B8F66B17-E41E-4FF1-9D6B-791B90611B4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4" creationId="{41060BD7-3155-4D4D-B12B-6D42D9C7B8A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5" creationId="{25780312-202B-4AA9-8C9E-3A0C22BFC5E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6" creationId="{8C2CB057-E5FB-4F2E-BFA0-60ABD84B548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7" creationId="{09A4C97E-F318-46EB-9653-AACC61D7CAC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8" creationId="{17B10369-E85A-474D-9016-D192C381EA0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09" creationId="{036CC3C5-F477-4018-97FD-27A6BB8225C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10" creationId="{F08FCC24-5621-454C-A09E-95655320945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14" creationId="{5369E845-BDEA-4AE7-8CC4-E4EE1264EFC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17" creationId="{B0E61EFD-A7C2-4711-AD28-ECB2A0EEF61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18" creationId="{20C2BC36-70EF-46E6-B307-CD3BFC4A410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19" creationId="{51DE0899-911D-4F1B-8C36-20552E42BBF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0" creationId="{D90197CB-82C2-4848-938C-6C4B07C2896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1" creationId="{0030B558-8563-4F26-93BD-B5FDC7F8B84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2" creationId="{96F4277E-6C44-47ED-BC65-A7468828D56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3" creationId="{9ECE40F9-4908-4EF6-8D17-09C049B82DC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4" creationId="{8108335A-07FF-4FED-AF57-D5E87391B5F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5" creationId="{CDDBA1B1-565E-4C7B-9396-14A3D9F4C98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6" creationId="{E3BA6453-6625-4DC2-BD34-C52C655054EF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7" creationId="{9E488129-D463-4E76-B432-F60054CC656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8" creationId="{9584BA43-565B-4E41-8C3B-9895B4BF292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29" creationId="{93DAB078-9B21-48E3-A1D6-EF8A71DA3C8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0" creationId="{118F11CC-343D-4576-82FB-18C396D8D7D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1" creationId="{BC0309BC-62C4-4A29-BFF5-7590A48D805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2" creationId="{F82397FD-C5C4-4E3F-9A01-AD9D7598E63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3" creationId="{AAE45707-7043-4B7A-ABEF-25312F0A223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4" creationId="{F93AE934-5D95-4943-B373-835701F0854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5" creationId="{A2D29C22-B3AE-484E-98B1-97F38BEC358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8" creationId="{C09E18F8-1AC0-4CAA-9554-FA810398902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39" creationId="{D824B876-7011-45CB-8814-35CB094B6E2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0" creationId="{7562AFEF-6DE2-4E2C-85F4-767D1EA31D7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1" creationId="{C5A0D90B-0FAC-46B4-9B27-81EC7DEB4C7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2" creationId="{B6A26686-1CAD-4BFD-BE39-6B26B664FFB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3" creationId="{A75CA6CE-5401-4A81-B38A-485C06FCE36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4" creationId="{CFE206C1-9AC7-4958-BCDF-5B3E5842A29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5" creationId="{7677B7EA-14B9-481E-B8AF-98438C3A096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6" creationId="{B98D7406-146F-4BDD-97FA-30B681C98C6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7" creationId="{B7222712-FAE6-4548-BC28-5EFE48A3AED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8" creationId="{A77141DB-6E44-4332-BC6E-37A661AB368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49" creationId="{5366B957-BAB2-4F9B-8036-FA3C88CCBB4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0" creationId="{FF367FC6-00C4-4973-AC21-B714178D9969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1" creationId="{1DD9E961-6F7B-40BE-AD9E-5304168178B5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2" creationId="{1FF8C5AA-7900-418E-A07E-947E7D530B4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3" creationId="{97377EC7-B50D-4E7A-BF94-1D51AC8C7EF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4" creationId="{D4F375F6-61F8-4E51-B228-7A859EEBCDE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5" creationId="{0369F692-8E4D-4464-9174-268BA9E54838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56" creationId="{8484AFA5-2C69-4E14-B361-8C6683871EB1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67" creationId="{48DA9A28-BE1B-48ED-85E8-3CC3514683E1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68" creationId="{E910FE30-87B6-4753-A632-59A361062B97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69" creationId="{01FFA36A-F107-40F2-8363-A023BEEE2126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70" creationId="{B0E674A1-2BF7-47D4-A027-D5B60CF572B4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71" creationId="{2D6C9433-4C77-43A9-AA18-0523A25683BF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72" creationId="{2E0DE02A-62A9-4DB2-A30E-F1063339C0C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76" creationId="{9CEF7687-D15D-4D26-979A-0811419D5A0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79" creationId="{AF175A80-FEA0-489E-A28D-F7316727E20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0" creationId="{31337460-018C-4CCE-ACDB-A6ACCC89494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1" creationId="{BC03A002-28C3-441E-AAB9-E1ECDB198D9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2" creationId="{25D04C2A-31E4-4A22-8331-847E2557721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3" creationId="{0A020F29-E789-49F5-A510-544E046ED5E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4" creationId="{67527065-4190-4347-9AA8-2E26CF82B10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5" creationId="{2B3CE18B-A696-4211-9E0C-D5AF33390BA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6" creationId="{1814A9C5-078A-4A1C-A98F-3C43D1CE470E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7" creationId="{84C86697-402B-4D88-8215-C2315AC4EDD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8" creationId="{2B9D57D3-0943-436C-B822-AB58DABD6A4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89" creationId="{6735C1A9-2B31-4A0D-897B-EC46F99091B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0" creationId="{2E9001B3-589E-4749-9F01-34C87EB6AD0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1" creationId="{F8BCD3CC-CE33-411F-8E74-D036C294492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2" creationId="{276C6C63-83BF-4259-837F-4C8CF9450876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3" creationId="{F0BE44D0-5B9F-405C-A634-20C6400B97A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4" creationId="{FACDB573-E539-406E-84B2-87A4648D3D4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5" creationId="{30E8C72A-5E8C-4BED-AA20-806312E5967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6" creationId="{A11D602E-980A-4B51-9AF0-ACD81670CD9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897" creationId="{A213E6C2-EE3F-4B8D-8D13-959B534E110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0" creationId="{4E9BCA8C-A57D-4744-BF89-53CAD10F040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1" creationId="{AC636C3B-6E19-4806-AFA6-68502EFB1083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2" creationId="{177000CE-38D1-447A-9776-51DD685B099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3" creationId="{25A8D73D-EE65-481E-B9B5-C19AE5E2A40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4" creationId="{EC87A8C9-906B-4CA4-96EB-E41F9261B5F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5" creationId="{6C80C9FC-AA2E-4737-9D3D-1C97A35729BA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6" creationId="{A500062F-001D-404A-9737-B053955D543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7" creationId="{CEEC38FC-8FAA-4900-A90C-A123B228714C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8" creationId="{87E6723C-45FB-4CCB-A51E-8DAD8D0A2F67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09" creationId="{2607FCB2-6BC0-44B5-B55D-659C3B7B0F0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0" creationId="{D86088B7-7E79-4ADC-A3B0-7D8A999D81FB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1" creationId="{8635B95C-1D97-4D64-AA91-54B5708F0B52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2" creationId="{CBCA21E2-E6CA-41D2-9C26-32F49239FD6D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3" creationId="{3439D455-2C04-4EBB-9B47-3311FD4FFF68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4" creationId="{6FFD8530-222C-4F11-B004-14BBC9894470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5" creationId="{27B4C0F9-EE71-4144-9D6C-4E0C0BF65FD1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6" creationId="{2046F7FE-5347-4B82-AC72-D4CC27A7F3E4}"/>
          </ac:spMkLst>
        </pc:spChg>
        <pc:spChg chg="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7" creationId="{8E625DA7-F6F3-4466-8D0C-E2A3E0B72E33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8" creationId="{016DF164-363B-419D-81FB-2B3EBA02CF64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19" creationId="{812A4299-E940-4025-A733-3F9D552660D6}"/>
          </ac:spMkLst>
        </pc:spChg>
        <pc:spChg chg="add mod">
          <ac:chgData name="Disselhoff, Tim" userId="3b8b5473-7050-4f60-8279-e72cc8538d43" providerId="ADAL" clId="{952E53DB-5978-46BA-964C-5B55B87B6690}" dt="2021-08-19T08:45:37.575" v="13035"/>
          <ac:spMkLst>
            <pc:docMk/>
            <pc:sldMk cId="10542637" sldId="1433"/>
            <ac:spMk id="921" creationId="{59253F39-F78F-4D67-9F1F-4855340BFAE8}"/>
          </ac:spMkLst>
        </pc:s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7" creationId="{72105095-83F4-4058-9C2E-148D9A013473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3" creationId="{E4A00FC0-3FE1-4850-83DD-B9029617B44C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9" creationId="{2C4FEF40-BE9E-4971-8624-4922A5B94D4E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0" creationId="{13CA1BAF-E34F-4F2B-9CDA-B429F124D1CB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1" creationId="{CEC6FFE0-61F3-4478-9260-40B3C1D358BC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3" creationId="{553949B8-28C6-4695-BEBB-2EFFF400E638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4" creationId="{311C9085-A6BE-45C8-B144-5D5137E608DE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44" creationId="{F460AE20-F1DE-4E2B-8E96-DBD03B85FD3F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45" creationId="{C9BF64A4-16CF-4886-991A-0DAB46763BCF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67" creationId="{B0A0D199-A0DE-453E-A64A-457C918A8746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69" creationId="{1063A8D9-5C1E-43C1-BE63-1BB12FCE525E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70" creationId="{9A7A7993-67C8-4293-A222-503CB1637DC7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89" creationId="{8DDF058F-077D-4E3F-8043-6E939F97B4BD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91" creationId="{01FC1973-CC8C-4B5F-824A-D949832730C6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92" creationId="{DFA7823C-E99A-49AE-AA15-07C0B6A97B2C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11" creationId="{A820E016-DD29-481B-B17B-3A1CFC8298E0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13" creationId="{481BA4FD-FD56-429A-8053-3EFD32E14055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14" creationId="{D9A67B38-8887-4977-9A08-7439C87FCBDE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34" creationId="{01AC0F1D-7212-41B2-858C-E45280C469E8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36" creationId="{69C4C0D9-6AED-48F6-9EF1-2431593D80CB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37" creationId="{3E9152CA-F86F-4A36-A62A-C65EC6D35C9B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56" creationId="{550567DA-CBF2-444D-BE5A-D9A5BE63F55F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58" creationId="{568200DE-6AC5-4691-9B76-AC8BCFA16D68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59" creationId="{98BBB175-B6BD-4BD4-AF35-B016F0832DA4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178" creationId="{066FC75E-A172-440E-B74C-0215AD10736E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80" creationId="{1F3E308C-2BEF-4343-871F-B576FA355A2C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181" creationId="{A93537D4-4B95-449D-ACF2-8251E685E5FA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200" creationId="{7362B3F1-D8F5-485F-8F04-BD4ACE0FB087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01" creationId="{D810AEFE-9DFE-4779-BF6C-7CAC46578D01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02" creationId="{4735E9E3-8351-4E3B-B397-2F252B702121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04" creationId="{F0DC626F-4CE4-47AC-AE91-DA5496AD3F67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05" creationId="{A7673495-F50F-4D0A-9432-A2588818F615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25" creationId="{2D046381-2BE6-41D4-8BCD-E0B74A4399CB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26" creationId="{65E3C596-F03C-42CD-A7CF-35F8B1A35587}"/>
          </ac:grpSpMkLst>
        </pc:grpChg>
        <pc:grpChg chg="add del mod topLvl">
          <ac:chgData name="Disselhoff, Tim" userId="3b8b5473-7050-4f60-8279-e72cc8538d43" providerId="ADAL" clId="{952E53DB-5978-46BA-964C-5B55B87B6690}" dt="2021-08-19T08:45:40.132" v="13036" actId="478"/>
          <ac:grpSpMkLst>
            <pc:docMk/>
            <pc:sldMk cId="10542637" sldId="1433"/>
            <ac:grpSpMk id="263" creationId="{27EF64B6-0CA2-4975-854D-474D0C7698FC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64" creationId="{88E119B6-AE1C-4A05-9861-CB71149EED4E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65" creationId="{D1AE1C7E-2EC0-45CB-9AA2-B50B18C8E553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67" creationId="{6384C672-0B5B-4348-8366-70C91222151B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68" creationId="{F0716D66-6EA3-4595-9B04-F1171F88F107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88" creationId="{D065819A-1948-41B5-BAEA-AD597E70FEFB}"/>
          </ac:grpSpMkLst>
        </pc:grpChg>
        <pc:grpChg chg="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289" creationId="{A468A239-909B-4061-A81C-A807AD00B36E}"/>
          </ac:grpSpMkLst>
        </pc:grpChg>
        <pc:grpChg chg="add del mod">
          <ac:chgData name="Disselhoff, Tim" userId="3b8b5473-7050-4f60-8279-e72cc8538d43" providerId="ADAL" clId="{952E53DB-5978-46BA-964C-5B55B87B6690}" dt="2021-08-19T08:35:02.233" v="13033" actId="165"/>
          <ac:grpSpMkLst>
            <pc:docMk/>
            <pc:sldMk cId="10542637" sldId="1433"/>
            <ac:grpSpMk id="311" creationId="{A16A16DD-50A6-4A43-B69B-1F91267B9EFD}"/>
          </ac:grpSpMkLst>
        </pc:grpChg>
        <pc:grpChg chg="add del 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12" creationId="{3141ECD8-3A28-49E1-B484-093FD8499804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14" creationId="{E363BDC8-DDD1-434D-AEE1-E573B3395FED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15" creationId="{5EFA57D9-7899-482B-9262-12DAB9777F72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16" creationId="{4AC3E5BD-AA09-4E10-A7DE-397E505A844D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0" creationId="{5E812F0C-189F-4E96-ADE4-4AC78AE2B625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1" creationId="{BD9B8271-1EDC-4263-9B7B-30D54AF848F9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2" creationId="{EA141DFA-19A8-4050-AAAF-7294597E8785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4" creationId="{4337572C-A55A-4E8C-9BA8-D2DB967F7AA4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5" creationId="{8631516C-E2B1-49B0-B73C-CCAFF90AD3C9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26" creationId="{20A1CCD7-4CBD-44F1-B2C7-D47AD35903FB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43" creationId="{A515FE24-CDE3-40A3-B16E-C9091ED0ED4E}"/>
          </ac:grpSpMkLst>
        </pc:grpChg>
        <pc:grpChg chg="del mod topLvl">
          <ac:chgData name="Disselhoff, Tim" userId="3b8b5473-7050-4f60-8279-e72cc8538d43" providerId="ADAL" clId="{952E53DB-5978-46BA-964C-5B55B87B6690}" dt="2021-08-19T08:45:37.158" v="13034" actId="478"/>
          <ac:grpSpMkLst>
            <pc:docMk/>
            <pc:sldMk cId="10542637" sldId="1433"/>
            <ac:grpSpMk id="348" creationId="{4CE69517-B63F-44E1-A915-3ED2E999522F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49" creationId="{6BFE5024-21CE-4EFF-8857-901623A27C91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50" creationId="{97C97F6B-BEC0-4403-B420-3F312FBDF61F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52" creationId="{0E6859AB-27A8-4B34-A167-7A5AA8E9B3BF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53" creationId="{FD82F463-A617-49D5-9C4C-421EEAAF714E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73" creationId="{5E158DEB-44D1-49B0-9FC5-7355F3F3EA78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74" creationId="{40A3E05E-7771-489B-B57A-F330D27669E5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93" creationId="{ACC51997-BCD8-4FBF-9AB9-EEE0134157F7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94" creationId="{BD57E38A-6F45-458E-A4E7-6851B6FD07CC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96" creationId="{B447A627-4C96-485C-BF48-B8825B25B938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397" creationId="{8BEEEFF9-C0FB-4676-8EAF-91D67CE57D7B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17" creationId="{79C9846C-394C-49A0-A37B-794CF51B2F61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18" creationId="{A48DE803-FB6E-4A90-A1F6-A30000069C1D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38" creationId="{C77E729F-F4B4-45CC-853D-44C11A4A8A0A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39" creationId="{94D1CA01-C7DF-4DF9-8F1D-0FA85FDDD045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59" creationId="{D085ADE7-05E1-4B31-8063-79E069A59F88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60" creationId="{87930BEC-63C1-4D4D-BE0C-629EC1EC9C38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80" creationId="{B4AA7EA3-E1F6-48C6-AB3B-A40399309004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481" creationId="{718879A2-73B5-4172-9019-6022D0623674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01" creationId="{FA238A1A-C7DF-4DDB-8F18-85B3FA84AD6D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02" creationId="{5ECB9209-5D4C-41D9-8A33-4E4F6111BD4A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22" creationId="{BD3118A1-10A3-4540-97D5-5503EFB6D1C6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23" creationId="{73C6CB87-1A1D-4760-9B85-CA34006BEE92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43" creationId="{DCFAB739-BB1F-4ECC-A2B3-FC7AD78D7C87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44" creationId="{FB22B251-B046-46B8-9F4D-D99DA23B07B5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63" creationId="{DCDA2D8E-D4A8-47FE-BE85-CED24C9A8DA1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64" creationId="{A9DB81E8-AF94-4390-B5E9-AF802FD1CE43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66" creationId="{09DD1781-98B6-4630-925B-53243C101521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67" creationId="{BE2B4359-867E-4985-ABAA-3B3501B2D54B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87" creationId="{41E5D457-7AAC-46D8-8E91-070F3F52B491}"/>
          </ac:grpSpMkLst>
        </pc:grpChg>
        <pc:grpChg chg="mod">
          <ac:chgData name="Disselhoff, Tim" userId="3b8b5473-7050-4f60-8279-e72cc8538d43" providerId="ADAL" clId="{952E53DB-5978-46BA-964C-5B55B87B6690}" dt="2021-08-19T08:34:50.960" v="13032" actId="165"/>
          <ac:grpSpMkLst>
            <pc:docMk/>
            <pc:sldMk cId="10542637" sldId="1433"/>
            <ac:grpSpMk id="588" creationId="{FD2F6203-385B-4B57-AF67-37727899AA0F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18" creationId="{3479B41B-0ED6-4206-8DAD-49D08989A762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24" creationId="{6A72DD22-1DFD-401E-B10A-1F25E560661D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30" creationId="{9E2A317C-45A3-431E-A7EC-3802AC362B02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31" creationId="{A3830EA2-0D67-4E6F-8200-FB134F063E57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32" creationId="{45389E81-7F46-46B2-BC08-F15E70E19CE3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34" creationId="{5BE4A2F2-E6DA-4EAC-B451-C1976D3ADCE6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35" creationId="{9194CD67-D881-473D-BB90-8998593462AE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55" creationId="{BAEF5F76-FAEB-4E1E-BDA4-9305B6E72C72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56" creationId="{67450759-E486-4A5C-A597-ACABF499CFD3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78" creationId="{9743010B-B367-4D2B-A0C8-F71B09E8F20C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80" creationId="{0235FD79-360F-4B79-912C-05803ECC9824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681" creationId="{2D4B8E9C-3EB1-48E6-BC00-9E1978B40855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00" creationId="{614F57A5-BC14-4CD2-8C2E-DF75B5C44590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02" creationId="{68A5E56E-F396-4F77-A38C-029BD598D12C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03" creationId="{3951BD18-E465-4478-A15B-7B523F34ED6B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22" creationId="{4E891A59-4282-4D2C-8F0D-41C590D686AE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24" creationId="{48FB69FF-0077-446E-8006-39C5584333A4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25" creationId="{6765FF98-D3D3-408B-900E-382F921398A2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45" creationId="{39EAD067-C49E-4D99-B013-77DE180200B2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47" creationId="{142C1218-8912-492D-B963-19BE99339DA2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48" creationId="{511F9010-0814-4427-9428-28AC5EB85D8D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67" creationId="{859FE612-90EA-4C8E-8BD4-C8E02C428B5A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69" creationId="{AC6B5374-CC1E-4175-B881-82BABD10C69D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70" creationId="{5C3DEC0F-C210-4B4B-8C76-8D275997C127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89" creationId="{E2E45CC8-B0FB-4850-BA4C-992892787F39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91" creationId="{451C4A2E-6C9F-4036-8C1D-13763C32BAD8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792" creationId="{F3EC6A1E-2BF6-449C-85C6-8D0A619C84CE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11" creationId="{B065885F-742F-48A9-9734-102785228A7F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12" creationId="{CD61903F-73FE-49AE-9E73-020EE5474B55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13" creationId="{367A6D30-D13F-4E5F-8351-1DEF22772044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15" creationId="{8286B8F6-DFAF-4489-8402-66D0CF69F5C0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16" creationId="{17605D13-83C6-4BD2-9AC5-5EB62294F111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36" creationId="{FE85625D-217B-4223-8299-689CAF73627C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37" creationId="{0E735031-7FA6-4F3F-8DC6-6C39F4651669}"/>
          </ac:grpSpMkLst>
        </pc:grpChg>
        <pc:grpChg chg="add 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73" creationId="{47877F15-4ADC-4E11-A39C-29D374855938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74" creationId="{88C3AE77-8EF9-4806-A70C-E9F8CA18A23E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75" creationId="{A6D8A75E-BE06-4BB1-A1A7-3ABAE78715C4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77" creationId="{A5BEE823-6C8D-4BB1-8EF0-D63A3EF65411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78" creationId="{08FBC141-85D8-406A-925C-E9D4D083241B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98" creationId="{03AB6C26-7309-4E2D-B3E3-88F4E8BFFEC2}"/>
          </ac:grpSpMkLst>
        </pc:grpChg>
        <pc:grpChg chg="mod">
          <ac:chgData name="Disselhoff, Tim" userId="3b8b5473-7050-4f60-8279-e72cc8538d43" providerId="ADAL" clId="{952E53DB-5978-46BA-964C-5B55B87B6690}" dt="2021-08-19T08:45:37.575" v="13035"/>
          <ac:grpSpMkLst>
            <pc:docMk/>
            <pc:sldMk cId="10542637" sldId="1433"/>
            <ac:grpSpMk id="899" creationId="{F2C506F2-CE19-4946-B948-B05AC5E2DBEB}"/>
          </ac:grpSpMkLst>
        </pc:grpChg>
        <pc:graphicFrameChg chg="add mod ord modVis">
          <ac:chgData name="Disselhoff, Tim" userId="3b8b5473-7050-4f60-8279-e72cc8538d43" providerId="ADAL" clId="{952E53DB-5978-46BA-964C-5B55B87B6690}" dt="2021-08-19T12:17:09.780" v="13341"/>
          <ac:graphicFrameMkLst>
            <pc:docMk/>
            <pc:sldMk cId="10542637" sldId="1433"/>
            <ac:graphicFrameMk id="311" creationId="{39A47BCA-890B-44BD-BDDE-5A36E2E29027}"/>
          </ac:graphicFrameMkLst>
        </pc:graphicFrame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47" creationId="{4FD2C15F-638F-4076-B69A-4C0910F6255B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48" creationId="{4C26EC1C-0636-4071-848D-A92DE29E10B7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49" creationId="{54D35728-5824-473B-80F0-8458C14A1C42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0" creationId="{ACAC99F8-6404-418A-896E-3EE025091862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1" creationId="{19402E69-BA3B-47DC-8FEA-700B88F5794B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2" creationId="{BFFB408E-7934-4C63-A53A-51EA33BC35F8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3" creationId="{EFB996E5-D68F-4FE5-AFB3-0B16875DFEBE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4" creationId="{C0024DE3-CA01-4E3F-95B5-971593478C2C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5" creationId="{70AF0100-27F1-4143-BC6A-970F98192229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256" creationId="{247C3036-084D-42D9-B4CA-FB348D0FA29D}"/>
          </ac:cxnSpMkLst>
        </pc:cxnChg>
        <pc:cxnChg chg="add del mod topLvl">
          <ac:chgData name="Disselhoff, Tim" userId="3b8b5473-7050-4f60-8279-e72cc8538d43" providerId="ADAL" clId="{952E53DB-5978-46BA-964C-5B55B87B6690}" dt="2021-08-19T08:45:40.132" v="13036" actId="478"/>
          <ac:cxnSpMkLst>
            <pc:docMk/>
            <pc:sldMk cId="10542637" sldId="1433"/>
            <ac:cxnSpMk id="310" creationId="{D38D9221-8521-4BE4-BBF2-DB80A15DD613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27" creationId="{ADF04A4B-771A-4AB3-B847-0FC8D471FCF1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28" creationId="{9ECD3972-D28B-436D-92AE-5A57B30C9D98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29" creationId="{A8C72B34-D83B-4EE4-BE4C-7D86D5BC6F80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0" creationId="{6E9FD72B-2626-42FF-A41A-3967E1612789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1" creationId="{C5838FBA-EA06-4BF3-A7C8-18791B91F9FC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2" creationId="{242E5640-5EAB-4F3B-BEE6-9514707748CE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3" creationId="{B5086E1B-A169-40CE-B5F0-70149ED9B419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4" creationId="{8F8D1D38-DBD1-4BDA-B12D-6C352C71F4F5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5" creationId="{07658418-0C6F-426B-88DC-18DC4DDE2BC6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36" creationId="{17729D0E-B559-4FCB-B1D2-FA9847861E49}"/>
          </ac:cxnSpMkLst>
        </pc:cxnChg>
        <pc:cxnChg chg="del mod topLvl">
          <ac:chgData name="Disselhoff, Tim" userId="3b8b5473-7050-4f60-8279-e72cc8538d43" providerId="ADAL" clId="{952E53DB-5978-46BA-964C-5B55B87B6690}" dt="2021-08-19T08:45:37.158" v="13034" actId="478"/>
          <ac:cxnSpMkLst>
            <pc:docMk/>
            <pc:sldMk cId="10542637" sldId="1433"/>
            <ac:cxnSpMk id="346" creationId="{2DBF3EF8-7FEC-4B36-9B22-6BF50EB96213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57" creationId="{1B71ED0C-3174-4F21-9629-069C72D8B1E2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58" creationId="{D91E7EF5-D9A0-4613-8754-831A4A6CC3DB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59" creationId="{3483AA85-FDB4-43F7-85FA-1ED3F1F38A83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0" creationId="{CC8D4AF7-9C51-405C-8B97-C168C21025CA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1" creationId="{79EA0D2F-3375-4021-B8BC-AAF52C96CB42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2" creationId="{E62F9AA6-2689-4D40-802D-485F9F85382D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3" creationId="{6088E0AE-3A39-43C7-AB23-1266F06C9FA0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4" creationId="{1B41A0A9-4834-4CB7-A74A-ED6964FAB0BF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5" creationId="{21DB0E43-33AF-47E8-90D8-13FBD4D0F6CF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866" creationId="{5441966C-904B-4CEC-BF52-BC70A40723FC}"/>
          </ac:cxnSpMkLst>
        </pc:cxnChg>
        <pc:cxnChg chg="add mod">
          <ac:chgData name="Disselhoff, Tim" userId="3b8b5473-7050-4f60-8279-e72cc8538d43" providerId="ADAL" clId="{952E53DB-5978-46BA-964C-5B55B87B6690}" dt="2021-08-19T08:45:37.575" v="13035"/>
          <ac:cxnSpMkLst>
            <pc:docMk/>
            <pc:sldMk cId="10542637" sldId="1433"/>
            <ac:cxnSpMk id="920" creationId="{D6ED3E3E-6ACC-4405-A9AB-0F782810BD7D}"/>
          </ac:cxnSpMkLst>
        </pc:cxnChg>
      </pc:sldChg>
      <pc:sldChg chg="del">
        <pc:chgData name="Disselhoff, Tim" userId="3b8b5473-7050-4f60-8279-e72cc8538d43" providerId="ADAL" clId="{952E53DB-5978-46BA-964C-5B55B87B6690}" dt="2021-08-19T08:14:50.248" v="12120" actId="47"/>
        <pc:sldMkLst>
          <pc:docMk/>
          <pc:sldMk cId="1290074459" sldId="1433"/>
        </pc:sldMkLst>
      </pc:sldChg>
      <pc:sldChg chg="addSp delSp modSp add mod delCm">
        <pc:chgData name="Disselhoff, Tim" userId="3b8b5473-7050-4f60-8279-e72cc8538d43" providerId="ADAL" clId="{952E53DB-5978-46BA-964C-5B55B87B6690}" dt="2021-08-19T12:23:26.683" v="13881" actId="20577"/>
        <pc:sldMkLst>
          <pc:docMk/>
          <pc:sldMk cId="2263963527" sldId="1434"/>
        </pc:sldMkLst>
        <pc:spChg chg="mod">
          <ac:chgData name="Disselhoff, Tim" userId="3b8b5473-7050-4f60-8279-e72cc8538d43" providerId="ADAL" clId="{952E53DB-5978-46BA-964C-5B55B87B6690}" dt="2021-08-19T12:23:26.683" v="13881" actId="20577"/>
          <ac:spMkLst>
            <pc:docMk/>
            <pc:sldMk cId="2263963527" sldId="1434"/>
            <ac:spMk id="2" creationId="{78D159F1-0A23-447B-BF2D-08A04305ACFA}"/>
          </ac:spMkLst>
        </pc:spChg>
        <pc:spChg chg="mod">
          <ac:chgData name="Disselhoff, Tim" userId="3b8b5473-7050-4f60-8279-e72cc8538d43" providerId="ADAL" clId="{952E53DB-5978-46BA-964C-5B55B87B6690}" dt="2021-08-19T12:20:56.250" v="13593" actId="948"/>
          <ac:spMkLst>
            <pc:docMk/>
            <pc:sldMk cId="2263963527" sldId="1434"/>
            <ac:spMk id="3" creationId="{2FDD4A1F-9D2E-4B37-BAC5-03B407488B8F}"/>
          </ac:spMkLst>
        </pc:spChg>
        <pc:spChg chg="add del mod modVis">
          <ac:chgData name="Disselhoff, Tim" userId="3b8b5473-7050-4f60-8279-e72cc8538d43" providerId="ADAL" clId="{952E53DB-5978-46BA-964C-5B55B87B6690}" dt="2021-08-19T12:20:56.305" v="13632"/>
          <ac:spMkLst>
            <pc:docMk/>
            <pc:sldMk cId="2263963527" sldId="1434"/>
            <ac:spMk id="6" creationId="{AB97E877-09AB-41B4-8941-2DCF106601AC}"/>
          </ac:spMkLst>
        </pc:spChg>
        <pc:graphicFrameChg chg="mod">
          <ac:chgData name="Disselhoff, Tim" userId="3b8b5473-7050-4f60-8279-e72cc8538d43" providerId="ADAL" clId="{952E53DB-5978-46BA-964C-5B55B87B6690}" dt="2021-08-19T12:20:56.318" v="13634"/>
          <ac:graphicFrameMkLst>
            <pc:docMk/>
            <pc:sldMk cId="2263963527" sldId="1434"/>
            <ac:graphicFrameMk id="365" creationId="{E60950EF-D161-4F96-83E4-B88E961AACA8}"/>
          </ac:graphicFrameMkLst>
        </pc:graphicFrameChg>
      </pc:sldChg>
      <pc:sldChg chg="addSp delSp modSp add mod ord delCm">
        <pc:chgData name="Disselhoff, Tim" userId="3b8b5473-7050-4f60-8279-e72cc8538d43" providerId="ADAL" clId="{952E53DB-5978-46BA-964C-5B55B87B6690}" dt="2021-08-19T12:20:36.493" v="13590" actId="1592"/>
        <pc:sldMkLst>
          <pc:docMk/>
          <pc:sldMk cId="542229873" sldId="1435"/>
        </pc:sldMkLst>
        <pc:spChg chg="mod">
          <ac:chgData name="Disselhoff, Tim" userId="3b8b5473-7050-4f60-8279-e72cc8538d43" providerId="ADAL" clId="{952E53DB-5978-46BA-964C-5B55B87B6690}" dt="2021-08-19T12:19:33.371" v="13452"/>
          <ac:spMkLst>
            <pc:docMk/>
            <pc:sldMk cId="542229873" sldId="1435"/>
            <ac:spMk id="2" creationId="{78D159F1-0A23-447B-BF2D-08A04305ACFA}"/>
          </ac:spMkLst>
        </pc:spChg>
        <pc:spChg chg="mod">
          <ac:chgData name="Disselhoff, Tim" userId="3b8b5473-7050-4f60-8279-e72cc8538d43" providerId="ADAL" clId="{952E53DB-5978-46BA-964C-5B55B87B6690}" dt="2021-08-19T12:19:42.583" v="13498" actId="948"/>
          <ac:spMkLst>
            <pc:docMk/>
            <pc:sldMk cId="542229873" sldId="1435"/>
            <ac:spMk id="3" creationId="{2FDD4A1F-9D2E-4B37-BAC5-03B407488B8F}"/>
          </ac:spMkLst>
        </pc:spChg>
        <pc:spChg chg="add del mod">
          <ac:chgData name="Disselhoff, Tim" userId="3b8b5473-7050-4f60-8279-e72cc8538d43" providerId="ADAL" clId="{952E53DB-5978-46BA-964C-5B55B87B6690}" dt="2021-08-19T12:19:44.240" v="13541"/>
          <ac:spMkLst>
            <pc:docMk/>
            <pc:sldMk cId="542229873" sldId="1435"/>
            <ac:spMk id="44" creationId="{3098FE2C-924B-480A-9DCF-776D3265F9A0}"/>
          </ac:spMkLst>
        </pc:spChg>
        <pc:spChg chg="add del mod modVis">
          <ac:chgData name="Disselhoff, Tim" userId="3b8b5473-7050-4f60-8279-e72cc8538d43" providerId="ADAL" clId="{952E53DB-5978-46BA-964C-5B55B87B6690}" dt="2021-08-19T12:19:40.030" v="13494"/>
          <ac:spMkLst>
            <pc:docMk/>
            <pc:sldMk cId="542229873" sldId="1435"/>
            <ac:spMk id="45" creationId="{1FFC3CC5-F1AE-4892-B6CB-4ECAC4FF710D}"/>
          </ac:spMkLst>
        </pc:spChg>
        <pc:spChg chg="add del mod modVis">
          <ac:chgData name="Disselhoff, Tim" userId="3b8b5473-7050-4f60-8279-e72cc8538d43" providerId="ADAL" clId="{952E53DB-5978-46BA-964C-5B55B87B6690}" dt="2021-08-19T12:19:42.642" v="13537"/>
          <ac:spMkLst>
            <pc:docMk/>
            <pc:sldMk cId="542229873" sldId="1435"/>
            <ac:spMk id="46" creationId="{5D216380-0552-4754-9801-FFAAD4E9F7E7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48" creationId="{931EBFD0-CF6F-404D-BF78-39FD17EBEA3D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61" creationId="{216FF5D1-F5EE-4B51-AD15-F796A02CE247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64" creationId="{B83EC4C5-B661-4674-8BE6-256C108497F2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67" creationId="{DE91575A-3185-DE4E-BF38-E185B82E0FCB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1" creationId="{7DC4EEF1-204D-402D-B785-CDBCACCEBD4F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2" creationId="{38FFCDA8-F48A-49EF-AAFE-AE084AE6FAC1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3" creationId="{BA485D0D-A8E6-4FE5-9546-4DB3BC0BECB3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4" creationId="{9E62869D-6BAD-49C5-AB9B-3898E1044009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5" creationId="{2FEF2853-BD2C-4F66-A827-9F3A70E17A21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6" creationId="{FD3000A9-52BB-4F24-A2F7-DF30C8763CCB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7" creationId="{F22FFF5C-8571-4CFD-81A4-7B18B2AC66AB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8" creationId="{0A83D9C8-6D23-41C8-812A-6D6664EBA787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89" creationId="{2B44649A-B4E0-4013-A2D8-ADEE9FC2D0A6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390" creationId="{55C60B76-5103-42DC-83D7-36B18DAC247F}"/>
          </ac:spMkLst>
        </pc:spChg>
        <pc:spChg chg="del">
          <ac:chgData name="Disselhoff, Tim" userId="3b8b5473-7050-4f60-8279-e72cc8538d43" providerId="ADAL" clId="{952E53DB-5978-46BA-964C-5B55B87B6690}" dt="2021-08-19T08:48:11.998" v="13040" actId="478"/>
          <ac:spMkLst>
            <pc:docMk/>
            <pc:sldMk cId="542229873" sldId="1435"/>
            <ac:spMk id="412" creationId="{58AD9DD5-9FF5-49B7-910B-EC9F75F19A6F}"/>
          </ac:spMkLst>
        </pc:spChg>
        <pc:grpChg chg="del">
          <ac:chgData name="Disselhoff, Tim" userId="3b8b5473-7050-4f60-8279-e72cc8538d43" providerId="ADAL" clId="{952E53DB-5978-46BA-964C-5B55B87B6690}" dt="2021-08-19T08:48:11.998" v="13040" actId="478"/>
          <ac:grpSpMkLst>
            <pc:docMk/>
            <pc:sldMk cId="542229873" sldId="1435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2:19:42.652" v="13539"/>
          <ac:graphicFrameMkLst>
            <pc:docMk/>
            <pc:sldMk cId="542229873" sldId="1435"/>
            <ac:graphicFrameMk id="365" creationId="{E60950EF-D161-4F96-83E4-B88E961AACA8}"/>
          </ac:graphicFrameMkLst>
        </pc:graphicFrameChg>
      </pc:sldChg>
      <pc:sldChg chg="addSp delSp modSp add mod">
        <pc:chgData name="Disselhoff, Tim" userId="3b8b5473-7050-4f60-8279-e72cc8538d43" providerId="ADAL" clId="{952E53DB-5978-46BA-964C-5B55B87B6690}" dt="2021-08-19T14:08:33.585" v="15312" actId="478"/>
        <pc:sldMkLst>
          <pc:docMk/>
          <pc:sldMk cId="2847420344" sldId="1438"/>
        </pc:sldMkLst>
        <pc:spChg chg="del mod ord">
          <ac:chgData name="Disselhoff, Tim" userId="3b8b5473-7050-4f60-8279-e72cc8538d43" providerId="ADAL" clId="{952E53DB-5978-46BA-964C-5B55B87B6690}" dt="2021-08-19T12:29:32.089" v="14625" actId="478"/>
          <ac:spMkLst>
            <pc:docMk/>
            <pc:sldMk cId="2847420344" sldId="1438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2:29:32.089" v="14625" actId="478"/>
          <ac:spMkLst>
            <pc:docMk/>
            <pc:sldMk cId="2847420344" sldId="1438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2:25:17.621" v="14069"/>
          <ac:spMkLst>
            <pc:docMk/>
            <pc:sldMk cId="2847420344" sldId="1438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2:25:17.622" v="14071"/>
          <ac:spMkLst>
            <pc:docMk/>
            <pc:sldMk cId="2847420344" sldId="1438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2:25:17.622" v="14073"/>
          <ac:spMkLst>
            <pc:docMk/>
            <pc:sldMk cId="2847420344" sldId="1438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2:25:17.625" v="14081"/>
          <ac:spMkLst>
            <pc:docMk/>
            <pc:sldMk cId="2847420344" sldId="1438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2:25:17.626" v="14083"/>
          <ac:spMkLst>
            <pc:docMk/>
            <pc:sldMk cId="2847420344" sldId="1438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2:25:17.626" v="14085"/>
          <ac:spMkLst>
            <pc:docMk/>
            <pc:sldMk cId="2847420344" sldId="1438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2:25:17.629" v="14093"/>
          <ac:spMkLst>
            <pc:docMk/>
            <pc:sldMk cId="2847420344" sldId="1438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2:25:17.652" v="14145"/>
          <ac:spMkLst>
            <pc:docMk/>
            <pc:sldMk cId="2847420344" sldId="1438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2:25:17.632" v="14101"/>
          <ac:spMkLst>
            <pc:docMk/>
            <pc:sldMk cId="2847420344" sldId="1438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2:25:17.642" v="14123"/>
          <ac:spMkLst>
            <pc:docMk/>
            <pc:sldMk cId="2847420344" sldId="1438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2:25:17.643" v="14125"/>
          <ac:spMkLst>
            <pc:docMk/>
            <pc:sldMk cId="2847420344" sldId="1438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2:25:17.644" v="14127"/>
          <ac:spMkLst>
            <pc:docMk/>
            <pc:sldMk cId="2847420344" sldId="1438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2:25:17.645" v="14129"/>
          <ac:spMkLst>
            <pc:docMk/>
            <pc:sldMk cId="2847420344" sldId="1438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2:25:17.646" v="14131"/>
          <ac:spMkLst>
            <pc:docMk/>
            <pc:sldMk cId="2847420344" sldId="1438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2:25:17.647" v="14133"/>
          <ac:spMkLst>
            <pc:docMk/>
            <pc:sldMk cId="2847420344" sldId="1438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2:25:17.649" v="14137"/>
          <ac:spMkLst>
            <pc:docMk/>
            <pc:sldMk cId="2847420344" sldId="1438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2:25:17.650" v="14139"/>
          <ac:spMkLst>
            <pc:docMk/>
            <pc:sldMk cId="2847420344" sldId="1438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9T12:25:17.657" v="14154"/>
          <ac:spMkLst>
            <pc:docMk/>
            <pc:sldMk cId="2847420344" sldId="1438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9T12:25:17.669" v="14180"/>
          <ac:spMkLst>
            <pc:docMk/>
            <pc:sldMk cId="2847420344" sldId="1438"/>
            <ac:spMk id="360" creationId="{B231D23D-751F-4F0F-9CA8-E5E395A1160A}"/>
          </ac:spMkLst>
        </pc:spChg>
        <pc:spChg chg="mod ord">
          <ac:chgData name="Disselhoff, Tim" userId="3b8b5473-7050-4f60-8279-e72cc8538d43" providerId="ADAL" clId="{952E53DB-5978-46BA-964C-5B55B87B6690}" dt="2021-08-19T12:25:17.612" v="14063"/>
          <ac:spMkLst>
            <pc:docMk/>
            <pc:sldMk cId="2847420344" sldId="1438"/>
            <ac:spMk id="361" creationId="{216FF5D1-F5EE-4B51-AD15-F796A02CE247}"/>
          </ac:spMkLst>
        </pc:spChg>
        <pc:spChg chg="mod ord">
          <ac:chgData name="Disselhoff, Tim" userId="3b8b5473-7050-4f60-8279-e72cc8538d43" providerId="ADAL" clId="{952E53DB-5978-46BA-964C-5B55B87B6690}" dt="2021-08-19T12:25:22.485" v="14189" actId="14100"/>
          <ac:spMkLst>
            <pc:docMk/>
            <pc:sldMk cId="2847420344" sldId="1438"/>
            <ac:spMk id="362" creationId="{F8429839-EAD5-45EA-88E8-B840B4C3F719}"/>
          </ac:spMkLst>
        </pc:spChg>
        <pc:spChg chg="add mod">
          <ac:chgData name="Disselhoff, Tim" userId="3b8b5473-7050-4f60-8279-e72cc8538d43" providerId="ADAL" clId="{952E53DB-5978-46BA-964C-5B55B87B6690}" dt="2021-08-19T12:29:32.794" v="14628"/>
          <ac:spMkLst>
            <pc:docMk/>
            <pc:sldMk cId="2847420344" sldId="1438"/>
            <ac:spMk id="363" creationId="{2A59E455-74EB-4D00-9729-BB054D71B4AD}"/>
          </ac:spMkLst>
        </pc:spChg>
        <pc:spChg chg="mod ord">
          <ac:chgData name="Disselhoff, Tim" userId="3b8b5473-7050-4f60-8279-e72cc8538d43" providerId="ADAL" clId="{952E53DB-5978-46BA-964C-5B55B87B6690}" dt="2021-08-19T12:25:17.652" v="14143"/>
          <ac:spMkLst>
            <pc:docMk/>
            <pc:sldMk cId="2847420344" sldId="1438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9T12:25:17.658" v="14158"/>
          <ac:spMkLst>
            <pc:docMk/>
            <pc:sldMk cId="2847420344" sldId="1438"/>
            <ac:spMk id="367" creationId="{DE91575A-3185-DE4E-BF38-E185B82E0FCB}"/>
          </ac:spMkLst>
        </pc:spChg>
        <pc:spChg chg="add mod">
          <ac:chgData name="Disselhoff, Tim" userId="3b8b5473-7050-4f60-8279-e72cc8538d43" providerId="ADAL" clId="{952E53DB-5978-46BA-964C-5B55B87B6690}" dt="2021-08-19T12:29:32.794" v="14628"/>
          <ac:spMkLst>
            <pc:docMk/>
            <pc:sldMk cId="2847420344" sldId="1438"/>
            <ac:spMk id="379" creationId="{9C9D7EA7-2157-46D0-A224-B34029D8CA05}"/>
          </ac:spMkLst>
        </pc:spChg>
        <pc:spChg chg="add mod">
          <ac:chgData name="Disselhoff, Tim" userId="3b8b5473-7050-4f60-8279-e72cc8538d43" providerId="ADAL" clId="{952E53DB-5978-46BA-964C-5B55B87B6690}" dt="2021-08-19T14:08:03.984" v="15310" actId="20577"/>
          <ac:spMkLst>
            <pc:docMk/>
            <pc:sldMk cId="2847420344" sldId="1438"/>
            <ac:spMk id="380" creationId="{976FEFBE-15E3-4128-B1C3-B3E547018FC4}"/>
          </ac:spMkLst>
        </pc:spChg>
        <pc:spChg chg="mod ord">
          <ac:chgData name="Disselhoff, Tim" userId="3b8b5473-7050-4f60-8279-e72cc8538d43" providerId="ADAL" clId="{952E53DB-5978-46BA-964C-5B55B87B6690}" dt="2021-08-19T12:25:17.655" v="14148"/>
          <ac:spMkLst>
            <pc:docMk/>
            <pc:sldMk cId="2847420344" sldId="1438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9T12:25:17.656" v="14150"/>
          <ac:spMkLst>
            <pc:docMk/>
            <pc:sldMk cId="2847420344" sldId="1438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9T12:25:17.656" v="14152"/>
          <ac:spMkLst>
            <pc:docMk/>
            <pc:sldMk cId="2847420344" sldId="1438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9T12:25:17.660" v="14162"/>
          <ac:spMkLst>
            <pc:docMk/>
            <pc:sldMk cId="2847420344" sldId="1438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9T12:25:17.661" v="14164"/>
          <ac:spMkLst>
            <pc:docMk/>
            <pc:sldMk cId="2847420344" sldId="1438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9T12:25:17.662" v="14166"/>
          <ac:spMkLst>
            <pc:docMk/>
            <pc:sldMk cId="2847420344" sldId="1438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9T12:25:17.663" v="14168"/>
          <ac:spMkLst>
            <pc:docMk/>
            <pc:sldMk cId="2847420344" sldId="1438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9T12:25:17.666" v="14174"/>
          <ac:spMkLst>
            <pc:docMk/>
            <pc:sldMk cId="2847420344" sldId="1438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9T12:25:17.667" v="14176"/>
          <ac:spMkLst>
            <pc:docMk/>
            <pc:sldMk cId="2847420344" sldId="1438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9T12:25:17.665" v="14170"/>
          <ac:spMkLst>
            <pc:docMk/>
            <pc:sldMk cId="2847420344" sldId="1438"/>
            <ac:spMk id="390" creationId="{55C60B76-5103-42DC-83D7-36B18DAC247F}"/>
          </ac:spMkLst>
        </pc:spChg>
        <pc:spChg chg="mod ord">
          <ac:chgData name="Disselhoff, Tim" userId="3b8b5473-7050-4f60-8279-e72cc8538d43" providerId="ADAL" clId="{952E53DB-5978-46BA-964C-5B55B87B6690}" dt="2021-08-19T12:25:17.659" v="14160"/>
          <ac:spMkLst>
            <pc:docMk/>
            <pc:sldMk cId="2847420344" sldId="1438"/>
            <ac:spMk id="392" creationId="{46D7C816-303C-44CE-922F-50BDB4035657}"/>
          </ac:spMkLst>
        </pc:spChg>
        <pc:spChg chg="mod ord">
          <ac:chgData name="Disselhoff, Tim" userId="3b8b5473-7050-4f60-8279-e72cc8538d43" providerId="ADAL" clId="{952E53DB-5978-46BA-964C-5B55B87B6690}" dt="2021-08-19T12:25:17.668" v="14178"/>
          <ac:spMkLst>
            <pc:docMk/>
            <pc:sldMk cId="2847420344" sldId="1438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2:25:17.671" v="14186"/>
          <ac:spMkLst>
            <pc:docMk/>
            <pc:sldMk cId="2847420344" sldId="1438"/>
            <ac:spMk id="397" creationId="{D319A06A-6DFE-4874-93D8-D67F460A2E63}"/>
          </ac:spMkLst>
        </pc:spChg>
        <pc:spChg chg="mod ord">
          <ac:chgData name="Disselhoff, Tim" userId="3b8b5473-7050-4f60-8279-e72cc8538d43" providerId="ADAL" clId="{952E53DB-5978-46BA-964C-5B55B87B6690}" dt="2021-08-19T12:25:17.670" v="14184"/>
          <ac:spMkLst>
            <pc:docMk/>
            <pc:sldMk cId="2847420344" sldId="1438"/>
            <ac:spMk id="404" creationId="{460B3AA4-CC09-446E-8C13-6BF2772144D3}"/>
          </ac:spMkLst>
        </pc:spChg>
        <pc:spChg chg="mod ord">
          <ac:chgData name="Disselhoff, Tim" userId="3b8b5473-7050-4f60-8279-e72cc8538d43" providerId="ADAL" clId="{952E53DB-5978-46BA-964C-5B55B87B6690}" dt="2021-08-19T12:25:17.666" v="14172"/>
          <ac:spMkLst>
            <pc:docMk/>
            <pc:sldMk cId="2847420344" sldId="1438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9T12:25:17.623" v="14075"/>
          <ac:grpSpMkLst>
            <pc:docMk/>
            <pc:sldMk cId="2847420344" sldId="1438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2:25:17.623" v="14077"/>
          <ac:grpSpMkLst>
            <pc:docMk/>
            <pc:sldMk cId="2847420344" sldId="1438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2:25:17.624" v="14079"/>
          <ac:grpSpMkLst>
            <pc:docMk/>
            <pc:sldMk cId="2847420344" sldId="1438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2:25:17.627" v="14087"/>
          <ac:grpSpMkLst>
            <pc:docMk/>
            <pc:sldMk cId="2847420344" sldId="1438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2:25:17.627" v="14089"/>
          <ac:grpSpMkLst>
            <pc:docMk/>
            <pc:sldMk cId="2847420344" sldId="1438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2:25:17.628" v="14091"/>
          <ac:grpSpMkLst>
            <pc:docMk/>
            <pc:sldMk cId="2847420344" sldId="1438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2:25:17.629" v="14095"/>
          <ac:grpSpMkLst>
            <pc:docMk/>
            <pc:sldMk cId="2847420344" sldId="1438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2:25:17.631" v="14097"/>
          <ac:grpSpMkLst>
            <pc:docMk/>
            <pc:sldMk cId="2847420344" sldId="1438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2:25:17.631" v="14099"/>
          <ac:grpSpMkLst>
            <pc:docMk/>
            <pc:sldMk cId="2847420344" sldId="1438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2:25:17.654" v="14146"/>
          <ac:grpSpMkLst>
            <pc:docMk/>
            <pc:sldMk cId="2847420344" sldId="1438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2:25:17.648" v="14135"/>
          <ac:grpSpMkLst>
            <pc:docMk/>
            <pc:sldMk cId="2847420344" sldId="1438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9T12:25:17.658" v="14156"/>
          <ac:grpSpMkLst>
            <pc:docMk/>
            <pc:sldMk cId="2847420344" sldId="1438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2:29:32.659" v="14627"/>
          <ac:graphicFrameMkLst>
            <pc:docMk/>
            <pc:sldMk cId="2847420344" sldId="1438"/>
            <ac:graphicFrameMk id="365" creationId="{E60950EF-D161-4F96-83E4-B88E961AACA8}"/>
          </ac:graphicFrameMkLst>
        </pc:graphicFrameChg>
        <pc:picChg chg="add del mod">
          <ac:chgData name="Disselhoff, Tim" userId="3b8b5473-7050-4f60-8279-e72cc8538d43" providerId="ADAL" clId="{952E53DB-5978-46BA-964C-5B55B87B6690}" dt="2021-08-19T14:08:33.585" v="15312" actId="478"/>
          <ac:picMkLst>
            <pc:docMk/>
            <pc:sldMk cId="2847420344" sldId="1438"/>
            <ac:picMk id="391" creationId="{B65E1526-FBBA-47A8-BA6B-70738136CFD3}"/>
          </ac:picMkLst>
        </pc:picChg>
        <pc:cxnChg chg="mod ord">
          <ac:chgData name="Disselhoff, Tim" userId="3b8b5473-7050-4f60-8279-e72cc8538d43" providerId="ADAL" clId="{952E53DB-5978-46BA-964C-5B55B87B6690}" dt="2021-08-19T12:25:17.633" v="14103"/>
          <ac:cxnSpMkLst>
            <pc:docMk/>
            <pc:sldMk cId="2847420344" sldId="1438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2:25:17.634" v="14105"/>
          <ac:cxnSpMkLst>
            <pc:docMk/>
            <pc:sldMk cId="2847420344" sldId="1438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2:25:17.635" v="14107"/>
          <ac:cxnSpMkLst>
            <pc:docMk/>
            <pc:sldMk cId="2847420344" sldId="1438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2:25:17.636" v="14109"/>
          <ac:cxnSpMkLst>
            <pc:docMk/>
            <pc:sldMk cId="2847420344" sldId="1438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2:25:17.637" v="14111"/>
          <ac:cxnSpMkLst>
            <pc:docMk/>
            <pc:sldMk cId="2847420344" sldId="1438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2:25:17.637" v="14113"/>
          <ac:cxnSpMkLst>
            <pc:docMk/>
            <pc:sldMk cId="2847420344" sldId="1438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2:25:17.638" v="14115"/>
          <ac:cxnSpMkLst>
            <pc:docMk/>
            <pc:sldMk cId="2847420344" sldId="1438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2:25:17.639" v="14117"/>
          <ac:cxnSpMkLst>
            <pc:docMk/>
            <pc:sldMk cId="2847420344" sldId="1438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2:25:17.640" v="14119"/>
          <ac:cxnSpMkLst>
            <pc:docMk/>
            <pc:sldMk cId="2847420344" sldId="1438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2:25:17.641" v="14121"/>
          <ac:cxnSpMkLst>
            <pc:docMk/>
            <pc:sldMk cId="2847420344" sldId="1438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2:25:17.651" v="14141"/>
          <ac:cxnSpMkLst>
            <pc:docMk/>
            <pc:sldMk cId="2847420344" sldId="1438"/>
            <ac:cxnSpMk id="43" creationId="{1AC0A2C5-4B94-40F9-88E2-D3C10215517A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4:10:51.056" v="15520" actId="21"/>
        <pc:sldMkLst>
          <pc:docMk/>
          <pc:sldMk cId="1082020451" sldId="1439"/>
        </pc:sldMkLst>
        <pc:spChg chg="del mod ord">
          <ac:chgData name="Disselhoff, Tim" userId="3b8b5473-7050-4f60-8279-e72cc8538d43" providerId="ADAL" clId="{952E53DB-5978-46BA-964C-5B55B87B6690}" dt="2021-08-19T12:29:40.471" v="14673" actId="478"/>
          <ac:spMkLst>
            <pc:docMk/>
            <pc:sldMk cId="1082020451" sldId="1439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2:29:40.471" v="14673" actId="478"/>
          <ac:spMkLst>
            <pc:docMk/>
            <pc:sldMk cId="1082020451" sldId="1439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2:26:30.981" v="14200"/>
          <ac:spMkLst>
            <pc:docMk/>
            <pc:sldMk cId="1082020451" sldId="1439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2:26:30.982" v="14202"/>
          <ac:spMkLst>
            <pc:docMk/>
            <pc:sldMk cId="1082020451" sldId="1439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2:26:30.982" v="14204"/>
          <ac:spMkLst>
            <pc:docMk/>
            <pc:sldMk cId="1082020451" sldId="1439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2:26:30.984" v="14212"/>
          <ac:spMkLst>
            <pc:docMk/>
            <pc:sldMk cId="1082020451" sldId="1439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2:26:30.985" v="14214"/>
          <ac:spMkLst>
            <pc:docMk/>
            <pc:sldMk cId="1082020451" sldId="1439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2:26:30.986" v="14216"/>
          <ac:spMkLst>
            <pc:docMk/>
            <pc:sldMk cId="1082020451" sldId="1439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2:26:30.988" v="14224"/>
          <ac:spMkLst>
            <pc:docMk/>
            <pc:sldMk cId="1082020451" sldId="1439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2:26:31.002" v="14276"/>
          <ac:spMkLst>
            <pc:docMk/>
            <pc:sldMk cId="1082020451" sldId="1439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2:26:30.991" v="14232"/>
          <ac:spMkLst>
            <pc:docMk/>
            <pc:sldMk cId="1082020451" sldId="1439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2:26:30.996" v="14254"/>
          <ac:spMkLst>
            <pc:docMk/>
            <pc:sldMk cId="1082020451" sldId="1439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2:26:30.997" v="14256"/>
          <ac:spMkLst>
            <pc:docMk/>
            <pc:sldMk cId="1082020451" sldId="1439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2:26:30.997" v="14258"/>
          <ac:spMkLst>
            <pc:docMk/>
            <pc:sldMk cId="1082020451" sldId="1439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2:26:30.998" v="14260"/>
          <ac:spMkLst>
            <pc:docMk/>
            <pc:sldMk cId="1082020451" sldId="1439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2:26:30.998" v="14262"/>
          <ac:spMkLst>
            <pc:docMk/>
            <pc:sldMk cId="1082020451" sldId="1439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2:26:30.999" v="14264"/>
          <ac:spMkLst>
            <pc:docMk/>
            <pc:sldMk cId="1082020451" sldId="1439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2:26:31" v="14268"/>
          <ac:spMkLst>
            <pc:docMk/>
            <pc:sldMk cId="1082020451" sldId="1439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2:26:31" v="14270"/>
          <ac:spMkLst>
            <pc:docMk/>
            <pc:sldMk cId="1082020451" sldId="1439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9T12:26:31.004" v="14285"/>
          <ac:spMkLst>
            <pc:docMk/>
            <pc:sldMk cId="1082020451" sldId="1439"/>
            <ac:spMk id="48" creationId="{931EBFD0-CF6F-404D-BF78-39FD17EBEA3D}"/>
          </ac:spMkLst>
        </pc:spChg>
        <pc:spChg chg="add mod ord">
          <ac:chgData name="Disselhoff, Tim" userId="3b8b5473-7050-4f60-8279-e72cc8538d43" providerId="ADAL" clId="{952E53DB-5978-46BA-964C-5B55B87B6690}" dt="2021-08-19T12:26:31.011" v="14315"/>
          <ac:spMkLst>
            <pc:docMk/>
            <pc:sldMk cId="1082020451" sldId="1439"/>
            <ac:spMk id="360" creationId="{D0F6FA40-6E7B-40B9-844C-6FDF9DABA8B0}"/>
          </ac:spMkLst>
        </pc:spChg>
        <pc:spChg chg="mod ord">
          <ac:chgData name="Disselhoff, Tim" userId="3b8b5473-7050-4f60-8279-e72cc8538d43" providerId="ADAL" clId="{952E53DB-5978-46BA-964C-5B55B87B6690}" dt="2021-08-19T12:26:30.975" v="14194"/>
          <ac:spMkLst>
            <pc:docMk/>
            <pc:sldMk cId="1082020451" sldId="1439"/>
            <ac:spMk id="361" creationId="{216FF5D1-F5EE-4B51-AD15-F796A02CE247}"/>
          </ac:spMkLst>
        </pc:spChg>
        <pc:spChg chg="add mod ord">
          <ac:chgData name="Disselhoff, Tim" userId="3b8b5473-7050-4f60-8279-e72cc8538d43" providerId="ADAL" clId="{952E53DB-5978-46BA-964C-5B55B87B6690}" dt="2021-08-19T12:27:48.289" v="14338" actId="11530"/>
          <ac:spMkLst>
            <pc:docMk/>
            <pc:sldMk cId="1082020451" sldId="1439"/>
            <ac:spMk id="362" creationId="{DAF84009-EBDC-49AA-8F40-B8E23C1E37B5}"/>
          </ac:spMkLst>
        </pc:spChg>
        <pc:spChg chg="mod ord">
          <ac:chgData name="Disselhoff, Tim" userId="3b8b5473-7050-4f60-8279-e72cc8538d43" providerId="ADAL" clId="{952E53DB-5978-46BA-964C-5B55B87B6690}" dt="2021-08-19T12:26:31.013" v="14321"/>
          <ac:spMkLst>
            <pc:docMk/>
            <pc:sldMk cId="1082020451" sldId="1439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9T12:26:31.001" v="14274"/>
          <ac:spMkLst>
            <pc:docMk/>
            <pc:sldMk cId="1082020451" sldId="1439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9T12:26:31.005" v="14289"/>
          <ac:spMkLst>
            <pc:docMk/>
            <pc:sldMk cId="1082020451" sldId="1439"/>
            <ac:spMk id="367" creationId="{DE91575A-3185-DE4E-BF38-E185B82E0FCB}"/>
          </ac:spMkLst>
        </pc:spChg>
        <pc:spChg chg="add mod">
          <ac:chgData name="Disselhoff, Tim" userId="3b8b5473-7050-4f60-8279-e72cc8538d43" providerId="ADAL" clId="{952E53DB-5978-46BA-964C-5B55B87B6690}" dt="2021-08-19T12:29:41.466" v="14676"/>
          <ac:spMkLst>
            <pc:docMk/>
            <pc:sldMk cId="1082020451" sldId="1439"/>
            <ac:spMk id="379" creationId="{E6EE2390-3803-4766-BB5C-641F916B5991}"/>
          </ac:spMkLst>
        </pc:spChg>
        <pc:spChg chg="add mod">
          <ac:chgData name="Disselhoff, Tim" userId="3b8b5473-7050-4f60-8279-e72cc8538d43" providerId="ADAL" clId="{952E53DB-5978-46BA-964C-5B55B87B6690}" dt="2021-08-19T12:29:41.466" v="14676"/>
          <ac:spMkLst>
            <pc:docMk/>
            <pc:sldMk cId="1082020451" sldId="1439"/>
            <ac:spMk id="380" creationId="{13D1F69E-154B-404D-94BC-BB169FAC356F}"/>
          </ac:spMkLst>
        </pc:spChg>
        <pc:spChg chg="mod ord">
          <ac:chgData name="Disselhoff, Tim" userId="3b8b5473-7050-4f60-8279-e72cc8538d43" providerId="ADAL" clId="{952E53DB-5978-46BA-964C-5B55B87B6690}" dt="2021-08-19T12:26:31.003" v="14279"/>
          <ac:spMkLst>
            <pc:docMk/>
            <pc:sldMk cId="1082020451" sldId="1439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9T12:26:31.003" v="14281"/>
          <ac:spMkLst>
            <pc:docMk/>
            <pc:sldMk cId="1082020451" sldId="1439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9T12:26:31.004" v="14283"/>
          <ac:spMkLst>
            <pc:docMk/>
            <pc:sldMk cId="1082020451" sldId="1439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9T12:26:31.007" v="14295"/>
          <ac:spMkLst>
            <pc:docMk/>
            <pc:sldMk cId="1082020451" sldId="1439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9T12:26:31.007" v="14297"/>
          <ac:spMkLst>
            <pc:docMk/>
            <pc:sldMk cId="1082020451" sldId="1439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9T12:26:31.008" v="14299"/>
          <ac:spMkLst>
            <pc:docMk/>
            <pc:sldMk cId="1082020451" sldId="1439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9T12:26:31.008" v="14301"/>
          <ac:spMkLst>
            <pc:docMk/>
            <pc:sldMk cId="1082020451" sldId="1439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9T12:26:31.010" v="14307"/>
          <ac:spMkLst>
            <pc:docMk/>
            <pc:sldMk cId="1082020451" sldId="1439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9T12:26:31.010" v="14309"/>
          <ac:spMkLst>
            <pc:docMk/>
            <pc:sldMk cId="1082020451" sldId="1439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9T12:26:31.009" v="14303"/>
          <ac:spMkLst>
            <pc:docMk/>
            <pc:sldMk cId="1082020451" sldId="1439"/>
            <ac:spMk id="390" creationId="{55C60B76-5103-42DC-83D7-36B18DAC247F}"/>
          </ac:spMkLst>
        </pc:spChg>
        <pc:spChg chg="mod ord">
          <ac:chgData name="Disselhoff, Tim" userId="3b8b5473-7050-4f60-8279-e72cc8538d43" providerId="ADAL" clId="{952E53DB-5978-46BA-964C-5B55B87B6690}" dt="2021-08-19T12:26:31.006" v="14291"/>
          <ac:spMkLst>
            <pc:docMk/>
            <pc:sldMk cId="1082020451" sldId="1439"/>
            <ac:spMk id="392" creationId="{46D7C816-303C-44CE-922F-50BDB4035657}"/>
          </ac:spMkLst>
        </pc:spChg>
        <pc:spChg chg="add del mod">
          <ac:chgData name="Disselhoff, Tim" userId="3b8b5473-7050-4f60-8279-e72cc8538d43" providerId="ADAL" clId="{952E53DB-5978-46BA-964C-5B55B87B6690}" dt="2021-08-19T14:08:41.150" v="15314"/>
          <ac:spMkLst>
            <pc:docMk/>
            <pc:sldMk cId="1082020451" sldId="1439"/>
            <ac:spMk id="393" creationId="{D2071954-634B-4458-9F25-66EE9D728AE1}"/>
          </ac:spMkLst>
        </pc:spChg>
        <pc:spChg chg="add mod">
          <ac:chgData name="Disselhoff, Tim" userId="3b8b5473-7050-4f60-8279-e72cc8538d43" providerId="ADAL" clId="{952E53DB-5978-46BA-964C-5B55B87B6690}" dt="2021-08-19T14:10:38.472" v="15519" actId="113"/>
          <ac:spMkLst>
            <pc:docMk/>
            <pc:sldMk cId="1082020451" sldId="1439"/>
            <ac:spMk id="394" creationId="{5C34B3EC-2E6C-430A-9914-565A96A1B3F0}"/>
          </ac:spMkLst>
        </pc:spChg>
        <pc:spChg chg="mod ord">
          <ac:chgData name="Disselhoff, Tim" userId="3b8b5473-7050-4f60-8279-e72cc8538d43" providerId="ADAL" clId="{952E53DB-5978-46BA-964C-5B55B87B6690}" dt="2021-08-19T12:26:31.010" v="14311"/>
          <ac:spMkLst>
            <pc:docMk/>
            <pc:sldMk cId="1082020451" sldId="1439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2:26:31.011" v="14313"/>
          <ac:spMkLst>
            <pc:docMk/>
            <pc:sldMk cId="1082020451" sldId="1439"/>
            <ac:spMk id="397" creationId="{D319A06A-6DFE-4874-93D8-D67F460A2E63}"/>
          </ac:spMkLst>
        </pc:spChg>
        <pc:spChg chg="mod ord">
          <ac:chgData name="Disselhoff, Tim" userId="3b8b5473-7050-4f60-8279-e72cc8538d43" providerId="ADAL" clId="{952E53DB-5978-46BA-964C-5B55B87B6690}" dt="2021-08-19T12:26:31.012" v="14319"/>
          <ac:spMkLst>
            <pc:docMk/>
            <pc:sldMk cId="1082020451" sldId="1439"/>
            <ac:spMk id="402" creationId="{D45B3FE9-1E70-4A86-BEF9-3593EB8AF8A2}"/>
          </ac:spMkLst>
        </pc:spChg>
        <pc:spChg chg="mod ord">
          <ac:chgData name="Disselhoff, Tim" userId="3b8b5473-7050-4f60-8279-e72cc8538d43" providerId="ADAL" clId="{952E53DB-5978-46BA-964C-5B55B87B6690}" dt="2021-08-19T12:26:31.006" v="14293"/>
          <ac:spMkLst>
            <pc:docMk/>
            <pc:sldMk cId="1082020451" sldId="1439"/>
            <ac:spMk id="404" creationId="{460B3AA4-CC09-446E-8C13-6BF2772144D3}"/>
          </ac:spMkLst>
        </pc:spChg>
        <pc:spChg chg="mod ord">
          <ac:chgData name="Disselhoff, Tim" userId="3b8b5473-7050-4f60-8279-e72cc8538d43" providerId="ADAL" clId="{952E53DB-5978-46BA-964C-5B55B87B6690}" dt="2021-08-19T12:26:31.009" v="14305"/>
          <ac:spMkLst>
            <pc:docMk/>
            <pc:sldMk cId="1082020451" sldId="1439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9T12:26:30.983" v="14206"/>
          <ac:grpSpMkLst>
            <pc:docMk/>
            <pc:sldMk cId="1082020451" sldId="1439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2:26:30.983" v="14208"/>
          <ac:grpSpMkLst>
            <pc:docMk/>
            <pc:sldMk cId="1082020451" sldId="1439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2:26:30.984" v="14210"/>
          <ac:grpSpMkLst>
            <pc:docMk/>
            <pc:sldMk cId="1082020451" sldId="1439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2:26:30.986" v="14218"/>
          <ac:grpSpMkLst>
            <pc:docMk/>
            <pc:sldMk cId="1082020451" sldId="1439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2:26:30.987" v="14220"/>
          <ac:grpSpMkLst>
            <pc:docMk/>
            <pc:sldMk cId="1082020451" sldId="1439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2:26:30.988" v="14222"/>
          <ac:grpSpMkLst>
            <pc:docMk/>
            <pc:sldMk cId="1082020451" sldId="1439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2:26:30.989" v="14226"/>
          <ac:grpSpMkLst>
            <pc:docMk/>
            <pc:sldMk cId="1082020451" sldId="1439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2:26:30.990" v="14228"/>
          <ac:grpSpMkLst>
            <pc:docMk/>
            <pc:sldMk cId="1082020451" sldId="1439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2:26:30.990" v="14230"/>
          <ac:grpSpMkLst>
            <pc:docMk/>
            <pc:sldMk cId="1082020451" sldId="1439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2:26:31.002" v="14277"/>
          <ac:grpSpMkLst>
            <pc:docMk/>
            <pc:sldMk cId="1082020451" sldId="1439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2:26:30.999" v="14266"/>
          <ac:grpSpMkLst>
            <pc:docMk/>
            <pc:sldMk cId="1082020451" sldId="1439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9T12:26:31.005" v="14287"/>
          <ac:grpSpMkLst>
            <pc:docMk/>
            <pc:sldMk cId="1082020451" sldId="1439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2:29:41.054" v="14675"/>
          <ac:graphicFrameMkLst>
            <pc:docMk/>
            <pc:sldMk cId="1082020451" sldId="1439"/>
            <ac:graphicFrameMk id="365" creationId="{E60950EF-D161-4F96-83E4-B88E961AACA8}"/>
          </ac:graphicFrameMkLst>
        </pc:graphicFrameChg>
        <pc:picChg chg="add del mod">
          <ac:chgData name="Disselhoff, Tim" userId="3b8b5473-7050-4f60-8279-e72cc8538d43" providerId="ADAL" clId="{952E53DB-5978-46BA-964C-5B55B87B6690}" dt="2021-08-19T14:10:51.056" v="15520" actId="21"/>
          <ac:picMkLst>
            <pc:docMk/>
            <pc:sldMk cId="1082020451" sldId="1439"/>
            <ac:picMk id="391" creationId="{BF44F705-80B1-4337-A6A5-7E6FE74CA7DB}"/>
          </ac:picMkLst>
        </pc:picChg>
        <pc:cxnChg chg="mod ord">
          <ac:chgData name="Disselhoff, Tim" userId="3b8b5473-7050-4f60-8279-e72cc8538d43" providerId="ADAL" clId="{952E53DB-5978-46BA-964C-5B55B87B6690}" dt="2021-08-19T12:26:30.991" v="14234"/>
          <ac:cxnSpMkLst>
            <pc:docMk/>
            <pc:sldMk cId="1082020451" sldId="1439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2:26:30.992" v="14236"/>
          <ac:cxnSpMkLst>
            <pc:docMk/>
            <pc:sldMk cId="1082020451" sldId="1439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2:26:30.992" v="14238"/>
          <ac:cxnSpMkLst>
            <pc:docMk/>
            <pc:sldMk cId="1082020451" sldId="1439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2:26:30.993" v="14240"/>
          <ac:cxnSpMkLst>
            <pc:docMk/>
            <pc:sldMk cId="1082020451" sldId="1439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2:26:30.993" v="14242"/>
          <ac:cxnSpMkLst>
            <pc:docMk/>
            <pc:sldMk cId="1082020451" sldId="1439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2:26:30.994" v="14244"/>
          <ac:cxnSpMkLst>
            <pc:docMk/>
            <pc:sldMk cId="1082020451" sldId="1439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2:26:30.994" v="14246"/>
          <ac:cxnSpMkLst>
            <pc:docMk/>
            <pc:sldMk cId="1082020451" sldId="1439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2:26:30.995" v="14248"/>
          <ac:cxnSpMkLst>
            <pc:docMk/>
            <pc:sldMk cId="1082020451" sldId="1439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2:26:30.995" v="14250"/>
          <ac:cxnSpMkLst>
            <pc:docMk/>
            <pc:sldMk cId="1082020451" sldId="1439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2:26:30.996" v="14252"/>
          <ac:cxnSpMkLst>
            <pc:docMk/>
            <pc:sldMk cId="1082020451" sldId="1439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2:26:31.001" v="14272"/>
          <ac:cxnSpMkLst>
            <pc:docMk/>
            <pc:sldMk cId="1082020451" sldId="1439"/>
            <ac:cxnSpMk id="43" creationId="{1AC0A2C5-4B94-40F9-88E2-D3C10215517A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4:23:21.241" v="17009"/>
        <pc:sldMkLst>
          <pc:docMk/>
          <pc:sldMk cId="2020677306" sldId="1440"/>
        </pc:sldMkLst>
        <pc:spChg chg="del mod ord">
          <ac:chgData name="Disselhoff, Tim" userId="3b8b5473-7050-4f60-8279-e72cc8538d43" providerId="ADAL" clId="{952E53DB-5978-46BA-964C-5B55B87B6690}" dt="2021-08-19T14:23:20.590" v="17006" actId="478"/>
          <ac:spMkLst>
            <pc:docMk/>
            <pc:sldMk cId="2020677306" sldId="1440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4:23:20.590" v="17006" actId="478"/>
          <ac:spMkLst>
            <pc:docMk/>
            <pc:sldMk cId="2020677306" sldId="1440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2:28:48.844" v="14487"/>
          <ac:spMkLst>
            <pc:docMk/>
            <pc:sldMk cId="2020677306" sldId="1440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2:28:48.845" v="14489"/>
          <ac:spMkLst>
            <pc:docMk/>
            <pc:sldMk cId="2020677306" sldId="1440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2:28:48.845" v="14491"/>
          <ac:spMkLst>
            <pc:docMk/>
            <pc:sldMk cId="2020677306" sldId="1440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2:28:48.847" v="14499"/>
          <ac:spMkLst>
            <pc:docMk/>
            <pc:sldMk cId="2020677306" sldId="1440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2:28:48.848" v="14501"/>
          <ac:spMkLst>
            <pc:docMk/>
            <pc:sldMk cId="2020677306" sldId="1440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2:28:48.849" v="14503"/>
          <ac:spMkLst>
            <pc:docMk/>
            <pc:sldMk cId="2020677306" sldId="1440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2:28:48.851" v="14511"/>
          <ac:spMkLst>
            <pc:docMk/>
            <pc:sldMk cId="2020677306" sldId="1440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2:28:48.865" v="14563"/>
          <ac:spMkLst>
            <pc:docMk/>
            <pc:sldMk cId="2020677306" sldId="1440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2:28:48.853" v="14519"/>
          <ac:spMkLst>
            <pc:docMk/>
            <pc:sldMk cId="2020677306" sldId="1440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2:28:48.859" v="14541"/>
          <ac:spMkLst>
            <pc:docMk/>
            <pc:sldMk cId="2020677306" sldId="1440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2:28:48.859" v="14543"/>
          <ac:spMkLst>
            <pc:docMk/>
            <pc:sldMk cId="2020677306" sldId="1440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2:28:48.860" v="14545"/>
          <ac:spMkLst>
            <pc:docMk/>
            <pc:sldMk cId="2020677306" sldId="1440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2:28:48.860" v="14547"/>
          <ac:spMkLst>
            <pc:docMk/>
            <pc:sldMk cId="2020677306" sldId="1440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2:28:48.861" v="14549"/>
          <ac:spMkLst>
            <pc:docMk/>
            <pc:sldMk cId="2020677306" sldId="1440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2:28:48.861" v="14551"/>
          <ac:spMkLst>
            <pc:docMk/>
            <pc:sldMk cId="2020677306" sldId="1440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2:28:48.862" v="14555"/>
          <ac:spMkLst>
            <pc:docMk/>
            <pc:sldMk cId="2020677306" sldId="1440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2:28:48.863" v="14557"/>
          <ac:spMkLst>
            <pc:docMk/>
            <pc:sldMk cId="2020677306" sldId="1440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9T12:28:48.867" v="14572"/>
          <ac:spMkLst>
            <pc:docMk/>
            <pc:sldMk cId="2020677306" sldId="1440"/>
            <ac:spMk id="48" creationId="{931EBFD0-CF6F-404D-BF78-39FD17EBEA3D}"/>
          </ac:spMkLst>
        </pc:spChg>
        <pc:spChg chg="add mod ord">
          <ac:chgData name="Disselhoff, Tim" userId="3b8b5473-7050-4f60-8279-e72cc8538d43" providerId="ADAL" clId="{952E53DB-5978-46BA-964C-5B55B87B6690}" dt="2021-08-19T12:28:48.874" v="14602"/>
          <ac:spMkLst>
            <pc:docMk/>
            <pc:sldMk cId="2020677306" sldId="1440"/>
            <ac:spMk id="360" creationId="{EA2879A2-3D86-43E6-AAE6-0419DE79B6DB}"/>
          </ac:spMkLst>
        </pc:spChg>
        <pc:spChg chg="mod ord">
          <ac:chgData name="Disselhoff, Tim" userId="3b8b5473-7050-4f60-8279-e72cc8538d43" providerId="ADAL" clId="{952E53DB-5978-46BA-964C-5B55B87B6690}" dt="2021-08-19T12:28:48.838" v="14481"/>
          <ac:spMkLst>
            <pc:docMk/>
            <pc:sldMk cId="2020677306" sldId="1440"/>
            <ac:spMk id="361" creationId="{216FF5D1-F5EE-4B51-AD15-F796A02CE247}"/>
          </ac:spMkLst>
        </pc:spChg>
        <pc:spChg chg="add mod ord">
          <ac:chgData name="Disselhoff, Tim" userId="3b8b5473-7050-4f60-8279-e72cc8538d43" providerId="ADAL" clId="{952E53DB-5978-46BA-964C-5B55B87B6690}" dt="2021-08-19T12:28:57.131" v="14616" actId="14100"/>
          <ac:spMkLst>
            <pc:docMk/>
            <pc:sldMk cId="2020677306" sldId="1440"/>
            <ac:spMk id="362" creationId="{62BD062B-583D-4EFB-9119-92CD570103F2}"/>
          </ac:spMkLst>
        </pc:spChg>
        <pc:spChg chg="mod ord">
          <ac:chgData name="Disselhoff, Tim" userId="3b8b5473-7050-4f60-8279-e72cc8538d43" providerId="ADAL" clId="{952E53DB-5978-46BA-964C-5B55B87B6690}" dt="2021-08-19T12:28:48.875" v="14606"/>
          <ac:spMkLst>
            <pc:docMk/>
            <pc:sldMk cId="2020677306" sldId="1440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9T12:28:48.864" v="14561"/>
          <ac:spMkLst>
            <pc:docMk/>
            <pc:sldMk cId="2020677306" sldId="1440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9T12:28:48.868" v="14576"/>
          <ac:spMkLst>
            <pc:docMk/>
            <pc:sldMk cId="2020677306" sldId="1440"/>
            <ac:spMk id="367" creationId="{DE91575A-3185-DE4E-BF38-E185B82E0FCB}"/>
          </ac:spMkLst>
        </pc:spChg>
        <pc:spChg chg="add mod">
          <ac:chgData name="Disselhoff, Tim" userId="3b8b5473-7050-4f60-8279-e72cc8538d43" providerId="ADAL" clId="{952E53DB-5978-46BA-964C-5B55B87B6690}" dt="2021-08-19T14:14:09.633" v="15838" actId="113"/>
          <ac:spMkLst>
            <pc:docMk/>
            <pc:sldMk cId="2020677306" sldId="1440"/>
            <ac:spMk id="380" creationId="{19F3C8C7-18DB-4614-89AB-7371B1F5E669}"/>
          </ac:spMkLst>
        </pc:spChg>
        <pc:spChg chg="mod ord">
          <ac:chgData name="Disselhoff, Tim" userId="3b8b5473-7050-4f60-8279-e72cc8538d43" providerId="ADAL" clId="{952E53DB-5978-46BA-964C-5B55B87B6690}" dt="2021-08-19T12:28:48.866" v="14566"/>
          <ac:spMkLst>
            <pc:docMk/>
            <pc:sldMk cId="2020677306" sldId="1440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9T12:28:48.866" v="14568"/>
          <ac:spMkLst>
            <pc:docMk/>
            <pc:sldMk cId="2020677306" sldId="1440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9T12:28:48.867" v="14570"/>
          <ac:spMkLst>
            <pc:docMk/>
            <pc:sldMk cId="2020677306" sldId="1440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9T12:28:48.870" v="14582"/>
          <ac:spMkLst>
            <pc:docMk/>
            <pc:sldMk cId="2020677306" sldId="1440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9T12:28:48.870" v="14584"/>
          <ac:spMkLst>
            <pc:docMk/>
            <pc:sldMk cId="2020677306" sldId="1440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9T12:28:48.870" v="14586"/>
          <ac:spMkLst>
            <pc:docMk/>
            <pc:sldMk cId="2020677306" sldId="1440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9T12:28:48.871" v="14588"/>
          <ac:spMkLst>
            <pc:docMk/>
            <pc:sldMk cId="2020677306" sldId="1440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9T12:28:48.872" v="14594"/>
          <ac:spMkLst>
            <pc:docMk/>
            <pc:sldMk cId="2020677306" sldId="1440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9T12:28:48.873" v="14596"/>
          <ac:spMkLst>
            <pc:docMk/>
            <pc:sldMk cId="2020677306" sldId="1440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9T12:28:48.871" v="14590"/>
          <ac:spMkLst>
            <pc:docMk/>
            <pc:sldMk cId="2020677306" sldId="1440"/>
            <ac:spMk id="390" creationId="{55C60B76-5103-42DC-83D7-36B18DAC247F}"/>
          </ac:spMkLst>
        </pc:spChg>
        <pc:spChg chg="add mod">
          <ac:chgData name="Disselhoff, Tim" userId="3b8b5473-7050-4f60-8279-e72cc8538d43" providerId="ADAL" clId="{952E53DB-5978-46BA-964C-5B55B87B6690}" dt="2021-08-19T14:23:21.241" v="17009"/>
          <ac:spMkLst>
            <pc:docMk/>
            <pc:sldMk cId="2020677306" sldId="1440"/>
            <ac:spMk id="391" creationId="{4621E405-613D-48C0-95B0-1774F552A737}"/>
          </ac:spMkLst>
        </pc:spChg>
        <pc:spChg chg="mod ord">
          <ac:chgData name="Disselhoff, Tim" userId="3b8b5473-7050-4f60-8279-e72cc8538d43" providerId="ADAL" clId="{952E53DB-5978-46BA-964C-5B55B87B6690}" dt="2021-08-19T12:28:48.869" v="14578"/>
          <ac:spMkLst>
            <pc:docMk/>
            <pc:sldMk cId="2020677306" sldId="1440"/>
            <ac:spMk id="392" creationId="{46D7C816-303C-44CE-922F-50BDB4035657}"/>
          </ac:spMkLst>
        </pc:spChg>
        <pc:spChg chg="add mod">
          <ac:chgData name="Disselhoff, Tim" userId="3b8b5473-7050-4f60-8279-e72cc8538d43" providerId="ADAL" clId="{952E53DB-5978-46BA-964C-5B55B87B6690}" dt="2021-08-19T14:23:21.241" v="17009"/>
          <ac:spMkLst>
            <pc:docMk/>
            <pc:sldMk cId="2020677306" sldId="1440"/>
            <ac:spMk id="393" creationId="{8EEA08ED-935F-468E-B41B-35B7559E630B}"/>
          </ac:spMkLst>
        </pc:spChg>
        <pc:spChg chg="mod ord">
          <ac:chgData name="Disselhoff, Tim" userId="3b8b5473-7050-4f60-8279-e72cc8538d43" providerId="ADAL" clId="{952E53DB-5978-46BA-964C-5B55B87B6690}" dt="2021-08-19T12:28:48.877" v="14612"/>
          <ac:spMkLst>
            <pc:docMk/>
            <pc:sldMk cId="2020677306" sldId="1440"/>
            <ac:spMk id="395" creationId="{B7C80E8D-2FB3-4967-8033-EA8E43D6FAC2}"/>
          </ac:spMkLst>
        </pc:spChg>
        <pc:spChg chg="mod ord">
          <ac:chgData name="Disselhoff, Tim" userId="3b8b5473-7050-4f60-8279-e72cc8538d43" providerId="ADAL" clId="{952E53DB-5978-46BA-964C-5B55B87B6690}" dt="2021-08-19T12:28:48.873" v="14598"/>
          <ac:spMkLst>
            <pc:docMk/>
            <pc:sldMk cId="2020677306" sldId="1440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2:28:48.874" v="14600"/>
          <ac:spMkLst>
            <pc:docMk/>
            <pc:sldMk cId="2020677306" sldId="1440"/>
            <ac:spMk id="397" creationId="{D319A06A-6DFE-4874-93D8-D67F460A2E63}"/>
          </ac:spMkLst>
        </pc:spChg>
        <pc:spChg chg="mod ord">
          <ac:chgData name="Disselhoff, Tim" userId="3b8b5473-7050-4f60-8279-e72cc8538d43" providerId="ADAL" clId="{952E53DB-5978-46BA-964C-5B55B87B6690}" dt="2021-08-19T12:28:48.876" v="14610"/>
          <ac:spMkLst>
            <pc:docMk/>
            <pc:sldMk cId="2020677306" sldId="1440"/>
            <ac:spMk id="399" creationId="{29F8AE9E-5F8A-48B7-99FC-48283AEB4DE3}"/>
          </ac:spMkLst>
        </pc:spChg>
        <pc:spChg chg="mod ord">
          <ac:chgData name="Disselhoff, Tim" userId="3b8b5473-7050-4f60-8279-e72cc8538d43" providerId="ADAL" clId="{952E53DB-5978-46BA-964C-5B55B87B6690}" dt="2021-08-19T12:28:48.875" v="14604"/>
          <ac:spMkLst>
            <pc:docMk/>
            <pc:sldMk cId="2020677306" sldId="1440"/>
            <ac:spMk id="402" creationId="{D45B3FE9-1E70-4A86-BEF9-3593EB8AF8A2}"/>
          </ac:spMkLst>
        </pc:spChg>
        <pc:spChg chg="mod ord">
          <ac:chgData name="Disselhoff, Tim" userId="3b8b5473-7050-4f60-8279-e72cc8538d43" providerId="ADAL" clId="{952E53DB-5978-46BA-964C-5B55B87B6690}" dt="2021-08-19T12:28:48.869" v="14580"/>
          <ac:spMkLst>
            <pc:docMk/>
            <pc:sldMk cId="2020677306" sldId="1440"/>
            <ac:spMk id="404" creationId="{460B3AA4-CC09-446E-8C13-6BF2772144D3}"/>
          </ac:spMkLst>
        </pc:spChg>
        <pc:spChg chg="mod ord">
          <ac:chgData name="Disselhoff, Tim" userId="3b8b5473-7050-4f60-8279-e72cc8538d43" providerId="ADAL" clId="{952E53DB-5978-46BA-964C-5B55B87B6690}" dt="2021-08-19T12:28:48.872" v="14592"/>
          <ac:spMkLst>
            <pc:docMk/>
            <pc:sldMk cId="2020677306" sldId="1440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9T12:28:48.846" v="14493"/>
          <ac:grpSpMkLst>
            <pc:docMk/>
            <pc:sldMk cId="2020677306" sldId="1440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2:28:48.846" v="14495"/>
          <ac:grpSpMkLst>
            <pc:docMk/>
            <pc:sldMk cId="2020677306" sldId="1440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2:28:48.847" v="14497"/>
          <ac:grpSpMkLst>
            <pc:docMk/>
            <pc:sldMk cId="2020677306" sldId="1440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2:28:48.850" v="14505"/>
          <ac:grpSpMkLst>
            <pc:docMk/>
            <pc:sldMk cId="2020677306" sldId="1440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2:28:48.850" v="14507"/>
          <ac:grpSpMkLst>
            <pc:docMk/>
            <pc:sldMk cId="2020677306" sldId="1440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2:28:48.851" v="14509"/>
          <ac:grpSpMkLst>
            <pc:docMk/>
            <pc:sldMk cId="2020677306" sldId="1440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2:28:48.852" v="14513"/>
          <ac:grpSpMkLst>
            <pc:docMk/>
            <pc:sldMk cId="2020677306" sldId="1440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2:28:48.852" v="14515"/>
          <ac:grpSpMkLst>
            <pc:docMk/>
            <pc:sldMk cId="2020677306" sldId="1440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2:28:48.853" v="14517"/>
          <ac:grpSpMkLst>
            <pc:docMk/>
            <pc:sldMk cId="2020677306" sldId="1440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2:28:48.865" v="14564"/>
          <ac:grpSpMkLst>
            <pc:docMk/>
            <pc:sldMk cId="2020677306" sldId="1440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2:28:48.862" v="14553"/>
          <ac:grpSpMkLst>
            <pc:docMk/>
            <pc:sldMk cId="2020677306" sldId="1440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9T12:28:48.868" v="14574"/>
          <ac:grpSpMkLst>
            <pc:docMk/>
            <pc:sldMk cId="2020677306" sldId="1440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4:23:21.213" v="17008"/>
          <ac:graphicFrameMkLst>
            <pc:docMk/>
            <pc:sldMk cId="2020677306" sldId="1440"/>
            <ac:graphicFrameMk id="365" creationId="{E60950EF-D161-4F96-83E4-B88E961AACA8}"/>
          </ac:graphicFrameMkLst>
        </pc:graphicFrameChg>
        <pc:picChg chg="add del mod">
          <ac:chgData name="Disselhoff, Tim" userId="3b8b5473-7050-4f60-8279-e72cc8538d43" providerId="ADAL" clId="{952E53DB-5978-46BA-964C-5B55B87B6690}" dt="2021-08-19T14:14:18.145" v="15839" actId="21"/>
          <ac:picMkLst>
            <pc:docMk/>
            <pc:sldMk cId="2020677306" sldId="1440"/>
            <ac:picMk id="379" creationId="{23EEE372-E5EB-458E-A84C-64328A121706}"/>
          </ac:picMkLst>
        </pc:picChg>
        <pc:cxnChg chg="mod ord">
          <ac:chgData name="Disselhoff, Tim" userId="3b8b5473-7050-4f60-8279-e72cc8538d43" providerId="ADAL" clId="{952E53DB-5978-46BA-964C-5B55B87B6690}" dt="2021-08-19T12:28:48.854" v="14521"/>
          <ac:cxnSpMkLst>
            <pc:docMk/>
            <pc:sldMk cId="2020677306" sldId="1440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2:28:48.854" v="14523"/>
          <ac:cxnSpMkLst>
            <pc:docMk/>
            <pc:sldMk cId="2020677306" sldId="1440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2:28:48.855" v="14525"/>
          <ac:cxnSpMkLst>
            <pc:docMk/>
            <pc:sldMk cId="2020677306" sldId="1440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2:28:48.855" v="14527"/>
          <ac:cxnSpMkLst>
            <pc:docMk/>
            <pc:sldMk cId="2020677306" sldId="1440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2:28:48.856" v="14529"/>
          <ac:cxnSpMkLst>
            <pc:docMk/>
            <pc:sldMk cId="2020677306" sldId="1440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2:28:48.856" v="14531"/>
          <ac:cxnSpMkLst>
            <pc:docMk/>
            <pc:sldMk cId="2020677306" sldId="1440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2:28:48.857" v="14533"/>
          <ac:cxnSpMkLst>
            <pc:docMk/>
            <pc:sldMk cId="2020677306" sldId="1440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2:28:48.857" v="14535"/>
          <ac:cxnSpMkLst>
            <pc:docMk/>
            <pc:sldMk cId="2020677306" sldId="1440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2:28:48.858" v="14537"/>
          <ac:cxnSpMkLst>
            <pc:docMk/>
            <pc:sldMk cId="2020677306" sldId="1440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2:28:48.858" v="14539"/>
          <ac:cxnSpMkLst>
            <pc:docMk/>
            <pc:sldMk cId="2020677306" sldId="1440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2:28:48.863" v="14559"/>
          <ac:cxnSpMkLst>
            <pc:docMk/>
            <pc:sldMk cId="2020677306" sldId="1440"/>
            <ac:cxnSpMk id="43" creationId="{1AC0A2C5-4B94-40F9-88E2-D3C10215517A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20T06:41:01.341" v="19920" actId="20577"/>
        <pc:sldMkLst>
          <pc:docMk/>
          <pc:sldMk cId="3526368391" sldId="1441"/>
        </pc:sldMkLst>
        <pc:spChg chg="del mod ord">
          <ac:chgData name="Disselhoff, Tim" userId="3b8b5473-7050-4f60-8279-e72cc8538d43" providerId="ADAL" clId="{952E53DB-5978-46BA-964C-5B55B87B6690}" dt="2021-08-19T14:23:44.867" v="17022" actId="478"/>
          <ac:spMkLst>
            <pc:docMk/>
            <pc:sldMk cId="3526368391" sldId="1441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4:23:44.867" v="17022" actId="478"/>
          <ac:spMkLst>
            <pc:docMk/>
            <pc:sldMk cId="3526368391" sldId="1441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4:21:53.946" v="16536"/>
          <ac:spMkLst>
            <pc:docMk/>
            <pc:sldMk cId="3526368391" sldId="1441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4:21:53.946" v="16538"/>
          <ac:spMkLst>
            <pc:docMk/>
            <pc:sldMk cId="3526368391" sldId="1441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4:21:53.947" v="16540"/>
          <ac:spMkLst>
            <pc:docMk/>
            <pc:sldMk cId="3526368391" sldId="1441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4:21:53.951" v="16548"/>
          <ac:spMkLst>
            <pc:docMk/>
            <pc:sldMk cId="3526368391" sldId="1441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4:21:53.952" v="16550"/>
          <ac:spMkLst>
            <pc:docMk/>
            <pc:sldMk cId="3526368391" sldId="1441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4:21:53.953" v="16552"/>
          <ac:spMkLst>
            <pc:docMk/>
            <pc:sldMk cId="3526368391" sldId="1441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4:21:53.956" v="16560"/>
          <ac:spMkLst>
            <pc:docMk/>
            <pc:sldMk cId="3526368391" sldId="1441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4:21:53.972" v="16612"/>
          <ac:spMkLst>
            <pc:docMk/>
            <pc:sldMk cId="3526368391" sldId="1441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4:21:53.959" v="16568"/>
          <ac:spMkLst>
            <pc:docMk/>
            <pc:sldMk cId="3526368391" sldId="1441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4:21:53.965" v="16590"/>
          <ac:spMkLst>
            <pc:docMk/>
            <pc:sldMk cId="3526368391" sldId="1441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4:21:53.966" v="16592"/>
          <ac:spMkLst>
            <pc:docMk/>
            <pc:sldMk cId="3526368391" sldId="1441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4:21:53.967" v="16594"/>
          <ac:spMkLst>
            <pc:docMk/>
            <pc:sldMk cId="3526368391" sldId="1441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4:21:53.967" v="16596"/>
          <ac:spMkLst>
            <pc:docMk/>
            <pc:sldMk cId="3526368391" sldId="1441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4:21:53.968" v="16598"/>
          <ac:spMkLst>
            <pc:docMk/>
            <pc:sldMk cId="3526368391" sldId="1441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4:21:53.968" v="16600"/>
          <ac:spMkLst>
            <pc:docMk/>
            <pc:sldMk cId="3526368391" sldId="1441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4:21:53.970" v="16604"/>
          <ac:spMkLst>
            <pc:docMk/>
            <pc:sldMk cId="3526368391" sldId="1441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4:21:53.971" v="16606"/>
          <ac:spMkLst>
            <pc:docMk/>
            <pc:sldMk cId="3526368391" sldId="1441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9T14:21:53.976" v="16621"/>
          <ac:spMkLst>
            <pc:docMk/>
            <pc:sldMk cId="3526368391" sldId="1441"/>
            <ac:spMk id="48" creationId="{931EBFD0-CF6F-404D-BF78-39FD17EBEA3D}"/>
          </ac:spMkLst>
        </pc:spChg>
        <pc:spChg chg="mod">
          <ac:chgData name="Disselhoff, Tim" userId="3b8b5473-7050-4f60-8279-e72cc8538d43" providerId="ADAL" clId="{952E53DB-5978-46BA-964C-5B55B87B6690}" dt="2021-08-20T06:41:01.341" v="19920" actId="20577"/>
          <ac:spMkLst>
            <pc:docMk/>
            <pc:sldMk cId="3526368391" sldId="1441"/>
            <ac:spMk id="360" creationId="{C439FC73-5797-4F8E-A8FA-78E973C4D455}"/>
          </ac:spMkLst>
        </pc:spChg>
        <pc:spChg chg="mod ord">
          <ac:chgData name="Disselhoff, Tim" userId="3b8b5473-7050-4f60-8279-e72cc8538d43" providerId="ADAL" clId="{952E53DB-5978-46BA-964C-5B55B87B6690}" dt="2021-08-19T14:21:53.942" v="16530"/>
          <ac:spMkLst>
            <pc:docMk/>
            <pc:sldMk cId="3526368391" sldId="1441"/>
            <ac:spMk id="361" creationId="{216FF5D1-F5EE-4B51-AD15-F796A02CE247}"/>
          </ac:spMkLst>
        </pc:spChg>
        <pc:spChg chg="mod ord">
          <ac:chgData name="Disselhoff, Tim" userId="3b8b5473-7050-4f60-8279-e72cc8538d43" providerId="ADAL" clId="{952E53DB-5978-46BA-964C-5B55B87B6690}" dt="2021-08-19T14:21:53.978" v="16627"/>
          <ac:spMkLst>
            <pc:docMk/>
            <pc:sldMk cId="3526368391" sldId="1441"/>
            <ac:spMk id="362" creationId="{752FC1DA-4C19-4013-9DF2-81DC1022D71A}"/>
          </ac:spMkLst>
        </pc:spChg>
        <pc:spChg chg="mod ord">
          <ac:chgData name="Disselhoff, Tim" userId="3b8b5473-7050-4f60-8279-e72cc8538d43" providerId="ADAL" clId="{952E53DB-5978-46BA-964C-5B55B87B6690}" dt="2021-08-19T14:21:53.986" v="16653"/>
          <ac:spMkLst>
            <pc:docMk/>
            <pc:sldMk cId="3526368391" sldId="1441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9T14:21:53.972" v="16610"/>
          <ac:spMkLst>
            <pc:docMk/>
            <pc:sldMk cId="3526368391" sldId="1441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9T14:21:53.977" v="16625"/>
          <ac:spMkLst>
            <pc:docMk/>
            <pc:sldMk cId="3526368391" sldId="1441"/>
            <ac:spMk id="367" creationId="{DE91575A-3185-DE4E-BF38-E185B82E0FCB}"/>
          </ac:spMkLst>
        </pc:spChg>
        <pc:spChg chg="add mod ord">
          <ac:chgData name="Disselhoff, Tim" userId="3b8b5473-7050-4f60-8279-e72cc8538d43" providerId="ADAL" clId="{952E53DB-5978-46BA-964C-5B55B87B6690}" dt="2021-08-19T14:21:53.990" v="16665"/>
          <ac:spMkLst>
            <pc:docMk/>
            <pc:sldMk cId="3526368391" sldId="1441"/>
            <ac:spMk id="379" creationId="{D4146FB0-73D7-42FE-80EF-576822C13868}"/>
          </ac:spMkLst>
        </pc:spChg>
        <pc:spChg chg="add mod ord">
          <ac:chgData name="Disselhoff, Tim" userId="3b8b5473-7050-4f60-8279-e72cc8538d43" providerId="ADAL" clId="{952E53DB-5978-46BA-964C-5B55B87B6690}" dt="2021-08-19T14:21:53.991" v="16667"/>
          <ac:spMkLst>
            <pc:docMk/>
            <pc:sldMk cId="3526368391" sldId="1441"/>
            <ac:spMk id="380" creationId="{84443424-C878-4245-90FE-BFFEF00DF74F}"/>
          </ac:spMkLst>
        </pc:spChg>
        <pc:spChg chg="mod ord">
          <ac:chgData name="Disselhoff, Tim" userId="3b8b5473-7050-4f60-8279-e72cc8538d43" providerId="ADAL" clId="{952E53DB-5978-46BA-964C-5B55B87B6690}" dt="2021-08-19T14:21:53.974" v="16615"/>
          <ac:spMkLst>
            <pc:docMk/>
            <pc:sldMk cId="3526368391" sldId="1441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9T14:21:53.974" v="16617"/>
          <ac:spMkLst>
            <pc:docMk/>
            <pc:sldMk cId="3526368391" sldId="1441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9T14:21:53.975" v="16619"/>
          <ac:spMkLst>
            <pc:docMk/>
            <pc:sldMk cId="3526368391" sldId="1441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9T14:21:53.981" v="16637"/>
          <ac:spMkLst>
            <pc:docMk/>
            <pc:sldMk cId="3526368391" sldId="1441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9T14:21:53.982" v="16639"/>
          <ac:spMkLst>
            <pc:docMk/>
            <pc:sldMk cId="3526368391" sldId="1441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9T14:21:53.983" v="16641"/>
          <ac:spMkLst>
            <pc:docMk/>
            <pc:sldMk cId="3526368391" sldId="1441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9T14:21:53.983" v="16643"/>
          <ac:spMkLst>
            <pc:docMk/>
            <pc:sldMk cId="3526368391" sldId="1441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9T14:21:53.985" v="16649"/>
          <ac:spMkLst>
            <pc:docMk/>
            <pc:sldMk cId="3526368391" sldId="1441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9T14:21:53.986" v="16651"/>
          <ac:spMkLst>
            <pc:docMk/>
            <pc:sldMk cId="3526368391" sldId="1441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9T14:21:53.984" v="16645"/>
          <ac:spMkLst>
            <pc:docMk/>
            <pc:sldMk cId="3526368391" sldId="1441"/>
            <ac:spMk id="390" creationId="{55C60B76-5103-42DC-83D7-36B18DAC247F}"/>
          </ac:spMkLst>
        </pc:spChg>
        <pc:spChg chg="mod ord">
          <ac:chgData name="Disselhoff, Tim" userId="3b8b5473-7050-4f60-8279-e72cc8538d43" providerId="ADAL" clId="{952E53DB-5978-46BA-964C-5B55B87B6690}" dt="2021-08-19T14:21:53.993" v="16673"/>
          <ac:spMkLst>
            <pc:docMk/>
            <pc:sldMk cId="3526368391" sldId="1441"/>
            <ac:spMk id="391" creationId="{E81565A6-186A-4412-9E42-5AE5F73B4AE2}"/>
          </ac:spMkLst>
        </pc:spChg>
        <pc:spChg chg="mod ord">
          <ac:chgData name="Disselhoff, Tim" userId="3b8b5473-7050-4f60-8279-e72cc8538d43" providerId="ADAL" clId="{952E53DB-5978-46BA-964C-5B55B87B6690}" dt="2021-08-19T14:21:53.979" v="16629"/>
          <ac:spMkLst>
            <pc:docMk/>
            <pc:sldMk cId="3526368391" sldId="1441"/>
            <ac:spMk id="392" creationId="{46D7C816-303C-44CE-922F-50BDB4035657}"/>
          </ac:spMkLst>
        </pc:spChg>
        <pc:spChg chg="add mod ord">
          <ac:chgData name="Disselhoff, Tim" userId="3b8b5473-7050-4f60-8279-e72cc8538d43" providerId="ADAL" clId="{952E53DB-5978-46BA-964C-5B55B87B6690}" dt="2021-08-19T14:22:11.143" v="16678" actId="20577"/>
          <ac:spMkLst>
            <pc:docMk/>
            <pc:sldMk cId="3526368391" sldId="1441"/>
            <ac:spMk id="393" creationId="{8DC8D262-523C-4881-B709-17E9F85AB713}"/>
          </ac:spMkLst>
        </pc:spChg>
        <pc:spChg chg="mod ord">
          <ac:chgData name="Disselhoff, Tim" userId="3b8b5473-7050-4f60-8279-e72cc8538d43" providerId="ADAL" clId="{952E53DB-5978-46BA-964C-5B55B87B6690}" dt="2021-08-19T14:21:53.987" v="16655"/>
          <ac:spMkLst>
            <pc:docMk/>
            <pc:sldMk cId="3526368391" sldId="1441"/>
            <ac:spMk id="394" creationId="{AE933118-328F-4F44-817D-02F486C92D5B}"/>
          </ac:spMkLst>
        </pc:spChg>
        <pc:spChg chg="mod ord">
          <ac:chgData name="Disselhoff, Tim" userId="3b8b5473-7050-4f60-8279-e72cc8538d43" providerId="ADAL" clId="{952E53DB-5978-46BA-964C-5B55B87B6690}" dt="2021-08-19T14:21:53.988" v="16657"/>
          <ac:spMkLst>
            <pc:docMk/>
            <pc:sldMk cId="3526368391" sldId="1441"/>
            <ac:spMk id="395" creationId="{B7C80E8D-2FB3-4967-8033-EA8E43D6FAC2}"/>
          </ac:spMkLst>
        </pc:spChg>
        <pc:spChg chg="mod ord">
          <ac:chgData name="Disselhoff, Tim" userId="3b8b5473-7050-4f60-8279-e72cc8538d43" providerId="ADAL" clId="{952E53DB-5978-46BA-964C-5B55B87B6690}" dt="2021-08-19T14:21:53.988" v="16659"/>
          <ac:spMkLst>
            <pc:docMk/>
            <pc:sldMk cId="3526368391" sldId="1441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4:21:53.989" v="16661"/>
          <ac:spMkLst>
            <pc:docMk/>
            <pc:sldMk cId="3526368391" sldId="1441"/>
            <ac:spMk id="397" creationId="{D319A06A-6DFE-4874-93D8-D67F460A2E63}"/>
          </ac:spMkLst>
        </pc:spChg>
        <pc:spChg chg="add mod">
          <ac:chgData name="Disselhoff, Tim" userId="3b8b5473-7050-4f60-8279-e72cc8538d43" providerId="ADAL" clId="{952E53DB-5978-46BA-964C-5B55B87B6690}" dt="2021-08-19T14:23:45.591" v="17025"/>
          <ac:spMkLst>
            <pc:docMk/>
            <pc:sldMk cId="3526368391" sldId="1441"/>
            <ac:spMk id="398" creationId="{7D5A807D-0D90-42D8-9199-CBDF428CD233}"/>
          </ac:spMkLst>
        </pc:spChg>
        <pc:spChg chg="mod ord">
          <ac:chgData name="Disselhoff, Tim" userId="3b8b5473-7050-4f60-8279-e72cc8538d43" providerId="ADAL" clId="{952E53DB-5978-46BA-964C-5B55B87B6690}" dt="2021-08-19T14:21:53.979" v="16631"/>
          <ac:spMkLst>
            <pc:docMk/>
            <pc:sldMk cId="3526368391" sldId="1441"/>
            <ac:spMk id="399" creationId="{29F8AE9E-5F8A-48B7-99FC-48283AEB4DE3}"/>
          </ac:spMkLst>
        </pc:spChg>
        <pc:spChg chg="add mod">
          <ac:chgData name="Disselhoff, Tim" userId="3b8b5473-7050-4f60-8279-e72cc8538d43" providerId="ADAL" clId="{952E53DB-5978-46BA-964C-5B55B87B6690}" dt="2021-08-19T14:23:45.591" v="17025"/>
          <ac:spMkLst>
            <pc:docMk/>
            <pc:sldMk cId="3526368391" sldId="1441"/>
            <ac:spMk id="400" creationId="{998C3A93-AD03-447D-A48C-124031785452}"/>
          </ac:spMkLst>
        </pc:spChg>
        <pc:spChg chg="mod ord">
          <ac:chgData name="Disselhoff, Tim" userId="3b8b5473-7050-4f60-8279-e72cc8538d43" providerId="ADAL" clId="{952E53DB-5978-46BA-964C-5B55B87B6690}" dt="2021-08-19T14:21:53.980" v="16633"/>
          <ac:spMkLst>
            <pc:docMk/>
            <pc:sldMk cId="3526368391" sldId="1441"/>
            <ac:spMk id="402" creationId="{D45B3FE9-1E70-4A86-BEF9-3593EB8AF8A2}"/>
          </ac:spMkLst>
        </pc:spChg>
        <pc:spChg chg="mod ord">
          <ac:chgData name="Disselhoff, Tim" userId="3b8b5473-7050-4f60-8279-e72cc8538d43" providerId="ADAL" clId="{952E53DB-5978-46BA-964C-5B55B87B6690}" dt="2021-08-19T14:21:53.981" v="16635"/>
          <ac:spMkLst>
            <pc:docMk/>
            <pc:sldMk cId="3526368391" sldId="1441"/>
            <ac:spMk id="404" creationId="{460B3AA4-CC09-446E-8C13-6BF2772144D3}"/>
          </ac:spMkLst>
        </pc:spChg>
        <pc:spChg chg="mod ord">
          <ac:chgData name="Disselhoff, Tim" userId="3b8b5473-7050-4f60-8279-e72cc8538d43" providerId="ADAL" clId="{952E53DB-5978-46BA-964C-5B55B87B6690}" dt="2021-08-19T14:21:53.992" v="16671"/>
          <ac:spMkLst>
            <pc:docMk/>
            <pc:sldMk cId="3526368391" sldId="1441"/>
            <ac:spMk id="407" creationId="{4E05ACF2-3E18-44AB-B06F-CB6B4CEC3412}"/>
          </ac:spMkLst>
        </pc:spChg>
        <pc:spChg chg="mod ord">
          <ac:chgData name="Disselhoff, Tim" userId="3b8b5473-7050-4f60-8279-e72cc8538d43" providerId="ADAL" clId="{952E53DB-5978-46BA-964C-5B55B87B6690}" dt="2021-08-19T14:21:53.984" v="16647"/>
          <ac:spMkLst>
            <pc:docMk/>
            <pc:sldMk cId="3526368391" sldId="1441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9T14:21:53.947" v="16542"/>
          <ac:grpSpMkLst>
            <pc:docMk/>
            <pc:sldMk cId="3526368391" sldId="1441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4:21:53.948" v="16544"/>
          <ac:grpSpMkLst>
            <pc:docMk/>
            <pc:sldMk cId="3526368391" sldId="1441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4:21:53.949" v="16546"/>
          <ac:grpSpMkLst>
            <pc:docMk/>
            <pc:sldMk cId="3526368391" sldId="1441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4:21:53.954" v="16554"/>
          <ac:grpSpMkLst>
            <pc:docMk/>
            <pc:sldMk cId="3526368391" sldId="1441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4:21:53.954" v="16556"/>
          <ac:grpSpMkLst>
            <pc:docMk/>
            <pc:sldMk cId="3526368391" sldId="1441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4:21:53.955" v="16558"/>
          <ac:grpSpMkLst>
            <pc:docMk/>
            <pc:sldMk cId="3526368391" sldId="1441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4:21:53.956" v="16562"/>
          <ac:grpSpMkLst>
            <pc:docMk/>
            <pc:sldMk cId="3526368391" sldId="1441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4:21:53.957" v="16564"/>
          <ac:grpSpMkLst>
            <pc:docMk/>
            <pc:sldMk cId="3526368391" sldId="1441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4:21:53.958" v="16566"/>
          <ac:grpSpMkLst>
            <pc:docMk/>
            <pc:sldMk cId="3526368391" sldId="1441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4:21:53.973" v="16613"/>
          <ac:grpSpMkLst>
            <pc:docMk/>
            <pc:sldMk cId="3526368391" sldId="1441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4:21:53.969" v="16602"/>
          <ac:grpSpMkLst>
            <pc:docMk/>
            <pc:sldMk cId="3526368391" sldId="1441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9T14:21:53.977" v="16623"/>
          <ac:grpSpMkLst>
            <pc:docMk/>
            <pc:sldMk cId="3526368391" sldId="1441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4:23:45.456" v="17024"/>
          <ac:graphicFrameMkLst>
            <pc:docMk/>
            <pc:sldMk cId="3526368391" sldId="1441"/>
            <ac:graphicFrameMk id="365" creationId="{E60950EF-D161-4F96-83E4-B88E961AACA8}"/>
          </ac:graphicFrameMkLst>
        </pc:graphicFrameChg>
        <pc:picChg chg="del mod ord">
          <ac:chgData name="Disselhoff, Tim" userId="3b8b5473-7050-4f60-8279-e72cc8538d43" providerId="ADAL" clId="{952E53DB-5978-46BA-964C-5B55B87B6690}" dt="2021-08-19T14:22:14.990" v="16679" actId="478"/>
          <ac:picMkLst>
            <pc:docMk/>
            <pc:sldMk cId="3526368391" sldId="1441"/>
            <ac:picMk id="360" creationId="{72A7EF60-49F3-4DFD-BC30-F8F54973EE34}"/>
          </ac:picMkLst>
        </pc:picChg>
        <pc:cxnChg chg="mod ord">
          <ac:chgData name="Disselhoff, Tim" userId="3b8b5473-7050-4f60-8279-e72cc8538d43" providerId="ADAL" clId="{952E53DB-5978-46BA-964C-5B55B87B6690}" dt="2021-08-19T14:21:53.959" v="16570"/>
          <ac:cxnSpMkLst>
            <pc:docMk/>
            <pc:sldMk cId="3526368391" sldId="1441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4:21:53.960" v="16572"/>
          <ac:cxnSpMkLst>
            <pc:docMk/>
            <pc:sldMk cId="3526368391" sldId="1441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4:21:53.960" v="16574"/>
          <ac:cxnSpMkLst>
            <pc:docMk/>
            <pc:sldMk cId="3526368391" sldId="1441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4:21:53.961" v="16576"/>
          <ac:cxnSpMkLst>
            <pc:docMk/>
            <pc:sldMk cId="3526368391" sldId="1441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4:21:53.962" v="16578"/>
          <ac:cxnSpMkLst>
            <pc:docMk/>
            <pc:sldMk cId="3526368391" sldId="1441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4:21:53.962" v="16580"/>
          <ac:cxnSpMkLst>
            <pc:docMk/>
            <pc:sldMk cId="3526368391" sldId="1441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4:21:53.963" v="16582"/>
          <ac:cxnSpMkLst>
            <pc:docMk/>
            <pc:sldMk cId="3526368391" sldId="1441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4:21:53.963" v="16584"/>
          <ac:cxnSpMkLst>
            <pc:docMk/>
            <pc:sldMk cId="3526368391" sldId="1441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4:21:53.964" v="16586"/>
          <ac:cxnSpMkLst>
            <pc:docMk/>
            <pc:sldMk cId="3526368391" sldId="1441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4:21:53.965" v="16588"/>
          <ac:cxnSpMkLst>
            <pc:docMk/>
            <pc:sldMk cId="3526368391" sldId="1441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4:21:53.971" v="16608"/>
          <ac:cxnSpMkLst>
            <pc:docMk/>
            <pc:sldMk cId="3526368391" sldId="1441"/>
            <ac:cxnSpMk id="43" creationId="{1AC0A2C5-4B94-40F9-88E2-D3C10215517A}"/>
          </ac:cxnSpMkLst>
        </pc:cxnChg>
      </pc:sldChg>
      <pc:sldChg chg="addSp delSp modSp add mod">
        <pc:chgData name="Disselhoff, Tim" userId="3b8b5473-7050-4f60-8279-e72cc8538d43" providerId="ADAL" clId="{952E53DB-5978-46BA-964C-5B55B87B6690}" dt="2021-08-19T14:23:31.611" v="17017"/>
        <pc:sldMkLst>
          <pc:docMk/>
          <pc:sldMk cId="481529944" sldId="1442"/>
        </pc:sldMkLst>
        <pc:spChg chg="del mod ord">
          <ac:chgData name="Disselhoff, Tim" userId="3b8b5473-7050-4f60-8279-e72cc8538d43" providerId="ADAL" clId="{952E53DB-5978-46BA-964C-5B55B87B6690}" dt="2021-08-19T14:23:30.648" v="17014" actId="478"/>
          <ac:spMkLst>
            <pc:docMk/>
            <pc:sldMk cId="481529944" sldId="1442"/>
            <ac:spMk id="2" creationId="{78D159F1-0A23-447B-BF2D-08A04305ACFA}"/>
          </ac:spMkLst>
        </pc:spChg>
        <pc:spChg chg="del mod ord">
          <ac:chgData name="Disselhoff, Tim" userId="3b8b5473-7050-4f60-8279-e72cc8538d43" providerId="ADAL" clId="{952E53DB-5978-46BA-964C-5B55B87B6690}" dt="2021-08-19T14:23:30.648" v="17014" actId="478"/>
          <ac:spMkLst>
            <pc:docMk/>
            <pc:sldMk cId="481529944" sldId="1442"/>
            <ac:spMk id="3" creationId="{2FDD4A1F-9D2E-4B37-BAC5-03B407488B8F}"/>
          </ac:spMkLst>
        </pc:spChg>
        <pc:spChg chg="mod ord">
          <ac:chgData name="Disselhoff, Tim" userId="3b8b5473-7050-4f60-8279-e72cc8538d43" providerId="ADAL" clId="{952E53DB-5978-46BA-964C-5B55B87B6690}" dt="2021-08-19T14:15:43.109" v="16000"/>
          <ac:spMkLst>
            <pc:docMk/>
            <pc:sldMk cId="481529944" sldId="1442"/>
            <ac:spMk id="4" creationId="{8719990A-B665-4CF2-BB25-7CD28F82FBCE}"/>
          </ac:spMkLst>
        </pc:spChg>
        <pc:spChg chg="mod ord">
          <ac:chgData name="Disselhoff, Tim" userId="3b8b5473-7050-4f60-8279-e72cc8538d43" providerId="ADAL" clId="{952E53DB-5978-46BA-964C-5B55B87B6690}" dt="2021-08-19T14:15:43.110" v="16002"/>
          <ac:spMkLst>
            <pc:docMk/>
            <pc:sldMk cId="481529944" sldId="1442"/>
            <ac:spMk id="5" creationId="{FFD85F28-C617-44C3-AFDF-58763606B422}"/>
          </ac:spMkLst>
        </pc:spChg>
        <pc:spChg chg="mod ord">
          <ac:chgData name="Disselhoff, Tim" userId="3b8b5473-7050-4f60-8279-e72cc8538d43" providerId="ADAL" clId="{952E53DB-5978-46BA-964C-5B55B87B6690}" dt="2021-08-19T14:15:43.110" v="16004"/>
          <ac:spMkLst>
            <pc:docMk/>
            <pc:sldMk cId="481529944" sldId="1442"/>
            <ac:spMk id="7" creationId="{1145D328-0F27-4F7A-A962-22E5F65A0985}"/>
          </ac:spMkLst>
        </pc:spChg>
        <pc:spChg chg="mod ord">
          <ac:chgData name="Disselhoff, Tim" userId="3b8b5473-7050-4f60-8279-e72cc8538d43" providerId="ADAL" clId="{952E53DB-5978-46BA-964C-5B55B87B6690}" dt="2021-08-19T14:15:43.114" v="16012"/>
          <ac:spMkLst>
            <pc:docMk/>
            <pc:sldMk cId="481529944" sldId="1442"/>
            <ac:spMk id="11" creationId="{D686AADE-66A6-4E7C-AF09-3A863BA83F00}"/>
          </ac:spMkLst>
        </pc:spChg>
        <pc:spChg chg="mod ord">
          <ac:chgData name="Disselhoff, Tim" userId="3b8b5473-7050-4f60-8279-e72cc8538d43" providerId="ADAL" clId="{952E53DB-5978-46BA-964C-5B55B87B6690}" dt="2021-08-19T14:15:43.115" v="16014"/>
          <ac:spMkLst>
            <pc:docMk/>
            <pc:sldMk cId="481529944" sldId="1442"/>
            <ac:spMk id="12" creationId="{ACBEA92A-3262-492F-9F9B-3CB34A403D6E}"/>
          </ac:spMkLst>
        </pc:spChg>
        <pc:spChg chg="mod ord">
          <ac:chgData name="Disselhoff, Tim" userId="3b8b5473-7050-4f60-8279-e72cc8538d43" providerId="ADAL" clId="{952E53DB-5978-46BA-964C-5B55B87B6690}" dt="2021-08-19T14:15:43.115" v="16016"/>
          <ac:spMkLst>
            <pc:docMk/>
            <pc:sldMk cId="481529944" sldId="1442"/>
            <ac:spMk id="13" creationId="{7A410961-94F8-4E29-B29C-A7E48CF17FB3}"/>
          </ac:spMkLst>
        </pc:spChg>
        <pc:spChg chg="mod ord">
          <ac:chgData name="Disselhoff, Tim" userId="3b8b5473-7050-4f60-8279-e72cc8538d43" providerId="ADAL" clId="{952E53DB-5978-46BA-964C-5B55B87B6690}" dt="2021-08-19T14:15:43.118" v="16024"/>
          <ac:spMkLst>
            <pc:docMk/>
            <pc:sldMk cId="481529944" sldId="1442"/>
            <ac:spMk id="17" creationId="{895CDFC1-9706-43CB-9B2F-9F9EEAE2B5AF}"/>
          </ac:spMkLst>
        </pc:spChg>
        <pc:spChg chg="mod ord">
          <ac:chgData name="Disselhoff, Tim" userId="3b8b5473-7050-4f60-8279-e72cc8538d43" providerId="ADAL" clId="{952E53DB-5978-46BA-964C-5B55B87B6690}" dt="2021-08-19T14:15:43.138" v="16076"/>
          <ac:spMkLst>
            <pc:docMk/>
            <pc:sldMk cId="481529944" sldId="1442"/>
            <ac:spMk id="22" creationId="{E0B4C474-5E86-4BB7-8B56-55F06BD89B63}"/>
          </ac:spMkLst>
        </pc:spChg>
        <pc:spChg chg="mod ord">
          <ac:chgData name="Disselhoff, Tim" userId="3b8b5473-7050-4f60-8279-e72cc8538d43" providerId="ADAL" clId="{952E53DB-5978-46BA-964C-5B55B87B6690}" dt="2021-08-19T14:15:43.122" v="16032"/>
          <ac:spMkLst>
            <pc:docMk/>
            <pc:sldMk cId="481529944" sldId="1442"/>
            <ac:spMk id="23" creationId="{408BECCE-877F-4106-8CD3-EA5A7448D33E}"/>
          </ac:spMkLst>
        </pc:spChg>
        <pc:spChg chg="mod ord">
          <ac:chgData name="Disselhoff, Tim" userId="3b8b5473-7050-4f60-8279-e72cc8538d43" providerId="ADAL" clId="{952E53DB-5978-46BA-964C-5B55B87B6690}" dt="2021-08-19T14:15:43.130" v="16054"/>
          <ac:spMkLst>
            <pc:docMk/>
            <pc:sldMk cId="481529944" sldId="1442"/>
            <ac:spMk id="34" creationId="{99709D34-AD93-49B2-8356-C74C011A224C}"/>
          </ac:spMkLst>
        </pc:spChg>
        <pc:spChg chg="mod ord">
          <ac:chgData name="Disselhoff, Tim" userId="3b8b5473-7050-4f60-8279-e72cc8538d43" providerId="ADAL" clId="{952E53DB-5978-46BA-964C-5B55B87B6690}" dt="2021-08-19T14:15:43.130" v="16056"/>
          <ac:spMkLst>
            <pc:docMk/>
            <pc:sldMk cId="481529944" sldId="1442"/>
            <ac:spMk id="35" creationId="{0CE05C00-EAF0-42F8-9758-BD26C1DE8593}"/>
          </ac:spMkLst>
        </pc:spChg>
        <pc:spChg chg="mod ord">
          <ac:chgData name="Disselhoff, Tim" userId="3b8b5473-7050-4f60-8279-e72cc8538d43" providerId="ADAL" clId="{952E53DB-5978-46BA-964C-5B55B87B6690}" dt="2021-08-19T14:15:43.132" v="16058"/>
          <ac:spMkLst>
            <pc:docMk/>
            <pc:sldMk cId="481529944" sldId="1442"/>
            <ac:spMk id="36" creationId="{DD6F869B-4C4E-490E-BCC7-3A2F961C4265}"/>
          </ac:spMkLst>
        </pc:spChg>
        <pc:spChg chg="mod ord">
          <ac:chgData name="Disselhoff, Tim" userId="3b8b5473-7050-4f60-8279-e72cc8538d43" providerId="ADAL" clId="{952E53DB-5978-46BA-964C-5B55B87B6690}" dt="2021-08-19T14:15:43.132" v="16060"/>
          <ac:spMkLst>
            <pc:docMk/>
            <pc:sldMk cId="481529944" sldId="1442"/>
            <ac:spMk id="37" creationId="{115917A3-F8B5-4C86-B38A-A646A98E9971}"/>
          </ac:spMkLst>
        </pc:spChg>
        <pc:spChg chg="mod ord">
          <ac:chgData name="Disselhoff, Tim" userId="3b8b5473-7050-4f60-8279-e72cc8538d43" providerId="ADAL" clId="{952E53DB-5978-46BA-964C-5B55B87B6690}" dt="2021-08-19T14:15:43.132" v="16062"/>
          <ac:spMkLst>
            <pc:docMk/>
            <pc:sldMk cId="481529944" sldId="1442"/>
            <ac:spMk id="38" creationId="{9944332D-638D-4574-A2AD-76ABCAD5E4C6}"/>
          </ac:spMkLst>
        </pc:spChg>
        <pc:spChg chg="mod ord">
          <ac:chgData name="Disselhoff, Tim" userId="3b8b5473-7050-4f60-8279-e72cc8538d43" providerId="ADAL" clId="{952E53DB-5978-46BA-964C-5B55B87B6690}" dt="2021-08-19T14:15:43.133" v="16064"/>
          <ac:spMkLst>
            <pc:docMk/>
            <pc:sldMk cId="481529944" sldId="1442"/>
            <ac:spMk id="39" creationId="{5CB61C07-8803-4F43-8D15-C878A5EC9B82}"/>
          </ac:spMkLst>
        </pc:spChg>
        <pc:spChg chg="mod ord">
          <ac:chgData name="Disselhoff, Tim" userId="3b8b5473-7050-4f60-8279-e72cc8538d43" providerId="ADAL" clId="{952E53DB-5978-46BA-964C-5B55B87B6690}" dt="2021-08-19T14:15:43.136" v="16068"/>
          <ac:spMkLst>
            <pc:docMk/>
            <pc:sldMk cId="481529944" sldId="1442"/>
            <ac:spMk id="41" creationId="{8D95D1C6-20B9-4408-8B83-103C8C7CF7D4}"/>
          </ac:spMkLst>
        </pc:spChg>
        <pc:spChg chg="mod ord">
          <ac:chgData name="Disselhoff, Tim" userId="3b8b5473-7050-4f60-8279-e72cc8538d43" providerId="ADAL" clId="{952E53DB-5978-46BA-964C-5B55B87B6690}" dt="2021-08-19T14:15:43.136" v="16070"/>
          <ac:spMkLst>
            <pc:docMk/>
            <pc:sldMk cId="481529944" sldId="1442"/>
            <ac:spMk id="42" creationId="{B5D8FFB3-E6A3-42FB-A328-4EF1E0D455B8}"/>
          </ac:spMkLst>
        </pc:spChg>
        <pc:spChg chg="mod ord">
          <ac:chgData name="Disselhoff, Tim" userId="3b8b5473-7050-4f60-8279-e72cc8538d43" providerId="ADAL" clId="{952E53DB-5978-46BA-964C-5B55B87B6690}" dt="2021-08-19T14:15:43.143" v="16085"/>
          <ac:spMkLst>
            <pc:docMk/>
            <pc:sldMk cId="481529944" sldId="1442"/>
            <ac:spMk id="48" creationId="{931EBFD0-CF6F-404D-BF78-39FD17EBEA3D}"/>
          </ac:spMkLst>
        </pc:spChg>
        <pc:spChg chg="mod ord">
          <ac:chgData name="Disselhoff, Tim" userId="3b8b5473-7050-4f60-8279-e72cc8538d43" providerId="ADAL" clId="{952E53DB-5978-46BA-964C-5B55B87B6690}" dt="2021-08-19T14:16:16.095" v="16137" actId="14100"/>
          <ac:spMkLst>
            <pc:docMk/>
            <pc:sldMk cId="481529944" sldId="1442"/>
            <ac:spMk id="360" creationId="{9ED45383-3706-44EC-8832-67EB23A26750}"/>
          </ac:spMkLst>
        </pc:spChg>
        <pc:spChg chg="mod ord">
          <ac:chgData name="Disselhoff, Tim" userId="3b8b5473-7050-4f60-8279-e72cc8538d43" providerId="ADAL" clId="{952E53DB-5978-46BA-964C-5B55B87B6690}" dt="2021-08-19T14:15:43.106" v="15994"/>
          <ac:spMkLst>
            <pc:docMk/>
            <pc:sldMk cId="481529944" sldId="1442"/>
            <ac:spMk id="361" creationId="{216FF5D1-F5EE-4B51-AD15-F796A02CE247}"/>
          </ac:spMkLst>
        </pc:spChg>
        <pc:spChg chg="mod ord">
          <ac:chgData name="Disselhoff, Tim" userId="3b8b5473-7050-4f60-8279-e72cc8538d43" providerId="ADAL" clId="{952E53DB-5978-46BA-964C-5B55B87B6690}" dt="2021-08-19T14:15:43.158" v="16127"/>
          <ac:spMkLst>
            <pc:docMk/>
            <pc:sldMk cId="481529944" sldId="1442"/>
            <ac:spMk id="362" creationId="{752FC1DA-4C19-4013-9DF2-81DC1022D71A}"/>
          </ac:spMkLst>
        </pc:spChg>
        <pc:spChg chg="mod ord">
          <ac:chgData name="Disselhoff, Tim" userId="3b8b5473-7050-4f60-8279-e72cc8538d43" providerId="ADAL" clId="{952E53DB-5978-46BA-964C-5B55B87B6690}" dt="2021-08-19T14:15:43.154" v="16115"/>
          <ac:spMkLst>
            <pc:docMk/>
            <pc:sldMk cId="481529944" sldId="1442"/>
            <ac:spMk id="363" creationId="{EDDD1F26-F9D8-4D9E-BA37-1B15C600929D}"/>
          </ac:spMkLst>
        </pc:spChg>
        <pc:spChg chg="mod ord">
          <ac:chgData name="Disselhoff, Tim" userId="3b8b5473-7050-4f60-8279-e72cc8538d43" providerId="ADAL" clId="{952E53DB-5978-46BA-964C-5B55B87B6690}" dt="2021-08-19T14:15:43.138" v="16074"/>
          <ac:spMkLst>
            <pc:docMk/>
            <pc:sldMk cId="481529944" sldId="1442"/>
            <ac:spMk id="364" creationId="{B83EC4C5-B661-4674-8BE6-256C108497F2}"/>
          </ac:spMkLst>
        </pc:spChg>
        <pc:spChg chg="mod ord">
          <ac:chgData name="Disselhoff, Tim" userId="3b8b5473-7050-4f60-8279-e72cc8538d43" providerId="ADAL" clId="{952E53DB-5978-46BA-964C-5B55B87B6690}" dt="2021-08-19T14:15:43.145" v="16089"/>
          <ac:spMkLst>
            <pc:docMk/>
            <pc:sldMk cId="481529944" sldId="1442"/>
            <ac:spMk id="367" creationId="{DE91575A-3185-DE4E-BF38-E185B82E0FCB}"/>
          </ac:spMkLst>
        </pc:spChg>
        <pc:spChg chg="mod ord">
          <ac:chgData name="Disselhoff, Tim" userId="3b8b5473-7050-4f60-8279-e72cc8538d43" providerId="ADAL" clId="{952E53DB-5978-46BA-964C-5B55B87B6690}" dt="2021-08-19T14:19:29.890" v="16510" actId="20577"/>
          <ac:spMkLst>
            <pc:docMk/>
            <pc:sldMk cId="481529944" sldId="1442"/>
            <ac:spMk id="379" creationId="{3ADFACBD-F20B-4E67-8A19-DB5538DECA99}"/>
          </ac:spMkLst>
        </pc:spChg>
        <pc:spChg chg="add mod ord">
          <ac:chgData name="Disselhoff, Tim" userId="3b8b5473-7050-4f60-8279-e72cc8538d43" providerId="ADAL" clId="{952E53DB-5978-46BA-964C-5B55B87B6690}" dt="2021-08-19T14:15:43.099" v="15992"/>
          <ac:spMkLst>
            <pc:docMk/>
            <pc:sldMk cId="481529944" sldId="1442"/>
            <ac:spMk id="380" creationId="{50875BCE-9BC6-494F-8F2E-6F6213098D96}"/>
          </ac:spMkLst>
        </pc:spChg>
        <pc:spChg chg="mod ord">
          <ac:chgData name="Disselhoff, Tim" userId="3b8b5473-7050-4f60-8279-e72cc8538d43" providerId="ADAL" clId="{952E53DB-5978-46BA-964C-5B55B87B6690}" dt="2021-08-19T14:15:43.141" v="16079"/>
          <ac:spMkLst>
            <pc:docMk/>
            <pc:sldMk cId="481529944" sldId="1442"/>
            <ac:spMk id="381" creationId="{7DC4EEF1-204D-402D-B785-CDBCACCEBD4F}"/>
          </ac:spMkLst>
        </pc:spChg>
        <pc:spChg chg="mod ord">
          <ac:chgData name="Disselhoff, Tim" userId="3b8b5473-7050-4f60-8279-e72cc8538d43" providerId="ADAL" clId="{952E53DB-5978-46BA-964C-5B55B87B6690}" dt="2021-08-19T14:15:43.142" v="16081"/>
          <ac:spMkLst>
            <pc:docMk/>
            <pc:sldMk cId="481529944" sldId="1442"/>
            <ac:spMk id="382" creationId="{38FFCDA8-F48A-49EF-AAFE-AE084AE6FAC1}"/>
          </ac:spMkLst>
        </pc:spChg>
        <pc:spChg chg="mod ord">
          <ac:chgData name="Disselhoff, Tim" userId="3b8b5473-7050-4f60-8279-e72cc8538d43" providerId="ADAL" clId="{952E53DB-5978-46BA-964C-5B55B87B6690}" dt="2021-08-19T14:15:43.142" v="16083"/>
          <ac:spMkLst>
            <pc:docMk/>
            <pc:sldMk cId="481529944" sldId="1442"/>
            <ac:spMk id="383" creationId="{BA485D0D-A8E6-4FE5-9546-4DB3BC0BECB3}"/>
          </ac:spMkLst>
        </pc:spChg>
        <pc:spChg chg="mod ord">
          <ac:chgData name="Disselhoff, Tim" userId="3b8b5473-7050-4f60-8279-e72cc8538d43" providerId="ADAL" clId="{952E53DB-5978-46BA-964C-5B55B87B6690}" dt="2021-08-19T14:15:43.149" v="16099"/>
          <ac:spMkLst>
            <pc:docMk/>
            <pc:sldMk cId="481529944" sldId="1442"/>
            <ac:spMk id="384" creationId="{9E62869D-6BAD-49C5-AB9B-3898E1044009}"/>
          </ac:spMkLst>
        </pc:spChg>
        <pc:spChg chg="mod ord">
          <ac:chgData name="Disselhoff, Tim" userId="3b8b5473-7050-4f60-8279-e72cc8538d43" providerId="ADAL" clId="{952E53DB-5978-46BA-964C-5B55B87B6690}" dt="2021-08-19T14:15:43.149" v="16101"/>
          <ac:spMkLst>
            <pc:docMk/>
            <pc:sldMk cId="481529944" sldId="1442"/>
            <ac:spMk id="385" creationId="{2FEF2853-BD2C-4F66-A827-9F3A70E17A21}"/>
          </ac:spMkLst>
        </pc:spChg>
        <pc:spChg chg="mod ord">
          <ac:chgData name="Disselhoff, Tim" userId="3b8b5473-7050-4f60-8279-e72cc8538d43" providerId="ADAL" clId="{952E53DB-5978-46BA-964C-5B55B87B6690}" dt="2021-08-19T14:15:43.149" v="16103"/>
          <ac:spMkLst>
            <pc:docMk/>
            <pc:sldMk cId="481529944" sldId="1442"/>
            <ac:spMk id="386" creationId="{FD3000A9-52BB-4F24-A2F7-DF30C8763CCB}"/>
          </ac:spMkLst>
        </pc:spChg>
        <pc:spChg chg="mod ord">
          <ac:chgData name="Disselhoff, Tim" userId="3b8b5473-7050-4f60-8279-e72cc8538d43" providerId="ADAL" clId="{952E53DB-5978-46BA-964C-5B55B87B6690}" dt="2021-08-19T14:15:43.151" v="16105"/>
          <ac:spMkLst>
            <pc:docMk/>
            <pc:sldMk cId="481529944" sldId="1442"/>
            <ac:spMk id="387" creationId="{F22FFF5C-8571-4CFD-81A4-7B18B2AC66AB}"/>
          </ac:spMkLst>
        </pc:spChg>
        <pc:spChg chg="mod ord">
          <ac:chgData name="Disselhoff, Tim" userId="3b8b5473-7050-4f60-8279-e72cc8538d43" providerId="ADAL" clId="{952E53DB-5978-46BA-964C-5B55B87B6690}" dt="2021-08-19T14:15:43.152" v="16111"/>
          <ac:spMkLst>
            <pc:docMk/>
            <pc:sldMk cId="481529944" sldId="1442"/>
            <ac:spMk id="388" creationId="{0A83D9C8-6D23-41C8-812A-6D6664EBA787}"/>
          </ac:spMkLst>
        </pc:spChg>
        <pc:spChg chg="mod ord">
          <ac:chgData name="Disselhoff, Tim" userId="3b8b5473-7050-4f60-8279-e72cc8538d43" providerId="ADAL" clId="{952E53DB-5978-46BA-964C-5B55B87B6690}" dt="2021-08-19T14:15:43.154" v="16113"/>
          <ac:spMkLst>
            <pc:docMk/>
            <pc:sldMk cId="481529944" sldId="1442"/>
            <ac:spMk id="389" creationId="{2B44649A-B4E0-4013-A2D8-ADEE9FC2D0A6}"/>
          </ac:spMkLst>
        </pc:spChg>
        <pc:spChg chg="mod ord">
          <ac:chgData name="Disselhoff, Tim" userId="3b8b5473-7050-4f60-8279-e72cc8538d43" providerId="ADAL" clId="{952E53DB-5978-46BA-964C-5B55B87B6690}" dt="2021-08-19T14:15:43.151" v="16107"/>
          <ac:spMkLst>
            <pc:docMk/>
            <pc:sldMk cId="481529944" sldId="1442"/>
            <ac:spMk id="390" creationId="{55C60B76-5103-42DC-83D7-36B18DAC247F}"/>
          </ac:spMkLst>
        </pc:spChg>
        <pc:spChg chg="add mod">
          <ac:chgData name="Disselhoff, Tim" userId="3b8b5473-7050-4f60-8279-e72cc8538d43" providerId="ADAL" clId="{952E53DB-5978-46BA-964C-5B55B87B6690}" dt="2021-08-19T14:23:31.611" v="17017"/>
          <ac:spMkLst>
            <pc:docMk/>
            <pc:sldMk cId="481529944" sldId="1442"/>
            <ac:spMk id="391" creationId="{7ACFAFD1-E1BB-45CE-B05E-3A1B37D13406}"/>
          </ac:spMkLst>
        </pc:spChg>
        <pc:spChg chg="mod ord">
          <ac:chgData name="Disselhoff, Tim" userId="3b8b5473-7050-4f60-8279-e72cc8538d43" providerId="ADAL" clId="{952E53DB-5978-46BA-964C-5B55B87B6690}" dt="2021-08-19T14:15:43.146" v="16091"/>
          <ac:spMkLst>
            <pc:docMk/>
            <pc:sldMk cId="481529944" sldId="1442"/>
            <ac:spMk id="392" creationId="{46D7C816-303C-44CE-922F-50BDB4035657}"/>
          </ac:spMkLst>
        </pc:spChg>
        <pc:spChg chg="add mod">
          <ac:chgData name="Disselhoff, Tim" userId="3b8b5473-7050-4f60-8279-e72cc8538d43" providerId="ADAL" clId="{952E53DB-5978-46BA-964C-5B55B87B6690}" dt="2021-08-19T14:23:31.611" v="17017"/>
          <ac:spMkLst>
            <pc:docMk/>
            <pc:sldMk cId="481529944" sldId="1442"/>
            <ac:spMk id="393" creationId="{5F3B1829-B1F2-458E-B1B1-B555AB9B9C8D}"/>
          </ac:spMkLst>
        </pc:spChg>
        <pc:spChg chg="mod ord">
          <ac:chgData name="Disselhoff, Tim" userId="3b8b5473-7050-4f60-8279-e72cc8538d43" providerId="ADAL" clId="{952E53DB-5978-46BA-964C-5B55B87B6690}" dt="2021-08-19T14:15:43.160" v="16129"/>
          <ac:spMkLst>
            <pc:docMk/>
            <pc:sldMk cId="481529944" sldId="1442"/>
            <ac:spMk id="394" creationId="{AE933118-328F-4F44-817D-02F486C92D5B}"/>
          </ac:spMkLst>
        </pc:spChg>
        <pc:spChg chg="mod ord">
          <ac:chgData name="Disselhoff, Tim" userId="3b8b5473-7050-4f60-8279-e72cc8538d43" providerId="ADAL" clId="{952E53DB-5978-46BA-964C-5B55B87B6690}" dt="2021-08-19T14:15:43.154" v="16117"/>
          <ac:spMkLst>
            <pc:docMk/>
            <pc:sldMk cId="481529944" sldId="1442"/>
            <ac:spMk id="395" creationId="{B7C80E8D-2FB3-4967-8033-EA8E43D6FAC2}"/>
          </ac:spMkLst>
        </pc:spChg>
        <pc:spChg chg="mod ord">
          <ac:chgData name="Disselhoff, Tim" userId="3b8b5473-7050-4f60-8279-e72cc8538d43" providerId="ADAL" clId="{952E53DB-5978-46BA-964C-5B55B87B6690}" dt="2021-08-19T14:15:43.156" v="16119"/>
          <ac:spMkLst>
            <pc:docMk/>
            <pc:sldMk cId="481529944" sldId="1442"/>
            <ac:spMk id="396" creationId="{D717D091-6865-4C22-8723-5F43538442B3}"/>
          </ac:spMkLst>
        </pc:spChg>
        <pc:spChg chg="mod ord">
          <ac:chgData name="Disselhoff, Tim" userId="3b8b5473-7050-4f60-8279-e72cc8538d43" providerId="ADAL" clId="{952E53DB-5978-46BA-964C-5B55B87B6690}" dt="2021-08-19T14:15:43.156" v="16121"/>
          <ac:spMkLst>
            <pc:docMk/>
            <pc:sldMk cId="481529944" sldId="1442"/>
            <ac:spMk id="397" creationId="{D319A06A-6DFE-4874-93D8-D67F460A2E63}"/>
          </ac:spMkLst>
        </pc:spChg>
        <pc:spChg chg="mod ord">
          <ac:chgData name="Disselhoff, Tim" userId="3b8b5473-7050-4f60-8279-e72cc8538d43" providerId="ADAL" clId="{952E53DB-5978-46BA-964C-5B55B87B6690}" dt="2021-08-19T14:15:43.146" v="16093"/>
          <ac:spMkLst>
            <pc:docMk/>
            <pc:sldMk cId="481529944" sldId="1442"/>
            <ac:spMk id="399" creationId="{29F8AE9E-5F8A-48B7-99FC-48283AEB4DE3}"/>
          </ac:spMkLst>
        </pc:spChg>
        <pc:spChg chg="mod ord">
          <ac:chgData name="Disselhoff, Tim" userId="3b8b5473-7050-4f60-8279-e72cc8538d43" providerId="ADAL" clId="{952E53DB-5978-46BA-964C-5B55B87B6690}" dt="2021-08-19T14:15:43.146" v="16095"/>
          <ac:spMkLst>
            <pc:docMk/>
            <pc:sldMk cId="481529944" sldId="1442"/>
            <ac:spMk id="402" creationId="{D45B3FE9-1E70-4A86-BEF9-3593EB8AF8A2}"/>
          </ac:spMkLst>
        </pc:spChg>
        <pc:spChg chg="mod ord">
          <ac:chgData name="Disselhoff, Tim" userId="3b8b5473-7050-4f60-8279-e72cc8538d43" providerId="ADAL" clId="{952E53DB-5978-46BA-964C-5B55B87B6690}" dt="2021-08-19T14:15:43.148" v="16097"/>
          <ac:spMkLst>
            <pc:docMk/>
            <pc:sldMk cId="481529944" sldId="1442"/>
            <ac:spMk id="404" creationId="{460B3AA4-CC09-446E-8C13-6BF2772144D3}"/>
          </ac:spMkLst>
        </pc:spChg>
        <pc:spChg chg="mod ord">
          <ac:chgData name="Disselhoff, Tim" userId="3b8b5473-7050-4f60-8279-e72cc8538d43" providerId="ADAL" clId="{952E53DB-5978-46BA-964C-5B55B87B6690}" dt="2021-08-19T14:15:43.151" v="16109"/>
          <ac:spMkLst>
            <pc:docMk/>
            <pc:sldMk cId="481529944" sldId="1442"/>
            <ac:spMk id="412" creationId="{58AD9DD5-9FF5-49B7-910B-EC9F75F19A6F}"/>
          </ac:spMkLst>
        </pc:spChg>
        <pc:grpChg chg="mod ord">
          <ac:chgData name="Disselhoff, Tim" userId="3b8b5473-7050-4f60-8279-e72cc8538d43" providerId="ADAL" clId="{952E53DB-5978-46BA-964C-5B55B87B6690}" dt="2021-08-19T14:15:43.110" v="16006"/>
          <ac:grpSpMkLst>
            <pc:docMk/>
            <pc:sldMk cId="481529944" sldId="1442"/>
            <ac:grpSpMk id="8" creationId="{51CB5670-EE3A-400D-AE59-99DA547646D2}"/>
          </ac:grpSpMkLst>
        </pc:grpChg>
        <pc:grpChg chg="mod ord">
          <ac:chgData name="Disselhoff, Tim" userId="3b8b5473-7050-4f60-8279-e72cc8538d43" providerId="ADAL" clId="{952E53DB-5978-46BA-964C-5B55B87B6690}" dt="2021-08-19T14:15:43.112" v="16008"/>
          <ac:grpSpMkLst>
            <pc:docMk/>
            <pc:sldMk cId="481529944" sldId="1442"/>
            <ac:grpSpMk id="9" creationId="{76BC0828-D448-4861-9806-96BBF27B3EE1}"/>
          </ac:grpSpMkLst>
        </pc:grpChg>
        <pc:grpChg chg="mod ord">
          <ac:chgData name="Disselhoff, Tim" userId="3b8b5473-7050-4f60-8279-e72cc8538d43" providerId="ADAL" clId="{952E53DB-5978-46BA-964C-5B55B87B6690}" dt="2021-08-19T14:15:43.113" v="16010"/>
          <ac:grpSpMkLst>
            <pc:docMk/>
            <pc:sldMk cId="481529944" sldId="1442"/>
            <ac:grpSpMk id="10" creationId="{D99F2DDE-F08B-4EB4-9B85-516A652FDCA6}"/>
          </ac:grpSpMkLst>
        </pc:grpChg>
        <pc:grpChg chg="mod ord">
          <ac:chgData name="Disselhoff, Tim" userId="3b8b5473-7050-4f60-8279-e72cc8538d43" providerId="ADAL" clId="{952E53DB-5978-46BA-964C-5B55B87B6690}" dt="2021-08-19T14:15:43.116" v="16018"/>
          <ac:grpSpMkLst>
            <pc:docMk/>
            <pc:sldMk cId="481529944" sldId="1442"/>
            <ac:grpSpMk id="14" creationId="{A43E4F5B-F11C-4A94-BE41-F00D5C23AEEE}"/>
          </ac:grpSpMkLst>
        </pc:grpChg>
        <pc:grpChg chg="mod ord">
          <ac:chgData name="Disselhoff, Tim" userId="3b8b5473-7050-4f60-8279-e72cc8538d43" providerId="ADAL" clId="{952E53DB-5978-46BA-964C-5B55B87B6690}" dt="2021-08-19T14:15:43.117" v="16020"/>
          <ac:grpSpMkLst>
            <pc:docMk/>
            <pc:sldMk cId="481529944" sldId="1442"/>
            <ac:grpSpMk id="15" creationId="{05478884-160C-419B-81A0-3951B4EA9DDF}"/>
          </ac:grpSpMkLst>
        </pc:grpChg>
        <pc:grpChg chg="mod ord">
          <ac:chgData name="Disselhoff, Tim" userId="3b8b5473-7050-4f60-8279-e72cc8538d43" providerId="ADAL" clId="{952E53DB-5978-46BA-964C-5B55B87B6690}" dt="2021-08-19T14:15:43.118" v="16022"/>
          <ac:grpSpMkLst>
            <pc:docMk/>
            <pc:sldMk cId="481529944" sldId="1442"/>
            <ac:grpSpMk id="16" creationId="{6569C144-B3E9-4C9F-9F9F-B30EEFF1135E}"/>
          </ac:grpSpMkLst>
        </pc:grpChg>
        <pc:grpChg chg="mod ord">
          <ac:chgData name="Disselhoff, Tim" userId="3b8b5473-7050-4f60-8279-e72cc8538d43" providerId="ADAL" clId="{952E53DB-5978-46BA-964C-5B55B87B6690}" dt="2021-08-19T14:15:43.118" v="16026"/>
          <ac:grpSpMkLst>
            <pc:docMk/>
            <pc:sldMk cId="481529944" sldId="1442"/>
            <ac:grpSpMk id="18" creationId="{D8D52534-E35E-4FE0-AF92-A6B5BD701188}"/>
          </ac:grpSpMkLst>
        </pc:grpChg>
        <pc:grpChg chg="mod ord">
          <ac:chgData name="Disselhoff, Tim" userId="3b8b5473-7050-4f60-8279-e72cc8538d43" providerId="ADAL" clId="{952E53DB-5978-46BA-964C-5B55B87B6690}" dt="2021-08-19T14:15:43.120" v="16028"/>
          <ac:grpSpMkLst>
            <pc:docMk/>
            <pc:sldMk cId="481529944" sldId="1442"/>
            <ac:grpSpMk id="19" creationId="{D4B3B856-3CB8-4EB4-A23F-750A185E3A28}"/>
          </ac:grpSpMkLst>
        </pc:grpChg>
        <pc:grpChg chg="mod ord">
          <ac:chgData name="Disselhoff, Tim" userId="3b8b5473-7050-4f60-8279-e72cc8538d43" providerId="ADAL" clId="{952E53DB-5978-46BA-964C-5B55B87B6690}" dt="2021-08-19T14:15:43.121" v="16030"/>
          <ac:grpSpMkLst>
            <pc:docMk/>
            <pc:sldMk cId="481529944" sldId="1442"/>
            <ac:grpSpMk id="20" creationId="{7DC786ED-E2F8-49AF-9F23-4F3C5463B66F}"/>
          </ac:grpSpMkLst>
        </pc:grpChg>
        <pc:grpChg chg="mod">
          <ac:chgData name="Disselhoff, Tim" userId="3b8b5473-7050-4f60-8279-e72cc8538d43" providerId="ADAL" clId="{952E53DB-5978-46BA-964C-5B55B87B6690}" dt="2021-08-19T14:15:43.140" v="16077"/>
          <ac:grpSpMkLst>
            <pc:docMk/>
            <pc:sldMk cId="481529944" sldId="1442"/>
            <ac:grpSpMk id="21" creationId="{47C52FC8-F5D0-44A7-BB42-9F77AD4FF51D}"/>
          </ac:grpSpMkLst>
        </pc:grpChg>
        <pc:grpChg chg="mod ord">
          <ac:chgData name="Disselhoff, Tim" userId="3b8b5473-7050-4f60-8279-e72cc8538d43" providerId="ADAL" clId="{952E53DB-5978-46BA-964C-5B55B87B6690}" dt="2021-08-19T14:15:43.135" v="16066"/>
          <ac:grpSpMkLst>
            <pc:docMk/>
            <pc:sldMk cId="481529944" sldId="1442"/>
            <ac:grpSpMk id="40" creationId="{37AB0EBD-FC68-47BC-BCDE-00708884834E}"/>
          </ac:grpSpMkLst>
        </pc:grpChg>
        <pc:grpChg chg="mod ord">
          <ac:chgData name="Disselhoff, Tim" userId="3b8b5473-7050-4f60-8279-e72cc8538d43" providerId="ADAL" clId="{952E53DB-5978-46BA-964C-5B55B87B6690}" dt="2021-08-19T14:15:43.143" v="16087"/>
          <ac:grpSpMkLst>
            <pc:docMk/>
            <pc:sldMk cId="481529944" sldId="1442"/>
            <ac:grpSpMk id="366" creationId="{ADD1861F-955A-47C0-A199-B30FAF33822F}"/>
          </ac:grpSpMkLst>
        </pc:grpChg>
        <pc:graphicFrameChg chg="mod">
          <ac:chgData name="Disselhoff, Tim" userId="3b8b5473-7050-4f60-8279-e72cc8538d43" providerId="ADAL" clId="{952E53DB-5978-46BA-964C-5B55B87B6690}" dt="2021-08-19T14:23:31.240" v="17016"/>
          <ac:graphicFrameMkLst>
            <pc:docMk/>
            <pc:sldMk cId="481529944" sldId="1442"/>
            <ac:graphicFrameMk id="365" creationId="{E60950EF-D161-4F96-83E4-B88E961AACA8}"/>
          </ac:graphicFrameMkLst>
        </pc:graphicFrameChg>
        <pc:cxnChg chg="mod ord">
          <ac:chgData name="Disselhoff, Tim" userId="3b8b5473-7050-4f60-8279-e72cc8538d43" providerId="ADAL" clId="{952E53DB-5978-46BA-964C-5B55B87B6690}" dt="2021-08-19T14:15:43.122" v="16034"/>
          <ac:cxnSpMkLst>
            <pc:docMk/>
            <pc:sldMk cId="481529944" sldId="1442"/>
            <ac:cxnSpMk id="24" creationId="{419302A9-1EAB-44D0-9A8C-B8BA254A1FF4}"/>
          </ac:cxnSpMkLst>
        </pc:cxnChg>
        <pc:cxnChg chg="mod ord">
          <ac:chgData name="Disselhoff, Tim" userId="3b8b5473-7050-4f60-8279-e72cc8538d43" providerId="ADAL" clId="{952E53DB-5978-46BA-964C-5B55B87B6690}" dt="2021-08-19T14:15:43.124" v="16036"/>
          <ac:cxnSpMkLst>
            <pc:docMk/>
            <pc:sldMk cId="481529944" sldId="1442"/>
            <ac:cxnSpMk id="25" creationId="{C5D31BB3-E7D4-49B3-AEA7-B234B176C68E}"/>
          </ac:cxnSpMkLst>
        </pc:cxnChg>
        <pc:cxnChg chg="mod ord">
          <ac:chgData name="Disselhoff, Tim" userId="3b8b5473-7050-4f60-8279-e72cc8538d43" providerId="ADAL" clId="{952E53DB-5978-46BA-964C-5B55B87B6690}" dt="2021-08-19T14:15:43.124" v="16038"/>
          <ac:cxnSpMkLst>
            <pc:docMk/>
            <pc:sldMk cId="481529944" sldId="1442"/>
            <ac:cxnSpMk id="26" creationId="{C0A3CEBE-1BE0-470F-92DB-31D74BC42461}"/>
          </ac:cxnSpMkLst>
        </pc:cxnChg>
        <pc:cxnChg chg="mod ord">
          <ac:chgData name="Disselhoff, Tim" userId="3b8b5473-7050-4f60-8279-e72cc8538d43" providerId="ADAL" clId="{952E53DB-5978-46BA-964C-5B55B87B6690}" dt="2021-08-19T14:15:43.125" v="16040"/>
          <ac:cxnSpMkLst>
            <pc:docMk/>
            <pc:sldMk cId="481529944" sldId="1442"/>
            <ac:cxnSpMk id="27" creationId="{22B18F9A-52CA-4DBD-ADFF-862B4FECC0FC}"/>
          </ac:cxnSpMkLst>
        </pc:cxnChg>
        <pc:cxnChg chg="mod ord">
          <ac:chgData name="Disselhoff, Tim" userId="3b8b5473-7050-4f60-8279-e72cc8538d43" providerId="ADAL" clId="{952E53DB-5978-46BA-964C-5B55B87B6690}" dt="2021-08-19T14:15:43.126" v="16042"/>
          <ac:cxnSpMkLst>
            <pc:docMk/>
            <pc:sldMk cId="481529944" sldId="1442"/>
            <ac:cxnSpMk id="28" creationId="{E5D3A9AF-B414-41F3-98B9-3F23CF1707B9}"/>
          </ac:cxnSpMkLst>
        </pc:cxnChg>
        <pc:cxnChg chg="mod ord">
          <ac:chgData name="Disselhoff, Tim" userId="3b8b5473-7050-4f60-8279-e72cc8538d43" providerId="ADAL" clId="{952E53DB-5978-46BA-964C-5B55B87B6690}" dt="2021-08-19T14:15:43.127" v="16044"/>
          <ac:cxnSpMkLst>
            <pc:docMk/>
            <pc:sldMk cId="481529944" sldId="1442"/>
            <ac:cxnSpMk id="29" creationId="{33F943F0-AF0A-4E4A-B68C-C6D31D1ECCD4}"/>
          </ac:cxnSpMkLst>
        </pc:cxnChg>
        <pc:cxnChg chg="mod ord">
          <ac:chgData name="Disselhoff, Tim" userId="3b8b5473-7050-4f60-8279-e72cc8538d43" providerId="ADAL" clId="{952E53DB-5978-46BA-964C-5B55B87B6690}" dt="2021-08-19T14:15:43.128" v="16046"/>
          <ac:cxnSpMkLst>
            <pc:docMk/>
            <pc:sldMk cId="481529944" sldId="1442"/>
            <ac:cxnSpMk id="30" creationId="{DB2E3063-4C91-4F5A-AFC8-DF9C6DCB02FE}"/>
          </ac:cxnSpMkLst>
        </pc:cxnChg>
        <pc:cxnChg chg="mod ord">
          <ac:chgData name="Disselhoff, Tim" userId="3b8b5473-7050-4f60-8279-e72cc8538d43" providerId="ADAL" clId="{952E53DB-5978-46BA-964C-5B55B87B6690}" dt="2021-08-19T14:15:43.128" v="16048"/>
          <ac:cxnSpMkLst>
            <pc:docMk/>
            <pc:sldMk cId="481529944" sldId="1442"/>
            <ac:cxnSpMk id="31" creationId="{C72C8E0F-29A8-4DB5-A5DE-011EB8D3185E}"/>
          </ac:cxnSpMkLst>
        </pc:cxnChg>
        <pc:cxnChg chg="mod ord">
          <ac:chgData name="Disselhoff, Tim" userId="3b8b5473-7050-4f60-8279-e72cc8538d43" providerId="ADAL" clId="{952E53DB-5978-46BA-964C-5B55B87B6690}" dt="2021-08-19T14:15:43.129" v="16050"/>
          <ac:cxnSpMkLst>
            <pc:docMk/>
            <pc:sldMk cId="481529944" sldId="1442"/>
            <ac:cxnSpMk id="32" creationId="{5945F2F8-D599-4F60-A753-DAE1AB0C06C8}"/>
          </ac:cxnSpMkLst>
        </pc:cxnChg>
        <pc:cxnChg chg="mod ord">
          <ac:chgData name="Disselhoff, Tim" userId="3b8b5473-7050-4f60-8279-e72cc8538d43" providerId="ADAL" clId="{952E53DB-5978-46BA-964C-5B55B87B6690}" dt="2021-08-19T14:15:43.130" v="16052"/>
          <ac:cxnSpMkLst>
            <pc:docMk/>
            <pc:sldMk cId="481529944" sldId="1442"/>
            <ac:cxnSpMk id="33" creationId="{21C550AD-1E26-4E15-9D9D-DB64E5CDB215}"/>
          </ac:cxnSpMkLst>
        </pc:cxnChg>
        <pc:cxnChg chg="mod ord">
          <ac:chgData name="Disselhoff, Tim" userId="3b8b5473-7050-4f60-8279-e72cc8538d43" providerId="ADAL" clId="{952E53DB-5978-46BA-964C-5B55B87B6690}" dt="2021-08-19T14:15:43.136" v="16072"/>
          <ac:cxnSpMkLst>
            <pc:docMk/>
            <pc:sldMk cId="481529944" sldId="1442"/>
            <ac:cxnSpMk id="43" creationId="{1AC0A2C5-4B94-40F9-88E2-D3C10215517A}"/>
          </ac:cxnSpMkLst>
        </pc:cxnChg>
      </pc:sldChg>
      <pc:sldChg chg="addSp delSp modSp add del mod modAnim addCm modCm">
        <pc:chgData name="Disselhoff, Tim" userId="3b8b5473-7050-4f60-8279-e72cc8538d43" providerId="ADAL" clId="{952E53DB-5978-46BA-964C-5B55B87B6690}" dt="2021-08-20T09:15:39.728" v="20049" actId="47"/>
        <pc:sldMkLst>
          <pc:docMk/>
          <pc:sldMk cId="1589697303" sldId="1443"/>
        </pc:sldMkLst>
        <pc:spChg chg="mod ord">
          <ac:chgData name="Disselhoff, Tim" userId="3b8b5473-7050-4f60-8279-e72cc8538d43" providerId="ADAL" clId="{952E53DB-5978-46BA-964C-5B55B87B6690}" dt="2021-08-20T09:09:35.741" v="19979"/>
          <ac:spMkLst>
            <pc:docMk/>
            <pc:sldMk cId="1589697303" sldId="1443"/>
            <ac:spMk id="3" creationId="{511DE42B-0EE9-44F0-9AE0-B7DA38CF962E}"/>
          </ac:spMkLst>
        </pc:spChg>
        <pc:spChg chg="mod ord">
          <ac:chgData name="Disselhoff, Tim" userId="3b8b5473-7050-4f60-8279-e72cc8538d43" providerId="ADAL" clId="{952E53DB-5978-46BA-964C-5B55B87B6690}" dt="2021-08-20T09:09:35.755" v="20027"/>
          <ac:spMkLst>
            <pc:docMk/>
            <pc:sldMk cId="1589697303" sldId="1443"/>
            <ac:spMk id="5" creationId="{6EF7A1C2-8B50-4483-AA85-E524268CCBB0}"/>
          </ac:spMkLst>
        </pc:spChg>
        <pc:spChg chg="mod ord">
          <ac:chgData name="Disselhoff, Tim" userId="3b8b5473-7050-4f60-8279-e72cc8538d43" providerId="ADAL" clId="{952E53DB-5978-46BA-964C-5B55B87B6690}" dt="2021-08-20T09:09:35.742" v="19985"/>
          <ac:spMkLst>
            <pc:docMk/>
            <pc:sldMk cId="1589697303" sldId="1443"/>
            <ac:spMk id="7" creationId="{00000000-0000-0000-0000-000000000000}"/>
          </ac:spMkLst>
        </pc:spChg>
        <pc:spChg chg="add del mod modVis">
          <ac:chgData name="Disselhoff, Tim" userId="3b8b5473-7050-4f60-8279-e72cc8538d43" providerId="ADAL" clId="{952E53DB-5978-46BA-964C-5B55B87B6690}" dt="2021-08-20T09:09:35.757" v="20030"/>
          <ac:spMkLst>
            <pc:docMk/>
            <pc:sldMk cId="1589697303" sldId="1443"/>
            <ac:spMk id="9" creationId="{E56713AF-4193-4C06-B591-7BD3E96DC62E}"/>
          </ac:spMkLst>
        </pc:spChg>
        <pc:spChg chg="mod ord">
          <ac:chgData name="Disselhoff, Tim" userId="3b8b5473-7050-4f60-8279-e72cc8538d43" providerId="ADAL" clId="{952E53DB-5978-46BA-964C-5B55B87B6690}" dt="2021-08-20T09:09:35.750" v="20013"/>
          <ac:spMkLst>
            <pc:docMk/>
            <pc:sldMk cId="1589697303" sldId="1443"/>
            <ac:spMk id="87" creationId="{3C57EA3E-85CE-4D5E-A634-A5972252D8CF}"/>
          </ac:spMkLst>
        </pc:spChg>
        <pc:spChg chg="mod ord">
          <ac:chgData name="Disselhoff, Tim" userId="3b8b5473-7050-4f60-8279-e72cc8538d43" providerId="ADAL" clId="{952E53DB-5978-46BA-964C-5B55B87B6690}" dt="2021-08-20T09:09:35.751" v="20017"/>
          <ac:spMkLst>
            <pc:docMk/>
            <pc:sldMk cId="1589697303" sldId="1443"/>
            <ac:spMk id="89" creationId="{D6AE5CCB-8313-432D-A342-41DD081CB5C9}"/>
          </ac:spMkLst>
        </pc:spChg>
        <pc:spChg chg="mod ord">
          <ac:chgData name="Disselhoff, Tim" userId="3b8b5473-7050-4f60-8279-e72cc8538d43" providerId="ADAL" clId="{952E53DB-5978-46BA-964C-5B55B87B6690}" dt="2021-08-20T09:09:35.752" v="20019"/>
          <ac:spMkLst>
            <pc:docMk/>
            <pc:sldMk cId="1589697303" sldId="1443"/>
            <ac:spMk id="90" creationId="{5528DDFD-7443-4D6F-8EA5-F06D17B686C9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123" creationId="{DA1FD08E-1B8F-4D25-96F9-987E35946207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124" creationId="{D21FA75F-E9AC-4F20-83E0-A8AE4E36331F}"/>
          </ac:spMkLst>
        </pc:spChg>
        <pc:spChg chg="mod ord">
          <ac:chgData name="Disselhoff, Tim" userId="3b8b5473-7050-4f60-8279-e72cc8538d43" providerId="ADAL" clId="{952E53DB-5978-46BA-964C-5B55B87B6690}" dt="2021-08-20T09:09:35.742" v="19981"/>
          <ac:spMkLst>
            <pc:docMk/>
            <pc:sldMk cId="1589697303" sldId="1443"/>
            <ac:spMk id="138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2" v="19983"/>
          <ac:spMkLst>
            <pc:docMk/>
            <pc:sldMk cId="1589697303" sldId="1443"/>
            <ac:spMk id="139" creationId="{DE91575A-3185-DE4E-BF38-E185B82E0FCB}"/>
          </ac:spMkLst>
        </pc:spChg>
        <pc:spChg chg="mod ord">
          <ac:chgData name="Disselhoff, Tim" userId="3b8b5473-7050-4f60-8279-e72cc8538d43" providerId="ADAL" clId="{952E53DB-5978-46BA-964C-5B55B87B6690}" dt="2021-08-20T09:09:35.744" v="19991"/>
          <ac:spMkLst>
            <pc:docMk/>
            <pc:sldMk cId="1589697303" sldId="1443"/>
            <ac:spMk id="142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4" v="19993"/>
          <ac:spMkLst>
            <pc:docMk/>
            <pc:sldMk cId="1589697303" sldId="1443"/>
            <ac:spMk id="143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5" v="19997"/>
          <ac:spMkLst>
            <pc:docMk/>
            <pc:sldMk cId="1589697303" sldId="1443"/>
            <ac:spMk id="147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6" v="19999"/>
          <ac:spMkLst>
            <pc:docMk/>
            <pc:sldMk cId="1589697303" sldId="1443"/>
            <ac:spMk id="148" creationId="{00000000-0000-0000-0000-000000000000}"/>
          </ac:spMkLst>
        </pc:spChg>
        <pc:spChg chg="del">
          <ac:chgData name="Disselhoff, Tim" userId="3b8b5473-7050-4f60-8279-e72cc8538d43" providerId="ADAL" clId="{952E53DB-5978-46BA-964C-5B55B87B6690}" dt="2021-08-19T16:53:23.549" v="19812" actId="478"/>
          <ac:spMkLst>
            <pc:docMk/>
            <pc:sldMk cId="1589697303" sldId="1443"/>
            <ac:spMk id="155" creationId="{89C725CE-FBD9-44ED-96FB-B2FD628F2D75}"/>
          </ac:spMkLst>
        </pc:spChg>
        <pc:spChg chg="add mod">
          <ac:chgData name="Disselhoff, Tim" userId="3b8b5473-7050-4f60-8279-e72cc8538d43" providerId="ADAL" clId="{952E53DB-5978-46BA-964C-5B55B87B6690}" dt="2021-08-20T09:09:33.132" v="19937" actId="164"/>
          <ac:spMkLst>
            <pc:docMk/>
            <pc:sldMk cId="1589697303" sldId="1443"/>
            <ac:spMk id="155" creationId="{C9BF5538-6FF6-4674-9E06-7835329CFD38}"/>
          </ac:spMkLst>
        </pc:spChg>
        <pc:spChg chg="mod ord">
          <ac:chgData name="Disselhoff, Tim" userId="3b8b5473-7050-4f60-8279-e72cc8538d43" providerId="ADAL" clId="{952E53DB-5978-46BA-964C-5B55B87B6690}" dt="2021-08-20T09:09:35.746" v="20001"/>
          <ac:spMkLst>
            <pc:docMk/>
            <pc:sldMk cId="1589697303" sldId="1443"/>
            <ac:spMk id="156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7" v="20003"/>
          <ac:spMkLst>
            <pc:docMk/>
            <pc:sldMk cId="1589697303" sldId="1443"/>
            <ac:spMk id="161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8" v="20005"/>
          <ac:spMkLst>
            <pc:docMk/>
            <pc:sldMk cId="1589697303" sldId="1443"/>
            <ac:spMk id="162" creationId="{00000000-0000-0000-0000-000000000000}"/>
          </ac:spMkLst>
        </pc:spChg>
        <pc:spChg chg="add mod">
          <ac:chgData name="Disselhoff, Tim" userId="3b8b5473-7050-4f60-8279-e72cc8538d43" providerId="ADAL" clId="{952E53DB-5978-46BA-964C-5B55B87B6690}" dt="2021-08-20T09:09:33.132" v="19937" actId="164"/>
          <ac:spMkLst>
            <pc:docMk/>
            <pc:sldMk cId="1589697303" sldId="1443"/>
            <ac:spMk id="166" creationId="{40D739DE-4AB5-4E3A-9482-F381C6B613F7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167" creationId="{EC5677DF-EBD5-40CC-8DCD-FB3B871FA924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168" creationId="{A5CA9008-FCEB-4333-82AB-1ED59CEBCBDA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68" creationId="{FA354A3C-B286-4155-8ABD-02C05F4C6B8A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169" creationId="{7060B915-70E7-454D-8681-4A0B46DF42EE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69" creationId="{A5A3AED7-115B-44E8-8693-521F19993CF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170" creationId="{5911C10D-EF76-4F27-A736-03CCFAD6FCCE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0" creationId="{A5EB722F-AA4C-46CB-9037-8044AB651C7C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171" creationId="{B66DDF82-8BDB-4337-B241-3B14FEE64D90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1" creationId="{CC04A4A5-E54D-4995-9ED4-B50B31A55398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172" creationId="{4CA750A0-C254-4E3E-904C-BE011A697221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2" creationId="{A5456B12-466C-48C4-817B-DA83AD799AB1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3" creationId="{14ED8A84-75BA-4A91-B94B-05DF3F34D7E4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173" creationId="{BB36752C-AD2F-4C1A-BFCB-7EF73AAD8AA0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4" creationId="{3EA3B8D2-9D05-4170-9714-B8A49F18BE29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174" creationId="{D516FBDD-DC50-4CA3-8E47-819C23B459CE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175" creationId="{C42193E1-6819-4160-82B3-EDD07C5AB74D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176" creationId="{FD0E26CB-CC49-4B39-95A8-13EE97A32006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7" creationId="{A6A1E41F-2175-4BF6-B567-347DF2F6FE48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8" creationId="{5D826538-0F03-4743-9BC5-3FF417628287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79" creationId="{F5A4D2AF-C341-4055-B120-F73DA1BBB109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80" creationId="{DF2C6064-5098-46AC-BDF3-553746353772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91" creationId="{5634759F-65EF-473F-BF42-14F484016202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192" creationId="{16CB8FF2-87C1-4810-B71E-6727EB0E9179}"/>
          </ac:spMkLst>
        </pc:spChg>
        <pc:spChg chg="mod ord">
          <ac:chgData name="Disselhoff, Tim" userId="3b8b5473-7050-4f60-8279-e72cc8538d43" providerId="ADAL" clId="{952E53DB-5978-46BA-964C-5B55B87B6690}" dt="2021-08-20T09:09:35.749" v="20009"/>
          <ac:spMkLst>
            <pc:docMk/>
            <pc:sldMk cId="1589697303" sldId="1443"/>
            <ac:spMk id="195" creationId="{00000000-0000-0000-0000-000000000000}"/>
          </ac:spMkLst>
        </pc:spChg>
        <pc:spChg chg="mod ord">
          <ac:chgData name="Disselhoff, Tim" userId="3b8b5473-7050-4f60-8279-e72cc8538d43" providerId="ADAL" clId="{952E53DB-5978-46BA-964C-5B55B87B6690}" dt="2021-08-20T09:09:35.749" v="20011"/>
          <ac:spMkLst>
            <pc:docMk/>
            <pc:sldMk cId="1589697303" sldId="1443"/>
            <ac:spMk id="196" creationId="{00000000-0000-0000-0000-000000000000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02" creationId="{02218789-BB2C-4DF6-8226-EB9DB14783D6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03" creationId="{574A566D-36B0-4C0D-8434-34E020E4CD2C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04" creationId="{C87EE9CE-0A39-42B6-9AE6-CFFD383404CE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05" creationId="{E1792963-3546-4BFD-8D1A-BA34CA47745D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06" creationId="{4B3C7CAF-5C5E-47C4-8C7B-72CDF41A670A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14" creationId="{1DB6B88C-ECB5-4448-BD58-2C51BDCEE0A5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15" creationId="{75ECADE8-3103-4B20-BA19-0554069258A4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16" creationId="{06935711-88E4-4E58-B4C9-4F9FF8B6A7E7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17" creationId="{3D0E0F0B-E0A5-4F35-8CFB-F5AB6D6FB554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18" creationId="{C1EA8D65-1C1C-4350-95E1-07A4491AF15C}"/>
          </ac:spMkLst>
        </pc:spChg>
        <pc:spChg chg="mod ord">
          <ac:chgData name="Disselhoff, Tim" userId="3b8b5473-7050-4f60-8279-e72cc8538d43" providerId="ADAL" clId="{952E53DB-5978-46BA-964C-5B55B87B6690}" dt="2021-08-20T09:09:35.755" v="20025"/>
          <ac:spMkLst>
            <pc:docMk/>
            <pc:sldMk cId="1589697303" sldId="1443"/>
            <ac:spMk id="221" creationId="{CC575047-23B0-4426-82CA-BD0AC0262A43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22" creationId="{546AEA71-E5A0-47B5-9245-DED92A68DC54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222" creationId="{87A2C7E8-9742-44FD-8A0B-9CE046173D9B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223" creationId="{C44845F8-0DF8-4632-A2EE-747329E4017D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23" creationId="{F026C49C-9C9F-466C-8688-86DDF8C8BA2B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224" creationId="{329FE859-FC59-4B1C-A041-77382396953C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24" creationId="{BA271383-CBDA-4E3B-A6ED-4A9036237B09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25" creationId="{0656727A-3C95-4033-8436-0B6F042E7E90}"/>
          </ac:spMkLst>
        </pc:spChg>
        <pc:spChg chg="mod">
          <ac:chgData name="Disselhoff, Tim" userId="3b8b5473-7050-4f60-8279-e72cc8538d43" providerId="ADAL" clId="{952E53DB-5978-46BA-964C-5B55B87B6690}" dt="2021-08-20T09:10:44.119" v="20038"/>
          <ac:spMkLst>
            <pc:docMk/>
            <pc:sldMk cId="1589697303" sldId="1443"/>
            <ac:spMk id="225" creationId="{09B15949-E700-47CF-B63E-E61B5B415A28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26" creationId="{4608056B-4104-4663-94D5-07B238D0A2C6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27" creationId="{7FEDA1E9-9025-4222-8B3E-007DABE933E3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28" creationId="{341DB174-C2B6-4609-9BEA-1A41A014DFF6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29" creationId="{F2AE54A5-748B-45B5-8772-7F29C09500DB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30" creationId="{71248B5A-4534-4A22-B526-3476100187D4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31" creationId="{CC251BAF-13A4-4ECA-A47E-A0853474ED72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32" creationId="{2EF3E5C7-1C8A-47E8-8105-E633AC406B0F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33" creationId="{3F6ADF69-A80C-40A4-9F54-E20D16DB37A7}"/>
          </ac:spMkLst>
        </pc:spChg>
        <pc:spChg chg="add mod">
          <ac:chgData name="Disselhoff, Tim" userId="3b8b5473-7050-4f60-8279-e72cc8538d43" providerId="ADAL" clId="{952E53DB-5978-46BA-964C-5B55B87B6690}" dt="2021-08-20T09:12:18.965" v="20041"/>
          <ac:spMkLst>
            <pc:docMk/>
            <pc:sldMk cId="1589697303" sldId="1443"/>
            <ac:spMk id="234" creationId="{0CA4FC33-0ED1-4858-AA1C-AE74E52691EB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34" creationId="{E5D265F9-9969-488E-ACDA-5F35BA131DAC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35" creationId="{151238C6-9E7E-4936-9D13-3A2013693E82}"/>
          </ac:spMkLst>
        </pc:spChg>
        <pc:spChg chg="mod">
          <ac:chgData name="Disselhoff, Tim" userId="3b8b5473-7050-4f60-8279-e72cc8538d43" providerId="ADAL" clId="{952E53DB-5978-46BA-964C-5B55B87B6690}" dt="2021-08-19T16:44:12.865" v="19787" actId="164"/>
          <ac:spMkLst>
            <pc:docMk/>
            <pc:sldMk cId="1589697303" sldId="1443"/>
            <ac:spMk id="236" creationId="{47E1E454-6BC6-4FE5-A45F-0AAE081AFE7A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38" creationId="{9C032289-2A84-4E6E-8E39-A6104CC618F9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39" creationId="{FA548EAC-D41D-412A-A7EE-19B60C744D89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40" creationId="{746E1EB5-A93C-4769-8F23-F3AEAB73CCCB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41" creationId="{11F147B3-BA1B-4A32-8E95-4C8B47E4BDFA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42" creationId="{F90E357C-BC5B-4CC9-A4E1-785F21945CDD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43" creationId="{8DDED298-C664-49DA-83AA-E8EFCBC3D500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44" creationId="{AFA48790-A229-42E3-98CE-EECBDAC5908B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47" creationId="{6183FBB3-D597-4B8E-86CD-8F3E7014EA2C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48" creationId="{2DFBA102-DE72-4D15-AAD4-A944B35F11C9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49" creationId="{DCE97B2B-3E77-42F7-B17E-9DEC26E8B183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0" creationId="{8DF86915-381B-4C0A-BED6-7A3DB3BB5E96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2" creationId="{B2E9485F-57BD-4FEC-A6BB-437BCF48184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3" creationId="{20B82E41-2354-44A1-9FDD-490E2B97C39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4" creationId="{A24BF8BE-8AC6-41B8-BD27-4B078BEF40B5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5" creationId="{F58398D9-0BBB-471F-8BFB-DBB061C6D6B2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6" creationId="{328A3935-C912-4DAC-9E29-47767D4EC3BE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7" creationId="{D42844FB-C8D9-4180-838F-34625EEB312D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8" creationId="{48D64F6C-DABE-4288-8987-97F6B2037F27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59" creationId="{16F832F4-83FA-4E94-A2FE-6FE7C6360ECC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0" creationId="{5C546D9F-8FE4-4862-A790-4AD40C95578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1" creationId="{13B1FD13-3AA2-4947-A721-6993D1573A3A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2" creationId="{DFED2CEB-6427-4B5E-B2A6-2944E1B3EBB3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4" creationId="{70E09153-8342-43A6-B153-FF7FF8BA0DF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5" creationId="{AB2C75D4-6084-42FD-92A8-1E53343CAE85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66" creationId="{E3252538-EB28-413D-BFFF-06198CD16221}"/>
          </ac:spMkLst>
        </pc:spChg>
        <pc:spChg chg="add del mod">
          <ac:chgData name="Disselhoff, Tim" userId="3b8b5473-7050-4f60-8279-e72cc8538d43" providerId="ADAL" clId="{952E53DB-5978-46BA-964C-5B55B87B6690}" dt="2021-08-19T16:45:41.486" v="19791"/>
          <ac:spMkLst>
            <pc:docMk/>
            <pc:sldMk cId="1589697303" sldId="1443"/>
            <ac:spMk id="267" creationId="{E029C621-6404-4413-B508-88C6ECE4B64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69" creationId="{F788B5A1-455A-4485-96AF-95C480AC1E2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0" creationId="{E85D9D44-FA41-44F7-B5E6-10F30496ED3F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1" creationId="{C83BF207-3B8B-463A-A49F-E3D34099E89A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2" creationId="{B6EE98F2-ECCF-43C8-8E4E-893117FF7E54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3" creationId="{503B0C89-21F9-4997-BD50-5D03D4129F6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4" creationId="{F369D6E8-09C2-475F-AD04-C0D428B4DD60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5" creationId="{02E52772-D265-40C5-BA54-9E0182EA5A26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6" creationId="{63EF3CDC-EB3E-4F71-91AE-AB995AE0339E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7" creationId="{89D4DF96-75B0-4865-B96A-787341FBB962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8" creationId="{AAB92128-5D38-4604-B4C9-59CDF513237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79" creationId="{4EDA77F6-37EC-4DAF-8A44-437456286F75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0" creationId="{0570A28E-3664-43E2-877D-1B919770A93E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1" creationId="{EF5CF3E6-F7BE-4C33-B170-611679CD3EF2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2" creationId="{01BEC914-ABBF-456A-9D16-598F38EFA33E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3" creationId="{EDA6A92B-C01D-43D3-9B8C-DF045DBCAE23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4" creationId="{0CB0C631-D65D-45DB-B4C4-A8B3FA687D69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5" creationId="{2BB9D74B-C16B-4CCB-BC44-BE0958A9EFBD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6" creationId="{D9EC080B-B81A-43AA-B3F1-2002553FBAE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7" creationId="{1FADA67A-1C15-4ED7-B7D0-A7E105E5AAFE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8" creationId="{97F04B98-2055-4B82-A7EF-26E67DA2B9E5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89" creationId="{C6487814-0F17-48C2-94C9-359EE4CE7587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0" creationId="{A2CB91CD-1EED-4D07-BAA9-A27A48A52A39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1" creationId="{7C235463-BE88-4397-BABD-54341A50B64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2" creationId="{2CE0C15D-BFF6-4F82-8963-4862AE2A39EB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3" creationId="{E7FD4BC0-7539-4D07-926B-D381743A6058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4" creationId="{2A821D60-45C8-42CE-BC28-42F49FA3A6CD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5" creationId="{81B9E203-8249-4F85-A23D-81F8A54D6B27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6" creationId="{FDB89EAE-2180-47C5-90B4-700F6C00E128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7" creationId="{298E2776-4070-4553-BB90-D29663991C2D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8" creationId="{837B09D1-5F0A-4161-8EA8-2A06EE3B7AD4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299" creationId="{C0FCFDCA-C310-4A6E-A36F-08398F8AC89D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0" creationId="{B2C1A0CD-63AE-4D40-A3E3-3368273512EC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1" creationId="{3B226194-685A-453F-925D-69B293D4219F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2" creationId="{42CF7D88-0621-4832-AE1F-A8A3185CC368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3" creationId="{CD34D15F-EA90-4523-8F45-F34BD4451454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5" creationId="{7B98297F-0315-4F8B-918F-367EEDB10211}"/>
          </ac:spMkLst>
        </pc:spChg>
        <pc:spChg chg="mod">
          <ac:chgData name="Disselhoff, Tim" userId="3b8b5473-7050-4f60-8279-e72cc8538d43" providerId="ADAL" clId="{952E53DB-5978-46BA-964C-5B55B87B6690}" dt="2021-08-19T16:45:39.510" v="19790"/>
          <ac:spMkLst>
            <pc:docMk/>
            <pc:sldMk cId="1589697303" sldId="1443"/>
            <ac:spMk id="306" creationId="{FC15294C-8AC6-42B6-B19A-E55477CB4729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07" creationId="{99DA871A-50F8-4651-987D-63B3D4820847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08" creationId="{023EB867-132B-4BC7-AA34-0DA4AB46E58F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09" creationId="{68FA0CF5-23AE-40BE-B8E9-95AA557C6992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0" creationId="{C4815CE8-AEED-48D0-9649-97F13D5EA8DA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2" creationId="{F7FAC0B0-6FB7-47AB-A49A-70ABC4D5CF22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3" creationId="{59244205-BFD4-4B3D-A8CD-E28B52822824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4" creationId="{62FBD6AF-86C5-43D6-8F07-2450927BF27D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5" creationId="{F81F4FF6-AF2C-48FC-9DD5-5F80652C53B6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6" creationId="{C2A28888-FA1E-49C3-836B-F46212C55290}"/>
          </ac:spMkLst>
        </pc:spChg>
        <pc:spChg chg="add del mod">
          <ac:chgData name="Disselhoff, Tim" userId="3b8b5473-7050-4f60-8279-e72cc8538d43" providerId="ADAL" clId="{952E53DB-5978-46BA-964C-5B55B87B6690}" dt="2021-08-19T16:47:11.354" v="19796" actId="478"/>
          <ac:spMkLst>
            <pc:docMk/>
            <pc:sldMk cId="1589697303" sldId="1443"/>
            <ac:spMk id="317" creationId="{1BEE73B9-1969-4291-87DB-DFE456A69EB1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18" creationId="{21F1F430-ACC5-44CE-AD80-C1889DB99EA7}"/>
          </ac:spMkLst>
        </pc:spChg>
        <pc:spChg chg="mod">
          <ac:chgData name="Disselhoff, Tim" userId="3b8b5473-7050-4f60-8279-e72cc8538d43" providerId="ADAL" clId="{952E53DB-5978-46BA-964C-5B55B87B6690}" dt="2021-08-19T16:45:55.858" v="19792"/>
          <ac:spMkLst>
            <pc:docMk/>
            <pc:sldMk cId="1589697303" sldId="1443"/>
            <ac:spMk id="321" creationId="{AE0B0F5B-6086-46C7-8A66-6CDAF126FF1B}"/>
          </ac:spMkLst>
        </pc:spChg>
        <pc:spChg chg="mod">
          <ac:chgData name="Disselhoff, Tim" userId="3b8b5473-7050-4f60-8279-e72cc8538d43" providerId="ADAL" clId="{952E53DB-5978-46BA-964C-5B55B87B6690}" dt="2021-08-19T16:45:55.858" v="19792"/>
          <ac:spMkLst>
            <pc:docMk/>
            <pc:sldMk cId="1589697303" sldId="1443"/>
            <ac:spMk id="322" creationId="{F5379EE7-1713-4C97-A4E2-3A10DFBFAA53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23" creationId="{822E930B-374F-4CDB-9D85-4B8709684104}"/>
          </ac:spMkLst>
        </pc:spChg>
        <pc:spChg chg="add del mod">
          <ac:chgData name="Disselhoff, Tim" userId="3b8b5473-7050-4f60-8279-e72cc8538d43" providerId="ADAL" clId="{952E53DB-5978-46BA-964C-5B55B87B6690}" dt="2021-08-19T16:46:22.036" v="19794" actId="478"/>
          <ac:spMkLst>
            <pc:docMk/>
            <pc:sldMk cId="1589697303" sldId="1443"/>
            <ac:spMk id="324" creationId="{27BBB6D1-AA0A-40B3-B59D-5A7943446627}"/>
          </ac:spMkLst>
        </pc:spChg>
        <pc:spChg chg="add mod">
          <ac:chgData name="Disselhoff, Tim" userId="3b8b5473-7050-4f60-8279-e72cc8538d43" providerId="ADAL" clId="{952E53DB-5978-46BA-964C-5B55B87B6690}" dt="2021-08-19T16:47:47.498" v="19798" actId="164"/>
          <ac:spMkLst>
            <pc:docMk/>
            <pc:sldMk cId="1589697303" sldId="1443"/>
            <ac:spMk id="325" creationId="{41B985E2-C1B8-4283-9830-0428DFEE9557}"/>
          </ac:spMkLst>
        </pc:spChg>
        <pc:spChg chg="add mod">
          <ac:chgData name="Disselhoff, Tim" userId="3b8b5473-7050-4f60-8279-e72cc8538d43" providerId="ADAL" clId="{952E53DB-5978-46BA-964C-5B55B87B6690}" dt="2021-08-19T16:47:47.498" v="19798" actId="164"/>
          <ac:spMkLst>
            <pc:docMk/>
            <pc:sldMk cId="1589697303" sldId="1443"/>
            <ac:spMk id="326" creationId="{59560533-4038-4E72-82BF-215DAA1A560A}"/>
          </ac:spMkLst>
        </pc:spChg>
        <pc:spChg chg="add mod">
          <ac:chgData name="Disselhoff, Tim" userId="3b8b5473-7050-4f60-8279-e72cc8538d43" providerId="ADAL" clId="{952E53DB-5978-46BA-964C-5B55B87B6690}" dt="2021-08-19T16:47:47.498" v="19798" actId="164"/>
          <ac:spMkLst>
            <pc:docMk/>
            <pc:sldMk cId="1589697303" sldId="1443"/>
            <ac:spMk id="327" creationId="{312EE433-E3FF-41EB-82F4-74B2FC976CD0}"/>
          </ac:spMkLst>
        </pc:spChg>
        <pc:spChg chg="add mod">
          <ac:chgData name="Disselhoff, Tim" userId="3b8b5473-7050-4f60-8279-e72cc8538d43" providerId="ADAL" clId="{952E53DB-5978-46BA-964C-5B55B87B6690}" dt="2021-08-19T16:47:47.498" v="19798" actId="164"/>
          <ac:spMkLst>
            <pc:docMk/>
            <pc:sldMk cId="1589697303" sldId="1443"/>
            <ac:spMk id="328" creationId="{2EBDA075-FDF9-4938-915C-5E1F9990324E}"/>
          </ac:spMkLst>
        </pc:spChg>
        <pc:spChg chg="mod">
          <ac:chgData name="Disselhoff, Tim" userId="3b8b5473-7050-4f60-8279-e72cc8538d43" providerId="ADAL" clId="{952E53DB-5978-46BA-964C-5B55B87B6690}" dt="2021-08-19T16:47:41.832" v="19797"/>
          <ac:spMkLst>
            <pc:docMk/>
            <pc:sldMk cId="1589697303" sldId="1443"/>
            <ac:spMk id="331" creationId="{435A895C-37C6-4A9B-8565-59B8D4E45D9A}"/>
          </ac:spMkLst>
        </pc:spChg>
        <pc:spChg chg="mod">
          <ac:chgData name="Disselhoff, Tim" userId="3b8b5473-7050-4f60-8279-e72cc8538d43" providerId="ADAL" clId="{952E53DB-5978-46BA-964C-5B55B87B6690}" dt="2021-08-19T16:47:41.832" v="19797"/>
          <ac:spMkLst>
            <pc:docMk/>
            <pc:sldMk cId="1589697303" sldId="1443"/>
            <ac:spMk id="332" creationId="{8C2FB56B-66A1-4CFF-A354-81B822EE574C}"/>
          </ac:spMkLst>
        </pc:spChg>
        <pc:grpChg chg="add mod">
          <ac:chgData name="Disselhoff, Tim" userId="3b8b5473-7050-4f60-8279-e72cc8538d43" providerId="ADAL" clId="{952E53DB-5978-46BA-964C-5B55B87B6690}" dt="2021-08-20T09:09:35.753" v="20021"/>
          <ac:grpSpMkLst>
            <pc:docMk/>
            <pc:sldMk cId="1589697303" sldId="1443"/>
            <ac:grpSpMk id="2" creationId="{9DBC20DA-616A-47A8-B720-72D2B528FD81}"/>
          </ac:grpSpMkLst>
        </pc:grpChg>
        <pc:grpChg chg="add mod">
          <ac:chgData name="Disselhoff, Tim" userId="3b8b5473-7050-4f60-8279-e72cc8538d43" providerId="ADAL" clId="{952E53DB-5978-46BA-964C-5B55B87B6690}" dt="2021-08-20T09:09:35.755" v="20028"/>
          <ac:grpSpMkLst>
            <pc:docMk/>
            <pc:sldMk cId="1589697303" sldId="1443"/>
            <ac:grpSpMk id="4" creationId="{5AFA6520-6586-48CD-BFE7-D7DED6A57605}"/>
          </ac:grpSpMkLst>
        </pc:grpChg>
        <pc:grpChg chg="add mod ord">
          <ac:chgData name="Disselhoff, Tim" userId="3b8b5473-7050-4f60-8279-e72cc8538d43" providerId="ADAL" clId="{952E53DB-5978-46BA-964C-5B55B87B6690}" dt="2021-08-20T09:09:35.740" v="19977"/>
          <ac:grpSpMkLst>
            <pc:docMk/>
            <pc:sldMk cId="1589697303" sldId="1443"/>
            <ac:grpSpMk id="6" creationId="{7FFDB7B1-07E9-4C32-858A-FDCFF71FCD4E}"/>
          </ac:grpSpMkLst>
        </pc:grpChg>
        <pc:grpChg chg="mod">
          <ac:chgData name="Disselhoff, Tim" userId="3b8b5473-7050-4f60-8279-e72cc8538d43" providerId="ADAL" clId="{952E53DB-5978-46BA-964C-5B55B87B6690}" dt="2021-08-20T09:09:35.752" v="20020"/>
          <ac:grpSpMkLst>
            <pc:docMk/>
            <pc:sldMk cId="1589697303" sldId="1443"/>
            <ac:grpSpMk id="91" creationId="{F5381916-3B69-4B7C-B12D-7382BF2E17F3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97" creationId="{9B40E6A5-1B02-42DD-9A18-9A5F72D94E4A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108" creationId="{30514568-999C-43A9-BF17-5674020DDC87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120" creationId="{0C14F3EA-29DE-4135-B1CF-DB39D859A514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125" creationId="{A311A645-0F3A-49A7-B8F0-A3134A32483B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157" creationId="{FC2AF88E-1B69-45F8-8E85-6207ADFDF830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166" creationId="{263C8718-31F7-46B7-BF16-AD85E21911A2}"/>
          </ac:grpSpMkLst>
        </pc:grpChg>
        <pc:grpChg chg="add mod">
          <ac:chgData name="Disselhoff, Tim" userId="3b8b5473-7050-4f60-8279-e72cc8538d43" providerId="ADAL" clId="{952E53DB-5978-46BA-964C-5B55B87B6690}" dt="2021-08-20T09:10:44.119" v="20038"/>
          <ac:grpSpMkLst>
            <pc:docMk/>
            <pc:sldMk cId="1589697303" sldId="1443"/>
            <ac:grpSpMk id="167" creationId="{28248ED5-02FE-4938-932B-B9F4C60B1A49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177" creationId="{DB6A4EFA-C58F-4D02-A789-B240E0BC12FD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190" creationId="{E4A325AE-D085-4320-AF89-EC22B8F9F38E}"/>
          </ac:grpSpMkLst>
        </pc:grpChg>
        <pc:grpChg chg="mod ord">
          <ac:chgData name="Disselhoff, Tim" userId="3b8b5473-7050-4f60-8279-e72cc8538d43" providerId="ADAL" clId="{952E53DB-5978-46BA-964C-5B55B87B6690}" dt="2021-08-20T09:09:35.754" v="20023"/>
          <ac:grpSpMkLst>
            <pc:docMk/>
            <pc:sldMk cId="1589697303" sldId="1443"/>
            <ac:grpSpMk id="193" creationId="{E7777AE0-2FD1-43B3-9BD9-6E79BDA9178D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207" creationId="{BE75C26D-288F-4048-BAF5-13CDAB244A66}"/>
          </ac:grpSpMkLst>
        </pc:grpChg>
        <pc:grpChg chg="mod">
          <ac:chgData name="Disselhoff, Tim" userId="3b8b5473-7050-4f60-8279-e72cc8538d43" providerId="ADAL" clId="{952E53DB-5978-46BA-964C-5B55B87B6690}" dt="2021-08-19T16:44:12.865" v="19787" actId="164"/>
          <ac:grpSpMkLst>
            <pc:docMk/>
            <pc:sldMk cId="1589697303" sldId="1443"/>
            <ac:grpSpMk id="211" creationId="{9089C857-37A3-4736-929C-6D0D47610D60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246" creationId="{18984BD3-3EDA-4F3B-98DF-739E37766D9C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251" creationId="{D3D1CD43-C7A1-431E-8C9D-4AA08DA7DC7D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263" creationId="{0F194BC5-5592-47ED-81D4-063255FB4967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268" creationId="{B29DA11C-14C8-45AE-B460-89EE59135344}"/>
          </ac:grpSpMkLst>
        </pc:grpChg>
        <pc:grpChg chg="add del mod">
          <ac:chgData name="Disselhoff, Tim" userId="3b8b5473-7050-4f60-8279-e72cc8538d43" providerId="ADAL" clId="{952E53DB-5978-46BA-964C-5B55B87B6690}" dt="2021-08-19T16:45:41.486" v="19791"/>
          <ac:grpSpMkLst>
            <pc:docMk/>
            <pc:sldMk cId="1589697303" sldId="1443"/>
            <ac:grpSpMk id="304" creationId="{4997CC79-9119-429C-90FC-1C368B05C336}"/>
          </ac:grpSpMkLst>
        </pc:grpChg>
        <pc:grpChg chg="add del mod">
          <ac:chgData name="Disselhoff, Tim" userId="3b8b5473-7050-4f60-8279-e72cc8538d43" providerId="ADAL" clId="{952E53DB-5978-46BA-964C-5B55B87B6690}" dt="2021-08-19T16:46:22.036" v="19794" actId="478"/>
          <ac:grpSpMkLst>
            <pc:docMk/>
            <pc:sldMk cId="1589697303" sldId="1443"/>
            <ac:grpSpMk id="320" creationId="{4CD40F7B-497C-491E-822E-532E39B41D60}"/>
          </ac:grpSpMkLst>
        </pc:grpChg>
        <pc:grpChg chg="add mod">
          <ac:chgData name="Disselhoff, Tim" userId="3b8b5473-7050-4f60-8279-e72cc8538d43" providerId="ADAL" clId="{952E53DB-5978-46BA-964C-5B55B87B6690}" dt="2021-08-19T16:47:47.498" v="19798" actId="164"/>
          <ac:grpSpMkLst>
            <pc:docMk/>
            <pc:sldMk cId="1589697303" sldId="1443"/>
            <ac:grpSpMk id="330" creationId="{736976D1-44B5-4AA8-AE0E-4317DB24F5F8}"/>
          </ac:grpSpMkLst>
        </pc:grpChg>
        <pc:graphicFrameChg chg="mod">
          <ac:chgData name="Disselhoff, Tim" userId="3b8b5473-7050-4f60-8279-e72cc8538d43" providerId="ADAL" clId="{952E53DB-5978-46BA-964C-5B55B87B6690}" dt="2021-08-20T09:09:35.772" v="20032"/>
          <ac:graphicFrameMkLst>
            <pc:docMk/>
            <pc:sldMk cId="1589697303" sldId="1443"/>
            <ac:graphicFrameMk id="8" creationId="{00000000-0000-0000-0000-000000000000}"/>
          </ac:graphicFrameMkLst>
        </pc:graphicFrameChg>
        <pc:cxnChg chg="mod ord">
          <ac:chgData name="Disselhoff, Tim" userId="3b8b5473-7050-4f60-8279-e72cc8538d43" providerId="ADAL" clId="{952E53DB-5978-46BA-964C-5B55B87B6690}" dt="2021-08-20T09:09:35.750" v="20015"/>
          <ac:cxnSpMkLst>
            <pc:docMk/>
            <pc:sldMk cId="1589697303" sldId="1443"/>
            <ac:cxnSpMk id="88" creationId="{813E85F0-8D5F-4D5D-8CE1-892E465819FA}"/>
          </ac:cxnSpMkLst>
        </pc:cxnChg>
        <pc:cxnChg chg="mod ord">
          <ac:chgData name="Disselhoff, Tim" userId="3b8b5473-7050-4f60-8279-e72cc8538d43" providerId="ADAL" clId="{952E53DB-5978-46BA-964C-5B55B87B6690}" dt="2021-08-20T09:09:35.743" v="19987"/>
          <ac:cxnSpMkLst>
            <pc:docMk/>
            <pc:sldMk cId="1589697303" sldId="1443"/>
            <ac:cxnSpMk id="13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20T09:09:35.743" v="19989"/>
          <ac:cxnSpMkLst>
            <pc:docMk/>
            <pc:sldMk cId="1589697303" sldId="1443"/>
            <ac:cxnSpMk id="140" creationId="{00000000-0000-0000-0000-000000000000}"/>
          </ac:cxnSpMkLst>
        </pc:cxnChg>
        <pc:cxnChg chg="mod ord">
          <ac:chgData name="Disselhoff, Tim" userId="3b8b5473-7050-4f60-8279-e72cc8538d43" providerId="ADAL" clId="{952E53DB-5978-46BA-964C-5B55B87B6690}" dt="2021-08-20T09:09:35.745" v="19995"/>
          <ac:cxnSpMkLst>
            <pc:docMk/>
            <pc:sldMk cId="1589697303" sldId="1443"/>
            <ac:cxnSpMk id="146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20T09:10:44.119" v="20038"/>
          <ac:cxnSpMkLst>
            <pc:docMk/>
            <pc:sldMk cId="1589697303" sldId="1443"/>
            <ac:cxnSpMk id="175" creationId="{FD36FF64-E6F5-4484-B466-2615BFC118B9}"/>
          </ac:cxnSpMkLst>
        </pc:cxnChg>
        <pc:cxnChg chg="mod">
          <ac:chgData name="Disselhoff, Tim" userId="3b8b5473-7050-4f60-8279-e72cc8538d43" providerId="ADAL" clId="{952E53DB-5978-46BA-964C-5B55B87B6690}" dt="2021-08-20T09:10:44.119" v="20038"/>
          <ac:cxnSpMkLst>
            <pc:docMk/>
            <pc:sldMk cId="1589697303" sldId="1443"/>
            <ac:cxnSpMk id="176" creationId="{41C34613-CA46-4DD0-8CBA-96847B175179}"/>
          </ac:cxnSpMkLst>
        </pc:cxnChg>
        <pc:cxnChg chg="mod">
          <ac:chgData name="Disselhoff, Tim" userId="3b8b5473-7050-4f60-8279-e72cc8538d43" providerId="ADAL" clId="{952E53DB-5978-46BA-964C-5B55B87B6690}" dt="2021-08-19T16:45:39.510" v="19790"/>
          <ac:cxnSpMkLst>
            <pc:docMk/>
            <pc:sldMk cId="1589697303" sldId="1443"/>
            <ac:cxnSpMk id="178" creationId="{7DE6BDC1-328C-4E0A-B354-8E5647D96BD8}"/>
          </ac:cxnSpMkLst>
        </pc:cxnChg>
        <pc:cxnChg chg="mod">
          <ac:chgData name="Disselhoff, Tim" userId="3b8b5473-7050-4f60-8279-e72cc8538d43" providerId="ADAL" clId="{952E53DB-5978-46BA-964C-5B55B87B6690}" dt="2021-08-19T16:45:39.510" v="19790"/>
          <ac:cxnSpMkLst>
            <pc:docMk/>
            <pc:sldMk cId="1589697303" sldId="1443"/>
            <ac:cxnSpMk id="179" creationId="{091E98CF-9BC6-48A3-A075-2A9AC15D00B9}"/>
          </ac:cxnSpMkLst>
        </pc:cxnChg>
        <pc:cxnChg chg="mod">
          <ac:chgData name="Disselhoff, Tim" userId="3b8b5473-7050-4f60-8279-e72cc8538d43" providerId="ADAL" clId="{952E53DB-5978-46BA-964C-5B55B87B6690}" dt="2021-08-19T16:45:39.510" v="19790"/>
          <ac:cxnSpMkLst>
            <pc:docMk/>
            <pc:sldMk cId="1589697303" sldId="1443"/>
            <ac:cxnSpMk id="180" creationId="{6483E3FB-B1CF-402F-908B-C4F4E37A671F}"/>
          </ac:cxnSpMkLst>
        </pc:cxnChg>
        <pc:cxnChg chg="mod">
          <ac:chgData name="Disselhoff, Tim" userId="3b8b5473-7050-4f60-8279-e72cc8538d43" providerId="ADAL" clId="{952E53DB-5978-46BA-964C-5B55B87B6690}" dt="2021-08-20T09:10:44.119" v="20038"/>
          <ac:cxnSpMkLst>
            <pc:docMk/>
            <pc:sldMk cId="1589697303" sldId="1443"/>
            <ac:cxnSpMk id="190" creationId="{E5DCBA7A-0E69-48CB-B35D-F9162A53208C}"/>
          </ac:cxnSpMkLst>
        </pc:cxnChg>
        <pc:cxnChg chg="mod">
          <ac:chgData name="Disselhoff, Tim" userId="3b8b5473-7050-4f60-8279-e72cc8538d43" providerId="ADAL" clId="{952E53DB-5978-46BA-964C-5B55B87B6690}" dt="2021-08-19T16:45:39.510" v="19790"/>
          <ac:cxnSpMkLst>
            <pc:docMk/>
            <pc:sldMk cId="1589697303" sldId="1443"/>
            <ac:cxnSpMk id="191" creationId="{2BBAA264-B3E8-4898-93C4-C96060FB1FFF}"/>
          </ac:cxnSpMkLst>
        </pc:cxnChg>
        <pc:cxnChg chg="mod">
          <ac:chgData name="Disselhoff, Tim" userId="3b8b5473-7050-4f60-8279-e72cc8538d43" providerId="ADAL" clId="{952E53DB-5978-46BA-964C-5B55B87B6690}" dt="2021-08-19T16:45:39.510" v="19790"/>
          <ac:cxnSpMkLst>
            <pc:docMk/>
            <pc:sldMk cId="1589697303" sldId="1443"/>
            <ac:cxnSpMk id="192" creationId="{55DD862A-E73E-4FF0-82CD-1545193C8C85}"/>
          </ac:cxnSpMkLst>
        </pc:cxnChg>
        <pc:cxnChg chg="mod ord">
          <ac:chgData name="Disselhoff, Tim" userId="3b8b5473-7050-4f60-8279-e72cc8538d43" providerId="ADAL" clId="{952E53DB-5978-46BA-964C-5B55B87B6690}" dt="2021-08-20T09:09:35.748" v="20007"/>
          <ac:cxnSpMkLst>
            <pc:docMk/>
            <pc:sldMk cId="1589697303" sldId="1443"/>
            <ac:cxnSpMk id="194" creationId="{00000000-0000-0000-0000-000000000000}"/>
          </ac:cxnSpMkLst>
        </pc:cxnChg>
        <pc:cxnChg chg="mod">
          <ac:chgData name="Disselhoff, Tim" userId="3b8b5473-7050-4f60-8279-e72cc8538d43" providerId="ADAL" clId="{952E53DB-5978-46BA-964C-5B55B87B6690}" dt="2021-08-19T16:52:22.612" v="19808" actId="208"/>
          <ac:cxnSpMkLst>
            <pc:docMk/>
            <pc:sldMk cId="1589697303" sldId="1443"/>
            <ac:cxnSpMk id="210" creationId="{D8F66EB9-E612-4CDF-B613-F04B582CBFFC}"/>
          </ac:cxnSpMkLst>
        </pc:cxnChg>
        <pc:cxnChg chg="mod">
          <ac:chgData name="Disselhoff, Tim" userId="3b8b5473-7050-4f60-8279-e72cc8538d43" providerId="ADAL" clId="{952E53DB-5978-46BA-964C-5B55B87B6690}" dt="2021-08-19T16:44:12.865" v="19787" actId="164"/>
          <ac:cxnSpMkLst>
            <pc:docMk/>
            <pc:sldMk cId="1589697303" sldId="1443"/>
            <ac:cxnSpMk id="237" creationId="{F0AD7F1F-DECA-4AA0-953E-372CA19338A9}"/>
          </ac:cxnSpMkLst>
        </pc:cxnChg>
        <pc:cxnChg chg="add del mod">
          <ac:chgData name="Disselhoff, Tim" userId="3b8b5473-7050-4f60-8279-e72cc8538d43" providerId="ADAL" clId="{952E53DB-5978-46BA-964C-5B55B87B6690}" dt="2021-08-19T16:45:41.486" v="19791"/>
          <ac:cxnSpMkLst>
            <pc:docMk/>
            <pc:sldMk cId="1589697303" sldId="1443"/>
            <ac:cxnSpMk id="245" creationId="{AFCA46E5-99BB-4632-A504-105664F65D4A}"/>
          </ac:cxnSpMkLst>
        </pc:cxnChg>
        <pc:cxnChg chg="add del mod">
          <ac:chgData name="Disselhoff, Tim" userId="3b8b5473-7050-4f60-8279-e72cc8538d43" providerId="ADAL" clId="{952E53DB-5978-46BA-964C-5B55B87B6690}" dt="2021-08-19T16:46:22.036" v="19794" actId="478"/>
          <ac:cxnSpMkLst>
            <pc:docMk/>
            <pc:sldMk cId="1589697303" sldId="1443"/>
            <ac:cxnSpMk id="311" creationId="{ACC20514-9B88-48BE-B51F-B9DB5AD20569}"/>
          </ac:cxnSpMkLst>
        </pc:cxnChg>
        <pc:cxnChg chg="add del mod">
          <ac:chgData name="Disselhoff, Tim" userId="3b8b5473-7050-4f60-8279-e72cc8538d43" providerId="ADAL" clId="{952E53DB-5978-46BA-964C-5B55B87B6690}" dt="2021-08-19T16:46:22.036" v="19794" actId="478"/>
          <ac:cxnSpMkLst>
            <pc:docMk/>
            <pc:sldMk cId="1589697303" sldId="1443"/>
            <ac:cxnSpMk id="319" creationId="{03DD07C7-892B-4FF1-ACA1-3EEFE1C946E3}"/>
          </ac:cxnSpMkLst>
        </pc:cxnChg>
        <pc:cxnChg chg="add mod">
          <ac:chgData name="Disselhoff, Tim" userId="3b8b5473-7050-4f60-8279-e72cc8538d43" providerId="ADAL" clId="{952E53DB-5978-46BA-964C-5B55B87B6690}" dt="2021-08-19T16:47:47.498" v="19798" actId="164"/>
          <ac:cxnSpMkLst>
            <pc:docMk/>
            <pc:sldMk cId="1589697303" sldId="1443"/>
            <ac:cxnSpMk id="329" creationId="{7AF0CCC7-B708-4BC5-97B9-1419C142C6F7}"/>
          </ac:cxnSpMkLst>
        </pc:cxnChg>
      </pc:sldChg>
      <pc:sldChg chg="del">
        <pc:chgData name="Disselhoff, Tim" userId="3b8b5473-7050-4f60-8279-e72cc8538d43" providerId="ADAL" clId="{952E53DB-5978-46BA-964C-5B55B87B6690}" dt="2021-08-20T09:23:36.227" v="20215" actId="47"/>
        <pc:sldMkLst>
          <pc:docMk/>
          <pc:sldMk cId="2143557156" sldId="1444"/>
        </pc:sldMkLst>
      </pc:sldChg>
      <pc:sldChg chg="addSp modSp add modAnim">
        <pc:chgData name="Disselhoff, Tim" userId="3b8b5473-7050-4f60-8279-e72cc8538d43" providerId="ADAL" clId="{952E53DB-5978-46BA-964C-5B55B87B6690}" dt="2021-08-20T12:59:03.994" v="20231"/>
        <pc:sldMkLst>
          <pc:docMk/>
          <pc:sldMk cId="4209619153" sldId="1445"/>
        </pc:sldMkLst>
        <pc:spChg chg="add mod">
          <ac:chgData name="Disselhoff, Tim" userId="3b8b5473-7050-4f60-8279-e72cc8538d43" providerId="ADAL" clId="{952E53DB-5978-46BA-964C-5B55B87B6690}" dt="2021-08-20T12:58:37.538" v="20228"/>
          <ac:spMkLst>
            <pc:docMk/>
            <pc:sldMk cId="4209619153" sldId="1445"/>
            <ac:spMk id="235" creationId="{AA37392C-BD62-46D5-BF12-DF3D85260D8B}"/>
          </ac:spMkLst>
        </pc:spChg>
      </pc:sldChg>
      <pc:sldChg chg="add del">
        <pc:chgData name="Disselhoff, Tim" userId="3b8b5473-7050-4f60-8279-e72cc8538d43" providerId="ADAL" clId="{952E53DB-5978-46BA-964C-5B55B87B6690}" dt="2021-08-20T09:26:51.795" v="20217" actId="47"/>
        <pc:sldMkLst>
          <pc:docMk/>
          <pc:sldMk cId="2240824503" sldId="1446"/>
        </pc:sldMkLst>
      </pc:sldChg>
      <pc:sldMasterChg chg="delSldLayout">
        <pc:chgData name="Disselhoff, Tim" userId="3b8b5473-7050-4f60-8279-e72cc8538d43" providerId="ADAL" clId="{952E53DB-5978-46BA-964C-5B55B87B6690}" dt="2021-08-16T19:09:44.446" v="4304" actId="47"/>
        <pc:sldMasterMkLst>
          <pc:docMk/>
          <pc:sldMasterMk cId="1269562786" sldId="2147484335"/>
        </pc:sldMasterMkLst>
        <pc:sldLayoutChg chg="del">
          <pc:chgData name="Disselhoff, Tim" userId="3b8b5473-7050-4f60-8279-e72cc8538d43" providerId="ADAL" clId="{952E53DB-5978-46BA-964C-5B55B87B6690}" dt="2021-08-16T19:09:44.446" v="4304" actId="47"/>
          <pc:sldLayoutMkLst>
            <pc:docMk/>
            <pc:sldMasterMk cId="1269562786" sldId="2147484335"/>
            <pc:sldLayoutMk cId="2471772116" sldId="2147484396"/>
          </pc:sldLayoutMkLst>
        </pc:sldLayoutChg>
        <pc:sldLayoutChg chg="del">
          <pc:chgData name="Disselhoff, Tim" userId="3b8b5473-7050-4f60-8279-e72cc8538d43" providerId="ADAL" clId="{952E53DB-5978-46BA-964C-5B55B87B6690}" dt="2021-08-16T19:09:44.446" v="4304" actId="47"/>
          <pc:sldLayoutMkLst>
            <pc:docMk/>
            <pc:sldMasterMk cId="1269562786" sldId="2147484335"/>
            <pc:sldLayoutMk cId="1522493392" sldId="2147484397"/>
          </pc:sldLayoutMkLst>
        </pc:sldLayoutChg>
      </pc:sldMasterChg>
      <pc:sldMasterChg chg="delSldLayout">
        <pc:chgData name="Disselhoff, Tim" userId="3b8b5473-7050-4f60-8279-e72cc8538d43" providerId="ADAL" clId="{952E53DB-5978-46BA-964C-5B55B87B6690}" dt="2021-08-17T08:13:13.517" v="6736" actId="47"/>
        <pc:sldMasterMkLst>
          <pc:docMk/>
          <pc:sldMasterMk cId="1754532582" sldId="2147484379"/>
        </pc:sldMasterMkLst>
        <pc:sldLayoutChg chg="del">
          <pc:chgData name="Disselhoff, Tim" userId="3b8b5473-7050-4f60-8279-e72cc8538d43" providerId="ADAL" clId="{952E53DB-5978-46BA-964C-5B55B87B6690}" dt="2021-08-17T08:13:13.517" v="6736" actId="47"/>
          <pc:sldLayoutMkLst>
            <pc:docMk/>
            <pc:sldMasterMk cId="1754532582" sldId="2147484379"/>
            <pc:sldLayoutMk cId="390514165" sldId="2147484396"/>
          </pc:sldLayoutMkLst>
        </pc:sldLayoutChg>
        <pc:sldLayoutChg chg="del">
          <pc:chgData name="Disselhoff, Tim" userId="3b8b5473-7050-4f60-8279-e72cc8538d43" providerId="ADAL" clId="{952E53DB-5978-46BA-964C-5B55B87B6690}" dt="2021-08-16T19:11:53.382" v="4354" actId="47"/>
          <pc:sldLayoutMkLst>
            <pc:docMk/>
            <pc:sldMasterMk cId="1754532582" sldId="2147484379"/>
            <pc:sldLayoutMk cId="2451145490" sldId="2147484396"/>
          </pc:sldLayoutMkLst>
        </pc:sldLayoutChg>
        <pc:sldLayoutChg chg="del">
          <pc:chgData name="Disselhoff, Tim" userId="3b8b5473-7050-4f60-8279-e72cc8538d43" providerId="ADAL" clId="{952E53DB-5978-46BA-964C-5B55B87B6690}" dt="2021-08-17T08:13:13.517" v="6736" actId="47"/>
          <pc:sldLayoutMkLst>
            <pc:docMk/>
            <pc:sldMasterMk cId="1754532582" sldId="2147484379"/>
            <pc:sldLayoutMk cId="3504358157" sldId="2147484397"/>
          </pc:sldLayoutMkLst>
        </pc:sldLayoutChg>
      </pc:sldMasterChg>
    </pc:docChg>
  </pc:docChgLst>
  <pc:docChgLst>
    <pc:chgData name="Disselhoff, Tim" userId="3b8b5473-7050-4f60-8279-e72cc8538d43" providerId="ADAL" clId="{CCA19AA8-E561-4ABF-A3DE-4E4185DF6597}"/>
    <pc:docChg chg="custSel addSld delSld modSld sldOrd modMainMaster modSection">
      <pc:chgData name="Disselhoff, Tim" userId="3b8b5473-7050-4f60-8279-e72cc8538d43" providerId="ADAL" clId="{CCA19AA8-E561-4ABF-A3DE-4E4185DF6597}" dt="2021-08-04T17:08:05.381" v="687" actId="20577"/>
      <pc:docMkLst>
        <pc:docMk/>
      </pc:docMkLst>
      <pc:sldChg chg="modSp mod">
        <pc:chgData name="Disselhoff, Tim" userId="3b8b5473-7050-4f60-8279-e72cc8538d43" providerId="ADAL" clId="{CCA19AA8-E561-4ABF-A3DE-4E4185DF6597}" dt="2021-08-04T17:08:05.381" v="687" actId="20577"/>
        <pc:sldMkLst>
          <pc:docMk/>
          <pc:sldMk cId="1986970266" sldId="256"/>
        </pc:sldMkLst>
        <pc:spChg chg="mod">
          <ac:chgData name="Disselhoff, Tim" userId="3b8b5473-7050-4f60-8279-e72cc8538d43" providerId="ADAL" clId="{CCA19AA8-E561-4ABF-A3DE-4E4185DF6597}" dt="2021-08-04T17:08:05.381" v="687" actId="20577"/>
          <ac:spMkLst>
            <pc:docMk/>
            <pc:sldMk cId="1986970266" sldId="256"/>
            <ac:spMk id="6" creationId="{9D619A09-698C-4E3C-881C-54FC53972E70}"/>
          </ac:spMkLst>
        </pc:spChg>
      </pc:sldChg>
      <pc:sldChg chg="addSp modSp mod">
        <pc:chgData name="Disselhoff, Tim" userId="3b8b5473-7050-4f60-8279-e72cc8538d43" providerId="ADAL" clId="{CCA19AA8-E561-4ABF-A3DE-4E4185DF6597}" dt="2021-08-04T16:56:53.582" v="43" actId="20577"/>
        <pc:sldMkLst>
          <pc:docMk/>
          <pc:sldMk cId="3165040565" sldId="292"/>
        </pc:sldMkLst>
        <pc:spChg chg="add mod">
          <ac:chgData name="Disselhoff, Tim" userId="3b8b5473-7050-4f60-8279-e72cc8538d43" providerId="ADAL" clId="{CCA19AA8-E561-4ABF-A3DE-4E4185DF6597}" dt="2021-08-04T16:56:53.582" v="43" actId="20577"/>
          <ac:spMkLst>
            <pc:docMk/>
            <pc:sldMk cId="3165040565" sldId="292"/>
            <ac:spMk id="168" creationId="{260E0725-57A4-42B1-9D9C-636430D79F67}"/>
          </ac:spMkLst>
        </pc:spChg>
      </pc:sldChg>
      <pc:sldChg chg="addSp modSp mod">
        <pc:chgData name="Disselhoff, Tim" userId="3b8b5473-7050-4f60-8279-e72cc8538d43" providerId="ADAL" clId="{CCA19AA8-E561-4ABF-A3DE-4E4185DF6597}" dt="2021-08-04T16:56:37.034" v="26" actId="20577"/>
        <pc:sldMkLst>
          <pc:docMk/>
          <pc:sldMk cId="3318453869" sldId="294"/>
        </pc:sldMkLst>
        <pc:spChg chg="add mod">
          <ac:chgData name="Disselhoff, Tim" userId="3b8b5473-7050-4f60-8279-e72cc8538d43" providerId="ADAL" clId="{CCA19AA8-E561-4ABF-A3DE-4E4185DF6597}" dt="2021-08-04T16:56:37.034" v="26" actId="20577"/>
          <ac:spMkLst>
            <pc:docMk/>
            <pc:sldMk cId="3318453869" sldId="294"/>
            <ac:spMk id="7" creationId="{15AE5965-3867-4D54-994F-82D0190D281E}"/>
          </ac:spMkLst>
        </pc:spChg>
      </pc:sldChg>
      <pc:sldChg chg="addSp modSp">
        <pc:chgData name="Disselhoff, Tim" userId="3b8b5473-7050-4f60-8279-e72cc8538d43" providerId="ADAL" clId="{CCA19AA8-E561-4ABF-A3DE-4E4185DF6597}" dt="2021-08-04T16:56:55.719" v="44"/>
        <pc:sldMkLst>
          <pc:docMk/>
          <pc:sldMk cId="2114098762" sldId="297"/>
        </pc:sldMkLst>
        <pc:spChg chg="add mod">
          <ac:chgData name="Disselhoff, Tim" userId="3b8b5473-7050-4f60-8279-e72cc8538d43" providerId="ADAL" clId="{CCA19AA8-E561-4ABF-A3DE-4E4185DF6597}" dt="2021-08-04T16:56:55.719" v="44"/>
          <ac:spMkLst>
            <pc:docMk/>
            <pc:sldMk cId="2114098762" sldId="297"/>
            <ac:spMk id="15" creationId="{2B797262-AD12-4C68-9AA4-097025CB3068}"/>
          </ac:spMkLst>
        </pc:spChg>
      </pc:sldChg>
      <pc:sldChg chg="addSp modSp">
        <pc:chgData name="Disselhoff, Tim" userId="3b8b5473-7050-4f60-8279-e72cc8538d43" providerId="ADAL" clId="{CCA19AA8-E561-4ABF-A3DE-4E4185DF6597}" dt="2021-08-04T16:56:57.976" v="45"/>
        <pc:sldMkLst>
          <pc:docMk/>
          <pc:sldMk cId="1211619455" sldId="306"/>
        </pc:sldMkLst>
        <pc:spChg chg="add mod">
          <ac:chgData name="Disselhoff, Tim" userId="3b8b5473-7050-4f60-8279-e72cc8538d43" providerId="ADAL" clId="{CCA19AA8-E561-4ABF-A3DE-4E4185DF6597}" dt="2021-08-04T16:56:57.976" v="45"/>
          <ac:spMkLst>
            <pc:docMk/>
            <pc:sldMk cId="1211619455" sldId="306"/>
            <ac:spMk id="80" creationId="{97BA9C9E-C8B9-40A7-B731-610D9560EB4D}"/>
          </ac:spMkLst>
        </pc:spChg>
      </pc:sldChg>
      <pc:sldChg chg="del">
        <pc:chgData name="Disselhoff, Tim" userId="3b8b5473-7050-4f60-8279-e72cc8538d43" providerId="ADAL" clId="{CCA19AA8-E561-4ABF-A3DE-4E4185DF6597}" dt="2021-08-04T16:57:31.319" v="48" actId="47"/>
        <pc:sldMkLst>
          <pc:docMk/>
          <pc:sldMk cId="2427055597" sldId="321"/>
        </pc:sldMkLst>
      </pc:sldChg>
      <pc:sldChg chg="addSp delSp modSp mod">
        <pc:chgData name="Disselhoff, Tim" userId="3b8b5473-7050-4f60-8279-e72cc8538d43" providerId="ADAL" clId="{CCA19AA8-E561-4ABF-A3DE-4E4185DF6597}" dt="2021-08-04T17:07:36.608" v="681" actId="20577"/>
        <pc:sldMkLst>
          <pc:docMk/>
          <pc:sldMk cId="1898009748" sldId="323"/>
        </pc:sldMkLst>
        <pc:spChg chg="mod">
          <ac:chgData name="Disselhoff, Tim" userId="3b8b5473-7050-4f60-8279-e72cc8538d43" providerId="ADAL" clId="{CCA19AA8-E561-4ABF-A3DE-4E4185DF6597}" dt="2021-08-04T16:58:10.308" v="302" actId="948"/>
          <ac:spMkLst>
            <pc:docMk/>
            <pc:sldMk cId="1898009748" sldId="323"/>
            <ac:spMk id="3" creationId="{00000000-0000-0000-0000-000000000000}"/>
          </ac:spMkLst>
        </pc:spChg>
        <pc:spChg chg="add del mod modVis">
          <ac:chgData name="Disselhoff, Tim" userId="3b8b5473-7050-4f60-8279-e72cc8538d43" providerId="ADAL" clId="{CCA19AA8-E561-4ABF-A3DE-4E4185DF6597}" dt="2021-08-04T16:58:04.535" v="219"/>
          <ac:spMkLst>
            <pc:docMk/>
            <pc:sldMk cId="1898009748" sldId="323"/>
            <ac:spMk id="4" creationId="{5E600D4B-02BA-40AD-8BF2-0E33A93B7D0C}"/>
          </ac:spMkLst>
        </pc:spChg>
        <pc:spChg chg="add del mod modVis">
          <ac:chgData name="Disselhoff, Tim" userId="3b8b5473-7050-4f60-8279-e72cc8538d43" providerId="ADAL" clId="{CCA19AA8-E561-4ABF-A3DE-4E4185DF6597}" dt="2021-08-04T16:58:06.247" v="268"/>
          <ac:spMkLst>
            <pc:docMk/>
            <pc:sldMk cId="1898009748" sldId="323"/>
            <ac:spMk id="6" creationId="{FE365642-B2B5-41D9-93E7-CF6F146A05E9}"/>
          </ac:spMkLst>
        </pc:spChg>
        <pc:spChg chg="add del mod modVis">
          <ac:chgData name="Disselhoff, Tim" userId="3b8b5473-7050-4f60-8279-e72cc8538d43" providerId="ADAL" clId="{CCA19AA8-E561-4ABF-A3DE-4E4185DF6597}" dt="2021-08-04T16:58:10.428" v="341"/>
          <ac:spMkLst>
            <pc:docMk/>
            <pc:sldMk cId="1898009748" sldId="323"/>
            <ac:spMk id="7" creationId="{93E4895B-4CD2-45C8-951A-887E3218F6DB}"/>
          </ac:spMkLst>
        </pc:spChg>
        <pc:spChg chg="mod">
          <ac:chgData name="Disselhoff, Tim" userId="3b8b5473-7050-4f60-8279-e72cc8538d43" providerId="ADAL" clId="{CCA19AA8-E561-4ABF-A3DE-4E4185DF6597}" dt="2021-08-04T17:07:36.608" v="681" actId="20577"/>
          <ac:spMkLst>
            <pc:docMk/>
            <pc:sldMk cId="1898009748" sldId="323"/>
            <ac:spMk id="50" creationId="{00000000-0000-0000-0000-000000000000}"/>
          </ac:spMkLst>
        </pc:spChg>
        <pc:spChg chg="add mod">
          <ac:chgData name="Disselhoff, Tim" userId="3b8b5473-7050-4f60-8279-e72cc8538d43" providerId="ADAL" clId="{CCA19AA8-E561-4ABF-A3DE-4E4185DF6597}" dt="2021-08-04T16:58:26.995" v="350" actId="6549"/>
          <ac:spMkLst>
            <pc:docMk/>
            <pc:sldMk cId="1898009748" sldId="323"/>
            <ac:spMk id="57" creationId="{032DA3B0-62FE-4F4E-B071-20BA04E79277}"/>
          </ac:spMkLst>
        </pc:spChg>
        <pc:graphicFrameChg chg="mod">
          <ac:chgData name="Disselhoff, Tim" userId="3b8b5473-7050-4f60-8279-e72cc8538d43" providerId="ADAL" clId="{CCA19AA8-E561-4ABF-A3DE-4E4185DF6597}" dt="2021-08-04T16:58:10.435" v="343"/>
          <ac:graphicFrameMkLst>
            <pc:docMk/>
            <pc:sldMk cId="1898009748" sldId="323"/>
            <ac:graphicFrameMk id="8" creationId="{00000000-0000-0000-0000-000000000000}"/>
          </ac:graphicFrameMkLst>
        </pc:graphicFrameChg>
      </pc:sldChg>
      <pc:sldChg chg="addSp delSp modSp mod">
        <pc:chgData name="Disselhoff, Tim" userId="3b8b5473-7050-4f60-8279-e72cc8538d43" providerId="ADAL" clId="{CCA19AA8-E561-4ABF-A3DE-4E4185DF6597}" dt="2021-08-04T17:07:13.871" v="670" actId="20577"/>
        <pc:sldMkLst>
          <pc:docMk/>
          <pc:sldMk cId="2478619988" sldId="324"/>
        </pc:sldMkLst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2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4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5" creationId="{00000000-0000-0000-0000-000000000000}"/>
          </ac:spMkLst>
        </pc:spChg>
        <pc:spChg chg="add mod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6" creationId="{2CD5D56B-0E0A-4D56-9131-4C15B8347D4E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9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0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31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32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18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30.406" v="387" actId="478"/>
          <ac:spMkLst>
            <pc:docMk/>
            <pc:sldMk cId="2478619988" sldId="324"/>
            <ac:spMk id="122" creationId="{2FE41CDF-44BD-D742-B250-ACB134D777AC}"/>
          </ac:spMkLst>
        </pc:spChg>
        <pc:spChg chg="add mod">
          <ac:chgData name="Disselhoff, Tim" userId="3b8b5473-7050-4f60-8279-e72cc8538d43" providerId="ADAL" clId="{CCA19AA8-E561-4ABF-A3DE-4E4185DF6597}" dt="2021-08-04T17:05:39.523" v="407" actId="20577"/>
          <ac:spMkLst>
            <pc:docMk/>
            <pc:sldMk cId="2478619988" sldId="324"/>
            <ac:spMk id="126" creationId="{FD15D3BB-739A-4893-8E64-EB2EA46A14DC}"/>
          </ac:spMkLst>
        </pc:spChg>
        <pc:spChg chg="add mod">
          <ac:chgData name="Disselhoff, Tim" userId="3b8b5473-7050-4f60-8279-e72cc8538d43" providerId="ADAL" clId="{CCA19AA8-E561-4ABF-A3DE-4E4185DF6597}" dt="2021-08-04T17:07:13.871" v="670" actId="20577"/>
          <ac:spMkLst>
            <pc:docMk/>
            <pc:sldMk cId="2478619988" sldId="324"/>
            <ac:spMk id="127" creationId="{C3EBA988-1E74-4A81-B8B2-910EC11A5D4A}"/>
          </ac:spMkLst>
        </pc:spChg>
        <pc:spChg chg="del">
          <ac:chgData name="Disselhoff, Tim" userId="3b8b5473-7050-4f60-8279-e72cc8538d43" providerId="ADAL" clId="{CCA19AA8-E561-4ABF-A3DE-4E4185DF6597}" dt="2021-08-04T17:03:28.583" v="386" actId="478"/>
          <ac:spMkLst>
            <pc:docMk/>
            <pc:sldMk cId="2478619988" sldId="324"/>
            <ac:spMk id="133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34" creationId="{00000000-0000-0000-0000-000000000000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47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49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50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51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60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161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203" creationId="{DE91575A-3185-DE4E-BF38-E185B82E0FCB}"/>
          </ac:spMkLst>
        </pc:spChg>
        <pc:spChg chg="del">
          <ac:chgData name="Disselhoff, Tim" userId="3b8b5473-7050-4f60-8279-e72cc8538d43" providerId="ADAL" clId="{CCA19AA8-E561-4ABF-A3DE-4E4185DF6597}" dt="2021-08-04T17:03:23.548" v="385" actId="478"/>
          <ac:spMkLst>
            <pc:docMk/>
            <pc:sldMk cId="2478619988" sldId="324"/>
            <ac:spMk id="204" creationId="{DE91575A-3185-DE4E-BF38-E185B82E0FCB}"/>
          </ac:spMkLst>
        </pc:s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8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20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25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34" creationId="{083E4355-A20E-4DAC-B27D-F54C4D3B148D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40" creationId="{ADD1861F-955A-47C0-A199-B30FAF33822F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12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23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35" creationId="{00000000-0000-0000-0000-000000000000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52" creationId="{59F79B75-B6F4-4421-A9D7-553087D1C1C9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76" creationId="{BA6A66C4-6846-1943-B1EE-DB85329D95BB}"/>
          </ac:grpSpMkLst>
        </pc:grpChg>
        <pc:grpChg chg="del">
          <ac:chgData name="Disselhoff, Tim" userId="3b8b5473-7050-4f60-8279-e72cc8538d43" providerId="ADAL" clId="{CCA19AA8-E561-4ABF-A3DE-4E4185DF6597}" dt="2021-08-04T17:03:23.548" v="385" actId="478"/>
          <ac:grpSpMkLst>
            <pc:docMk/>
            <pc:sldMk cId="2478619988" sldId="324"/>
            <ac:grpSpMk id="179" creationId="{00000000-0000-0000-0000-000000000000}"/>
          </ac:grpSpMkLst>
        </pc:grpChg>
        <pc:picChg chg="add mod">
          <ac:chgData name="Disselhoff, Tim" userId="3b8b5473-7050-4f60-8279-e72cc8538d43" providerId="ADAL" clId="{CCA19AA8-E561-4ABF-A3DE-4E4185DF6597}" dt="2021-08-04T17:03:36.784" v="391" actId="14100"/>
          <ac:picMkLst>
            <pc:docMk/>
            <pc:sldMk cId="2478619988" sldId="324"/>
            <ac:picMk id="7" creationId="{D637B02C-1241-4F87-9008-6E645B750F60}"/>
          </ac:picMkLst>
        </pc:picChg>
        <pc:picChg chg="add mod">
          <ac:chgData name="Disselhoff, Tim" userId="3b8b5473-7050-4f60-8279-e72cc8538d43" providerId="ADAL" clId="{CCA19AA8-E561-4ABF-A3DE-4E4185DF6597}" dt="2021-08-04T17:05:32.481" v="402" actId="1076"/>
          <ac:picMkLst>
            <pc:docMk/>
            <pc:sldMk cId="2478619988" sldId="324"/>
            <ac:picMk id="17" creationId="{DC2C67D5-BF01-4131-84BB-7DD5EA94BB72}"/>
          </ac:picMkLst>
        </pc:picChg>
        <pc:cxnChg chg="del">
          <ac:chgData name="Disselhoff, Tim" userId="3b8b5473-7050-4f60-8279-e72cc8538d43" providerId="ADAL" clId="{CCA19AA8-E561-4ABF-A3DE-4E4185DF6597}" dt="2021-08-04T17:03:23.548" v="385" actId="478"/>
          <ac:cxnSpMkLst>
            <pc:docMk/>
            <pc:sldMk cId="2478619988" sldId="324"/>
            <ac:cxnSpMk id="23" creationId="{00000000-0000-0000-0000-000000000000}"/>
          </ac:cxnSpMkLst>
        </pc:cxnChg>
        <pc:cxnChg chg="del">
          <ac:chgData name="Disselhoff, Tim" userId="3b8b5473-7050-4f60-8279-e72cc8538d43" providerId="ADAL" clId="{CCA19AA8-E561-4ABF-A3DE-4E4185DF6597}" dt="2021-08-04T17:03:23.548" v="385" actId="478"/>
          <ac:cxnSpMkLst>
            <pc:docMk/>
            <pc:sldMk cId="2478619988" sldId="324"/>
            <ac:cxnSpMk id="132" creationId="{00000000-0000-0000-0000-000000000000}"/>
          </ac:cxnSpMkLst>
        </pc:cxnChg>
        <pc:cxnChg chg="del">
          <ac:chgData name="Disselhoff, Tim" userId="3b8b5473-7050-4f60-8279-e72cc8538d43" providerId="ADAL" clId="{CCA19AA8-E561-4ABF-A3DE-4E4185DF6597}" dt="2021-08-04T17:03:23.548" v="385" actId="478"/>
          <ac:cxnSpMkLst>
            <pc:docMk/>
            <pc:sldMk cId="2478619988" sldId="324"/>
            <ac:cxnSpMk id="145" creationId="{00000000-0000-0000-0000-000000000000}"/>
          </ac:cxnSpMkLst>
        </pc:cxnChg>
        <pc:cxnChg chg="del">
          <ac:chgData name="Disselhoff, Tim" userId="3b8b5473-7050-4f60-8279-e72cc8538d43" providerId="ADAL" clId="{CCA19AA8-E561-4ABF-A3DE-4E4185DF6597}" dt="2021-08-04T17:03:23.548" v="385" actId="478"/>
          <ac:cxnSpMkLst>
            <pc:docMk/>
            <pc:sldMk cId="2478619988" sldId="324"/>
            <ac:cxnSpMk id="146" creationId="{00000000-0000-0000-0000-000000000000}"/>
          </ac:cxnSpMkLst>
        </pc:cxnChg>
      </pc:sldChg>
      <pc:sldChg chg="del">
        <pc:chgData name="Disselhoff, Tim" userId="3b8b5473-7050-4f60-8279-e72cc8538d43" providerId="ADAL" clId="{CCA19AA8-E561-4ABF-A3DE-4E4185DF6597}" dt="2021-08-04T17:04:04.563" v="392" actId="47"/>
        <pc:sldMkLst>
          <pc:docMk/>
          <pc:sldMk cId="702527588" sldId="325"/>
        </pc:sldMkLst>
      </pc:sldChg>
      <pc:sldChg chg="del">
        <pc:chgData name="Disselhoff, Tim" userId="3b8b5473-7050-4f60-8279-e72cc8538d43" providerId="ADAL" clId="{CCA19AA8-E561-4ABF-A3DE-4E4185DF6597}" dt="2021-08-04T17:04:05.733" v="393" actId="47"/>
        <pc:sldMkLst>
          <pc:docMk/>
          <pc:sldMk cId="708594475" sldId="326"/>
        </pc:sldMkLst>
      </pc:sldChg>
      <pc:sldChg chg="del">
        <pc:chgData name="Disselhoff, Tim" userId="3b8b5473-7050-4f60-8279-e72cc8538d43" providerId="ADAL" clId="{CCA19AA8-E561-4ABF-A3DE-4E4185DF6597}" dt="2021-08-04T17:07:46.119" v="683" actId="47"/>
        <pc:sldMkLst>
          <pc:docMk/>
          <pc:sldMk cId="4185843318" sldId="327"/>
        </pc:sldMkLst>
      </pc:sldChg>
      <pc:sldChg chg="del">
        <pc:chgData name="Disselhoff, Tim" userId="3b8b5473-7050-4f60-8279-e72cc8538d43" providerId="ADAL" clId="{CCA19AA8-E561-4ABF-A3DE-4E4185DF6597}" dt="2021-08-04T17:07:47.246" v="684" actId="47"/>
        <pc:sldMkLst>
          <pc:docMk/>
          <pc:sldMk cId="1181782132" sldId="328"/>
        </pc:sldMkLst>
      </pc:sldChg>
      <pc:sldChg chg="addSp modSp mod">
        <pc:chgData name="Disselhoff, Tim" userId="3b8b5473-7050-4f60-8279-e72cc8538d43" providerId="ADAL" clId="{CCA19AA8-E561-4ABF-A3DE-4E4185DF6597}" dt="2021-08-04T17:04:30.236" v="399" actId="20577"/>
        <pc:sldMkLst>
          <pc:docMk/>
          <pc:sldMk cId="1476179359" sldId="329"/>
        </pc:sldMkLst>
        <pc:spChg chg="add mod">
          <ac:chgData name="Disselhoff, Tim" userId="3b8b5473-7050-4f60-8279-e72cc8538d43" providerId="ADAL" clId="{CCA19AA8-E561-4ABF-A3DE-4E4185DF6597}" dt="2021-08-04T17:04:30.236" v="399" actId="20577"/>
          <ac:spMkLst>
            <pc:docMk/>
            <pc:sldMk cId="1476179359" sldId="329"/>
            <ac:spMk id="115" creationId="{7C5DB1D4-1241-409F-9866-635850BB001E}"/>
          </ac:spMkLst>
        </pc:spChg>
      </pc:sldChg>
      <pc:sldChg chg="del">
        <pc:chgData name="Disselhoff, Tim" userId="3b8b5473-7050-4f60-8279-e72cc8538d43" providerId="ADAL" clId="{CCA19AA8-E561-4ABF-A3DE-4E4185DF6597}" dt="2021-08-04T17:04:13.176" v="394" actId="47"/>
        <pc:sldMkLst>
          <pc:docMk/>
          <pc:sldMk cId="154907587" sldId="330"/>
        </pc:sldMkLst>
      </pc:sldChg>
      <pc:sldChg chg="addSp modSp add ord">
        <pc:chgData name="Disselhoff, Tim" userId="3b8b5473-7050-4f60-8279-e72cc8538d43" providerId="ADAL" clId="{CCA19AA8-E561-4ABF-A3DE-4E4185DF6597}" dt="2021-08-04T17:07:43.239" v="682"/>
        <pc:sldMkLst>
          <pc:docMk/>
          <pc:sldMk cId="2166934528" sldId="424"/>
        </pc:sldMkLst>
        <pc:spChg chg="add mod">
          <ac:chgData name="Disselhoff, Tim" userId="3b8b5473-7050-4f60-8279-e72cc8538d43" providerId="ADAL" clId="{CCA19AA8-E561-4ABF-A3DE-4E4185DF6597}" dt="2021-08-04T17:07:43.239" v="682"/>
          <ac:spMkLst>
            <pc:docMk/>
            <pc:sldMk cId="2166934528" sldId="424"/>
            <ac:spMk id="373" creationId="{4CA4D3DD-916E-494B-AB4F-EFAAC0D4B3DD}"/>
          </ac:spMkLst>
        </pc:spChg>
      </pc:sldChg>
      <pc:sldChg chg="addSp modSp mod ord">
        <pc:chgData name="Disselhoff, Tim" userId="3b8b5473-7050-4f60-8279-e72cc8538d43" providerId="ADAL" clId="{CCA19AA8-E561-4ABF-A3DE-4E4185DF6597}" dt="2021-08-04T16:57:38.683" v="53" actId="20577"/>
        <pc:sldMkLst>
          <pc:docMk/>
          <pc:sldMk cId="310471931" sldId="1364"/>
        </pc:sldMkLst>
        <pc:spChg chg="add mod">
          <ac:chgData name="Disselhoff, Tim" userId="3b8b5473-7050-4f60-8279-e72cc8538d43" providerId="ADAL" clId="{CCA19AA8-E561-4ABF-A3DE-4E4185DF6597}" dt="2021-08-04T16:57:38.683" v="53" actId="20577"/>
          <ac:spMkLst>
            <pc:docMk/>
            <pc:sldMk cId="310471931" sldId="1364"/>
            <ac:spMk id="155" creationId="{2ECA1871-D577-4B91-8CD6-CAB2A51B7ACA}"/>
          </ac:spMkLst>
        </pc:spChg>
      </pc:sldChg>
      <pc:sldMasterChg chg="addSp delSp modSp mod">
        <pc:chgData name="Disselhoff, Tim" userId="3b8b5473-7050-4f60-8279-e72cc8538d43" providerId="ADAL" clId="{CCA19AA8-E561-4ABF-A3DE-4E4185DF6597}" dt="2021-08-04T16:58:04.453" v="200"/>
        <pc:sldMasterMkLst>
          <pc:docMk/>
          <pc:sldMasterMk cId="1269562786" sldId="2147484335"/>
        </pc:sldMasterMkLst>
        <pc:spChg chg="mod">
          <ac:chgData name="Disselhoff, Tim" userId="3b8b5473-7050-4f60-8279-e72cc8538d43" providerId="ADAL" clId="{CCA19AA8-E561-4ABF-A3DE-4E4185DF6597}" dt="2021-08-04T16:58:03.889" v="70" actId="948"/>
          <ac:spMkLst>
            <pc:docMk/>
            <pc:sldMasterMk cId="1269562786" sldId="2147484335"/>
            <ac:spMk id="2" creationId="{00000000-0000-0000-0000-000000000000}"/>
          </ac:spMkLst>
        </pc:spChg>
        <pc:spChg chg="add del mod modVis">
          <ac:chgData name="Disselhoff, Tim" userId="3b8b5473-7050-4f60-8279-e72cc8538d43" providerId="ADAL" clId="{CCA19AA8-E561-4ABF-A3DE-4E4185DF6597}" dt="2021-08-04T16:58:04.278" v="185"/>
          <ac:spMkLst>
            <pc:docMk/>
            <pc:sldMasterMk cId="1269562786" sldId="2147484335"/>
            <ac:spMk id="9" creationId="{C01EBFBC-E3EF-44FB-BB1F-EC291DDD4A23}"/>
          </ac:spMkLst>
        </pc:spChg>
        <pc:graphicFrameChg chg="add mod ord modVis">
          <ac:chgData name="Disselhoff, Tim" userId="3b8b5473-7050-4f60-8279-e72cc8538d43" providerId="ADAL" clId="{CCA19AA8-E561-4ABF-A3DE-4E4185DF6597}" dt="2021-08-04T16:58:04.453" v="200"/>
          <ac:graphicFrameMkLst>
            <pc:docMk/>
            <pc:sldMasterMk cId="1269562786" sldId="2147484335"/>
            <ac:graphicFrameMk id="10" creationId="{520BE8F3-D832-453D-9695-E871C8B35F8E}"/>
          </ac:graphicFrameMkLst>
        </pc:graphicFrameChg>
      </pc:sldMasterChg>
      <pc:sldMasterChg chg="addSp delSp modSp mod">
        <pc:chgData name="Disselhoff, Tim" userId="3b8b5473-7050-4f60-8279-e72cc8538d43" providerId="ADAL" clId="{CCA19AA8-E561-4ABF-A3DE-4E4185DF6597}" dt="2021-08-04T16:58:04.531" v="217"/>
        <pc:sldMasterMkLst>
          <pc:docMk/>
          <pc:sldMasterMk cId="1071388790" sldId="2147484360"/>
        </pc:sldMasterMkLst>
        <pc:spChg chg="mod">
          <ac:chgData name="Disselhoff, Tim" userId="3b8b5473-7050-4f60-8279-e72cc8538d43" providerId="ADAL" clId="{CCA19AA8-E561-4ABF-A3DE-4E4185DF6597}" dt="2021-08-04T16:58:04.025" v="108" actId="948"/>
          <ac:spMkLst>
            <pc:docMk/>
            <pc:sldMasterMk cId="1071388790" sldId="2147484360"/>
            <ac:spMk id="2" creationId="{00000000-0000-0000-0000-000000000000}"/>
          </ac:spMkLst>
        </pc:spChg>
        <pc:spChg chg="add del mod modVis">
          <ac:chgData name="Disselhoff, Tim" userId="3b8b5473-7050-4f60-8279-e72cc8538d43" providerId="ADAL" clId="{CCA19AA8-E561-4ABF-A3DE-4E4185DF6597}" dt="2021-08-04T16:58:04.455" v="202"/>
          <ac:spMkLst>
            <pc:docMk/>
            <pc:sldMasterMk cId="1071388790" sldId="2147484360"/>
            <ac:spMk id="9" creationId="{19C5BD62-3F88-4B41-9AF4-9BC5167F5D0A}"/>
          </ac:spMkLst>
        </pc:spChg>
        <pc:graphicFrameChg chg="add mod ord modVis">
          <ac:chgData name="Disselhoff, Tim" userId="3b8b5473-7050-4f60-8279-e72cc8538d43" providerId="ADAL" clId="{CCA19AA8-E561-4ABF-A3DE-4E4185DF6597}" dt="2021-08-04T16:58:04.531" v="217"/>
          <ac:graphicFrameMkLst>
            <pc:docMk/>
            <pc:sldMasterMk cId="1071388790" sldId="2147484360"/>
            <ac:graphicFrameMk id="10" creationId="{E67CD600-26AC-4F3C-8519-F8D2EF9182E9}"/>
          </ac:graphicFrameMkLst>
        </pc:graphicFrameChg>
      </pc:sldMasterChg>
    </pc:docChg>
  </pc:docChgLst>
  <pc:docChgLst>
    <pc:chgData name="Marion Schwaerzler" userId="0c8fe58b-5fc3-4d1d-8a76-f904196b68d5" providerId="ADAL" clId="{76CB1AA8-7C13-4EAF-8A89-B07379D9C92E}"/>
    <pc:docChg chg="undo custSel addSld delSld modSld sldOrd modMainMaster modSection">
      <pc:chgData name="Marion Schwaerzler" userId="0c8fe58b-5fc3-4d1d-8a76-f904196b68d5" providerId="ADAL" clId="{76CB1AA8-7C13-4EAF-8A89-B07379D9C92E}" dt="2021-08-20T16:01:44.084" v="1665" actId="47"/>
      <pc:docMkLst>
        <pc:docMk/>
      </pc:docMkLst>
      <pc:sldChg chg="modSp mod">
        <pc:chgData name="Marion Schwaerzler" userId="0c8fe58b-5fc3-4d1d-8a76-f904196b68d5" providerId="ADAL" clId="{76CB1AA8-7C13-4EAF-8A89-B07379D9C92E}" dt="2021-08-20T13:33:00.849" v="1664" actId="20577"/>
        <pc:sldMkLst>
          <pc:docMk/>
          <pc:sldMk cId="1520328920" sldId="265"/>
        </pc:sldMkLst>
        <pc:spChg chg="mod">
          <ac:chgData name="Marion Schwaerzler" userId="0c8fe58b-5fc3-4d1d-8a76-f904196b68d5" providerId="ADAL" clId="{76CB1AA8-7C13-4EAF-8A89-B07379D9C92E}" dt="2021-08-20T13:33:00.849" v="1664" actId="20577"/>
          <ac:spMkLst>
            <pc:docMk/>
            <pc:sldMk cId="1520328920" sldId="265"/>
            <ac:spMk id="2" creationId="{00000000-0000-0000-0000-000000000000}"/>
          </ac:spMkLst>
        </pc:spChg>
      </pc:sldChg>
      <pc:sldChg chg="ord">
        <pc:chgData name="Marion Schwaerzler" userId="0c8fe58b-5fc3-4d1d-8a76-f904196b68d5" providerId="ADAL" clId="{76CB1AA8-7C13-4EAF-8A89-B07379D9C92E}" dt="2021-08-17T10:10:39.479" v="249"/>
        <pc:sldMkLst>
          <pc:docMk/>
          <pc:sldMk cId="2114098762" sldId="297"/>
        </pc:sldMkLst>
      </pc:sldChg>
      <pc:sldChg chg="addSp delSp modSp del mod">
        <pc:chgData name="Marion Schwaerzler" userId="0c8fe58b-5fc3-4d1d-8a76-f904196b68d5" providerId="ADAL" clId="{76CB1AA8-7C13-4EAF-8A89-B07379D9C92E}" dt="2021-08-20T07:39:56.839" v="845" actId="47"/>
        <pc:sldMkLst>
          <pc:docMk/>
          <pc:sldMk cId="2281007010" sldId="315"/>
        </pc:sldMkLst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5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7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8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10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11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39:53.971" v="844" actId="478"/>
          <ac:spMkLst>
            <pc:docMk/>
            <pc:sldMk cId="2281007010" sldId="315"/>
            <ac:spMk id="13" creationId="{00000000-0000-0000-0000-000000000000}"/>
          </ac:spMkLst>
        </pc:spChg>
        <pc:spChg chg="add del mod">
          <ac:chgData name="Marion Schwaerzler" userId="0c8fe58b-5fc3-4d1d-8a76-f904196b68d5" providerId="ADAL" clId="{76CB1AA8-7C13-4EAF-8A89-B07379D9C92E}" dt="2021-08-20T07:36:29.305" v="660" actId="478"/>
          <ac:spMkLst>
            <pc:docMk/>
            <pc:sldMk cId="2281007010" sldId="315"/>
            <ac:spMk id="15" creationId="{61BC3B72-A9B8-47EB-A9D8-71B28886FA83}"/>
          </ac:spMkLst>
        </pc:spChg>
      </pc:sldChg>
      <pc:sldChg chg="del">
        <pc:chgData name="Marion Schwaerzler" userId="0c8fe58b-5fc3-4d1d-8a76-f904196b68d5" providerId="ADAL" clId="{76CB1AA8-7C13-4EAF-8A89-B07379D9C92E}" dt="2021-08-20T16:01:44.084" v="1665" actId="47"/>
        <pc:sldMkLst>
          <pc:docMk/>
          <pc:sldMk cId="1870198960" sldId="316"/>
        </pc:sldMkLst>
      </pc:sldChg>
      <pc:sldChg chg="del">
        <pc:chgData name="Marion Schwaerzler" userId="0c8fe58b-5fc3-4d1d-8a76-f904196b68d5" providerId="ADAL" clId="{76CB1AA8-7C13-4EAF-8A89-B07379D9C92E}" dt="2021-08-20T16:01:44.084" v="1665" actId="47"/>
        <pc:sldMkLst>
          <pc:docMk/>
          <pc:sldMk cId="3336045924" sldId="317"/>
        </pc:sldMkLst>
      </pc:sldChg>
      <pc:sldChg chg="del">
        <pc:chgData name="Marion Schwaerzler" userId="0c8fe58b-5fc3-4d1d-8a76-f904196b68d5" providerId="ADAL" clId="{76CB1AA8-7C13-4EAF-8A89-B07379D9C92E}" dt="2021-08-20T16:01:44.084" v="1665" actId="47"/>
        <pc:sldMkLst>
          <pc:docMk/>
          <pc:sldMk cId="1672293388" sldId="319"/>
        </pc:sldMkLst>
      </pc:sldChg>
      <pc:sldChg chg="modSp mod addCm modCm">
        <pc:chgData name="Marion Schwaerzler" userId="0c8fe58b-5fc3-4d1d-8a76-f904196b68d5" providerId="ADAL" clId="{76CB1AA8-7C13-4EAF-8A89-B07379D9C92E}" dt="2021-08-20T13:08:57.461" v="1652" actId="20577"/>
        <pc:sldMkLst>
          <pc:docMk/>
          <pc:sldMk cId="1898009748" sldId="323"/>
        </pc:sldMkLst>
        <pc:spChg chg="mod">
          <ac:chgData name="Marion Schwaerzler" userId="0c8fe58b-5fc3-4d1d-8a76-f904196b68d5" providerId="ADAL" clId="{76CB1AA8-7C13-4EAF-8A89-B07379D9C92E}" dt="2021-08-20T13:08:57.461" v="1652" actId="20577"/>
          <ac:spMkLst>
            <pc:docMk/>
            <pc:sldMk cId="1898009748" sldId="323"/>
            <ac:spMk id="3" creationId="{00000000-0000-0000-0000-000000000000}"/>
          </ac:spMkLst>
        </pc:spChg>
      </pc:sldChg>
      <pc:sldChg chg="modSp mod ord addCm delCm modCm">
        <pc:chgData name="Marion Schwaerzler" userId="0c8fe58b-5fc3-4d1d-8a76-f904196b68d5" providerId="ADAL" clId="{76CB1AA8-7C13-4EAF-8A89-B07379D9C92E}" dt="2021-08-20T12:45:10.974" v="1591" actId="20577"/>
        <pc:sldMkLst>
          <pc:docMk/>
          <pc:sldMk cId="310471931" sldId="1364"/>
        </pc:sldMkLst>
        <pc:spChg chg="mod">
          <ac:chgData name="Marion Schwaerzler" userId="0c8fe58b-5fc3-4d1d-8a76-f904196b68d5" providerId="ADAL" clId="{76CB1AA8-7C13-4EAF-8A89-B07379D9C92E}" dt="2021-08-20T07:43:43.722" v="960" actId="113"/>
          <ac:spMkLst>
            <pc:docMk/>
            <pc:sldMk cId="310471931" sldId="1364"/>
            <ac:spMk id="173" creationId="{00000000-0000-0000-0000-000000000000}"/>
          </ac:spMkLst>
        </pc:spChg>
        <pc:spChg chg="mod">
          <ac:chgData name="Marion Schwaerzler" userId="0c8fe58b-5fc3-4d1d-8a76-f904196b68d5" providerId="ADAL" clId="{76CB1AA8-7C13-4EAF-8A89-B07379D9C92E}" dt="2021-08-20T12:45:10.974" v="1591" actId="20577"/>
          <ac:spMkLst>
            <pc:docMk/>
            <pc:sldMk cId="310471931" sldId="1364"/>
            <ac:spMk id="176" creationId="{00000000-0000-0000-0000-000000000000}"/>
          </ac:spMkLst>
        </pc:spChg>
        <pc:spChg chg="mod">
          <ac:chgData name="Marion Schwaerzler" userId="0c8fe58b-5fc3-4d1d-8a76-f904196b68d5" providerId="ADAL" clId="{76CB1AA8-7C13-4EAF-8A89-B07379D9C92E}" dt="2021-08-20T07:43:16.568" v="954" actId="408"/>
          <ac:spMkLst>
            <pc:docMk/>
            <pc:sldMk cId="310471931" sldId="1364"/>
            <ac:spMk id="177" creationId="{00000000-0000-0000-0000-000000000000}"/>
          </ac:spMkLst>
        </pc:spChg>
        <pc:spChg chg="mod">
          <ac:chgData name="Marion Schwaerzler" userId="0c8fe58b-5fc3-4d1d-8a76-f904196b68d5" providerId="ADAL" clId="{76CB1AA8-7C13-4EAF-8A89-B07379D9C92E}" dt="2021-08-20T07:43:43.122" v="958" actId="113"/>
          <ac:spMkLst>
            <pc:docMk/>
            <pc:sldMk cId="310471931" sldId="1364"/>
            <ac:spMk id="179" creationId="{00000000-0000-0000-0000-000000000000}"/>
          </ac:spMkLst>
        </pc:spChg>
        <pc:grpChg chg="mod">
          <ac:chgData name="Marion Schwaerzler" userId="0c8fe58b-5fc3-4d1d-8a76-f904196b68d5" providerId="ADAL" clId="{76CB1AA8-7C13-4EAF-8A89-B07379D9C92E}" dt="2021-08-20T07:43:16.568" v="954" actId="408"/>
          <ac:grpSpMkLst>
            <pc:docMk/>
            <pc:sldMk cId="310471931" sldId="1364"/>
            <ac:grpSpMk id="172" creationId="{00000000-0000-0000-0000-000000000000}"/>
          </ac:grpSpMkLst>
        </pc:grpChg>
        <pc:grpChg chg="mod">
          <ac:chgData name="Marion Schwaerzler" userId="0c8fe58b-5fc3-4d1d-8a76-f904196b68d5" providerId="ADAL" clId="{76CB1AA8-7C13-4EAF-8A89-B07379D9C92E}" dt="2021-08-20T07:43:16.568" v="954" actId="408"/>
          <ac:grpSpMkLst>
            <pc:docMk/>
            <pc:sldMk cId="310471931" sldId="1364"/>
            <ac:grpSpMk id="175" creationId="{00000000-0000-0000-0000-000000000000}"/>
          </ac:grpSpMkLst>
        </pc:grpChg>
        <pc:grpChg chg="mod">
          <ac:chgData name="Marion Schwaerzler" userId="0c8fe58b-5fc3-4d1d-8a76-f904196b68d5" providerId="ADAL" clId="{76CB1AA8-7C13-4EAF-8A89-B07379D9C92E}" dt="2021-08-20T07:43:16.568" v="954" actId="408"/>
          <ac:grpSpMkLst>
            <pc:docMk/>
            <pc:sldMk cId="310471931" sldId="1364"/>
            <ac:grpSpMk id="178" creationId="{00000000-0000-0000-0000-000000000000}"/>
          </ac:grpSpMkLst>
        </pc:grpChg>
      </pc:sldChg>
      <pc:sldChg chg="delSp modSp mod addCm delCm modCm">
        <pc:chgData name="Marion Schwaerzler" userId="0c8fe58b-5fc3-4d1d-8a76-f904196b68d5" providerId="ADAL" clId="{76CB1AA8-7C13-4EAF-8A89-B07379D9C92E}" dt="2021-08-20T07:11:28.994" v="646" actId="1076"/>
        <pc:sldMkLst>
          <pc:docMk/>
          <pc:sldMk cId="2413811982" sldId="1374"/>
        </pc:sldMkLst>
        <pc:spChg chg="mod">
          <ac:chgData name="Marion Schwaerzler" userId="0c8fe58b-5fc3-4d1d-8a76-f904196b68d5" providerId="ADAL" clId="{76CB1AA8-7C13-4EAF-8A89-B07379D9C92E}" dt="2021-08-20T07:11:28.994" v="646" actId="1076"/>
          <ac:spMkLst>
            <pc:docMk/>
            <pc:sldMk cId="2413811982" sldId="1374"/>
            <ac:spMk id="10" creationId="{99AF477C-819D-4EC8-ABAC-E85411ED6544}"/>
          </ac:spMkLst>
        </pc:spChg>
        <pc:spChg chg="mod">
          <ac:chgData name="Marion Schwaerzler" userId="0c8fe58b-5fc3-4d1d-8a76-f904196b68d5" providerId="ADAL" clId="{76CB1AA8-7C13-4EAF-8A89-B07379D9C92E}" dt="2021-08-18T09:11:03.682" v="390" actId="20577"/>
          <ac:spMkLst>
            <pc:docMk/>
            <pc:sldMk cId="2413811982" sldId="1374"/>
            <ac:spMk id="13" creationId="{00000000-0000-0000-0000-000000000000}"/>
          </ac:spMkLst>
        </pc:spChg>
        <pc:spChg chg="mod">
          <ac:chgData name="Marion Schwaerzler" userId="0c8fe58b-5fc3-4d1d-8a76-f904196b68d5" providerId="ADAL" clId="{76CB1AA8-7C13-4EAF-8A89-B07379D9C92E}" dt="2021-08-19T06:43:19.315" v="528" actId="20577"/>
          <ac:spMkLst>
            <pc:docMk/>
            <pc:sldMk cId="2413811982" sldId="1374"/>
            <ac:spMk id="46" creationId="{00000000-0000-0000-0000-000000000000}"/>
          </ac:spMkLst>
        </pc:spChg>
        <pc:spChg chg="mod">
          <ac:chgData name="Marion Schwaerzler" userId="0c8fe58b-5fc3-4d1d-8a76-f904196b68d5" providerId="ADAL" clId="{76CB1AA8-7C13-4EAF-8A89-B07379D9C92E}" dt="2021-08-19T06:43:53.699" v="558" actId="20577"/>
          <ac:spMkLst>
            <pc:docMk/>
            <pc:sldMk cId="2413811982" sldId="1374"/>
            <ac:spMk id="51" creationId="{00000000-0000-0000-0000-000000000000}"/>
          </ac:spMkLst>
        </pc:spChg>
        <pc:spChg chg="del">
          <ac:chgData name="Marion Schwaerzler" userId="0c8fe58b-5fc3-4d1d-8a76-f904196b68d5" providerId="ADAL" clId="{76CB1AA8-7C13-4EAF-8A89-B07379D9C92E}" dt="2021-08-20T07:11:20.530" v="645" actId="478"/>
          <ac:spMkLst>
            <pc:docMk/>
            <pc:sldMk cId="2413811982" sldId="1374"/>
            <ac:spMk id="57" creationId="{032DA3B0-62FE-4F4E-B071-20BA04E79277}"/>
          </ac:spMkLst>
        </pc:spChg>
        <pc:picChg chg="mod">
          <ac:chgData name="Marion Schwaerzler" userId="0c8fe58b-5fc3-4d1d-8a76-f904196b68d5" providerId="ADAL" clId="{76CB1AA8-7C13-4EAF-8A89-B07379D9C92E}" dt="2021-08-17T10:53:53.353" v="364" actId="1076"/>
          <ac:picMkLst>
            <pc:docMk/>
            <pc:sldMk cId="2413811982" sldId="1374"/>
            <ac:picMk id="9" creationId="{00000000-0000-0000-0000-000000000000}"/>
          </ac:picMkLst>
        </pc:picChg>
      </pc:sldChg>
      <pc:sldChg chg="ord addCm delCm modCm">
        <pc:chgData name="Marion Schwaerzler" userId="0c8fe58b-5fc3-4d1d-8a76-f904196b68d5" providerId="ADAL" clId="{76CB1AA8-7C13-4EAF-8A89-B07379D9C92E}" dt="2021-08-19T06:34:42.849" v="503"/>
        <pc:sldMkLst>
          <pc:docMk/>
          <pc:sldMk cId="4234864324" sldId="1382"/>
        </pc:sldMkLst>
      </pc:sldChg>
      <pc:sldChg chg="modSp mod ord addCm delCm modCm">
        <pc:chgData name="Marion Schwaerzler" userId="0c8fe58b-5fc3-4d1d-8a76-f904196b68d5" providerId="ADAL" clId="{76CB1AA8-7C13-4EAF-8A89-B07379D9C92E}" dt="2021-08-20T12:49:40.325" v="1621" actId="20577"/>
        <pc:sldMkLst>
          <pc:docMk/>
          <pc:sldMk cId="3562638833" sldId="1383"/>
        </pc:sldMkLst>
        <pc:spChg chg="mod">
          <ac:chgData name="Marion Schwaerzler" userId="0c8fe58b-5fc3-4d1d-8a76-f904196b68d5" providerId="ADAL" clId="{76CB1AA8-7C13-4EAF-8A89-B07379D9C92E}" dt="2021-08-20T12:49:40.325" v="1621" actId="20577"/>
          <ac:spMkLst>
            <pc:docMk/>
            <pc:sldMk cId="3562638833" sldId="1383"/>
            <ac:spMk id="221" creationId="{CC575047-23B0-4426-82CA-BD0AC0262A43}"/>
          </ac:spMkLst>
        </pc:spChg>
      </pc:sldChg>
      <pc:sldChg chg="ord addCm modCm">
        <pc:chgData name="Marion Schwaerzler" userId="0c8fe58b-5fc3-4d1d-8a76-f904196b68d5" providerId="ADAL" clId="{76CB1AA8-7C13-4EAF-8A89-B07379D9C92E}" dt="2021-08-17T10:43:50.748" v="338"/>
        <pc:sldMkLst>
          <pc:docMk/>
          <pc:sldMk cId="1744785689" sldId="1384"/>
        </pc:sldMkLst>
      </pc:sldChg>
      <pc:sldChg chg="ord">
        <pc:chgData name="Marion Schwaerzler" userId="0c8fe58b-5fc3-4d1d-8a76-f904196b68d5" providerId="ADAL" clId="{76CB1AA8-7C13-4EAF-8A89-B07379D9C92E}" dt="2021-08-17T10:09:46.617" v="247"/>
        <pc:sldMkLst>
          <pc:docMk/>
          <pc:sldMk cId="1589727582" sldId="1385"/>
        </pc:sldMkLst>
      </pc:sldChg>
      <pc:sldChg chg="del addCm modCm">
        <pc:chgData name="Marion Schwaerzler" userId="0c8fe58b-5fc3-4d1d-8a76-f904196b68d5" providerId="ADAL" clId="{76CB1AA8-7C13-4EAF-8A89-B07379D9C92E}" dt="2021-08-20T16:01:44.084" v="1665" actId="47"/>
        <pc:sldMkLst>
          <pc:docMk/>
          <pc:sldMk cId="925981991" sldId="1392"/>
        </pc:sldMkLst>
      </pc:sldChg>
      <pc:sldChg chg="addSp delSp modSp new mod modAnim addCm delCm modCm">
        <pc:chgData name="Marion Schwaerzler" userId="0c8fe58b-5fc3-4d1d-8a76-f904196b68d5" providerId="ADAL" clId="{76CB1AA8-7C13-4EAF-8A89-B07379D9C92E}" dt="2021-08-20T07:33:02.029" v="657" actId="1592"/>
        <pc:sldMkLst>
          <pc:docMk/>
          <pc:sldMk cId="4248152859" sldId="1396"/>
        </pc:sldMkLst>
        <pc:spChg chg="mod">
          <ac:chgData name="Marion Schwaerzler" userId="0c8fe58b-5fc3-4d1d-8a76-f904196b68d5" providerId="ADAL" clId="{76CB1AA8-7C13-4EAF-8A89-B07379D9C92E}" dt="2021-08-17T10:40:36.569" v="325" actId="20577"/>
          <ac:spMkLst>
            <pc:docMk/>
            <pc:sldMk cId="4248152859" sldId="1396"/>
            <ac:spMk id="3" creationId="{567BCFD8-3197-45E3-AFB0-5778CECB5C0A}"/>
          </ac:spMkLst>
        </pc:spChg>
        <pc:spChg chg="add mod">
          <ac:chgData name="Marion Schwaerzler" userId="0c8fe58b-5fc3-4d1d-8a76-f904196b68d5" providerId="ADAL" clId="{76CB1AA8-7C13-4EAF-8A89-B07379D9C92E}" dt="2021-08-19T08:30:45.294" v="621" actId="1076"/>
          <ac:spMkLst>
            <pc:docMk/>
            <pc:sldMk cId="4248152859" sldId="1396"/>
            <ac:spMk id="44" creationId="{D0AD5DA8-44AD-491C-A0A5-6A30CA0A1E08}"/>
          </ac:spMkLst>
        </pc:spChg>
        <pc:spChg chg="mod">
          <ac:chgData name="Marion Schwaerzler" userId="0c8fe58b-5fc3-4d1d-8a76-f904196b68d5" providerId="ADAL" clId="{76CB1AA8-7C13-4EAF-8A89-B07379D9C92E}" dt="2021-08-19T08:29:57.722" v="572" actId="113"/>
          <ac:spMkLst>
            <pc:docMk/>
            <pc:sldMk cId="4248152859" sldId="1396"/>
            <ac:spMk id="54" creationId="{DF3E377B-79C2-4122-9372-756061CB0942}"/>
          </ac:spMkLst>
        </pc:spChg>
        <pc:spChg chg="add del mod">
          <ac:chgData name="Marion Schwaerzler" userId="0c8fe58b-5fc3-4d1d-8a76-f904196b68d5" providerId="ADAL" clId="{76CB1AA8-7C13-4EAF-8A89-B07379D9C92E}" dt="2021-08-19T12:07:42.050" v="625" actId="478"/>
          <ac:spMkLst>
            <pc:docMk/>
            <pc:sldMk cId="4248152859" sldId="1396"/>
            <ac:spMk id="64" creationId="{73F48131-9E45-42D6-8362-C41B30F658C7}"/>
          </ac:spMkLst>
        </pc:spChg>
      </pc:sldChg>
      <pc:sldChg chg="add addCm modCm">
        <pc:chgData name="Marion Schwaerzler" userId="0c8fe58b-5fc3-4d1d-8a76-f904196b68d5" providerId="ADAL" clId="{76CB1AA8-7C13-4EAF-8A89-B07379D9C92E}" dt="2021-08-17T10:57:38.609" v="374"/>
        <pc:sldMkLst>
          <pc:docMk/>
          <pc:sldMk cId="4200342970" sldId="1397"/>
        </pc:sldMkLst>
      </pc:sldChg>
      <pc:sldChg chg="modSp add mod">
        <pc:chgData name="Marion Schwaerzler" userId="0c8fe58b-5fc3-4d1d-8a76-f904196b68d5" providerId="ADAL" clId="{76CB1AA8-7C13-4EAF-8A89-B07379D9C92E}" dt="2021-08-17T10:46:17.375" v="351" actId="20577"/>
        <pc:sldMkLst>
          <pc:docMk/>
          <pc:sldMk cId="4215785900" sldId="1398"/>
        </pc:sldMkLst>
        <pc:spChg chg="mod">
          <ac:chgData name="Marion Schwaerzler" userId="0c8fe58b-5fc3-4d1d-8a76-f904196b68d5" providerId="ADAL" clId="{76CB1AA8-7C13-4EAF-8A89-B07379D9C92E}" dt="2021-08-17T10:46:17.375" v="351" actId="20577"/>
          <ac:spMkLst>
            <pc:docMk/>
            <pc:sldMk cId="4215785900" sldId="1398"/>
            <ac:spMk id="2" creationId="{00000000-0000-0000-0000-000000000000}"/>
          </ac:spMkLst>
        </pc:spChg>
      </pc:sldChg>
      <pc:sldChg chg="modSp">
        <pc:chgData name="Marion Schwaerzler" userId="0c8fe58b-5fc3-4d1d-8a76-f904196b68d5" providerId="ADAL" clId="{76CB1AA8-7C13-4EAF-8A89-B07379D9C92E}" dt="2021-08-19T06:37:56.715" v="510" actId="20577"/>
        <pc:sldMkLst>
          <pc:docMk/>
          <pc:sldMk cId="234401530" sldId="1399"/>
        </pc:sldMkLst>
        <pc:spChg chg="mod">
          <ac:chgData name="Marion Schwaerzler" userId="0c8fe58b-5fc3-4d1d-8a76-f904196b68d5" providerId="ADAL" clId="{76CB1AA8-7C13-4EAF-8A89-B07379D9C92E}" dt="2021-08-19T06:37:56.715" v="510" actId="20577"/>
          <ac:spMkLst>
            <pc:docMk/>
            <pc:sldMk cId="234401530" sldId="1399"/>
            <ac:spMk id="40" creationId="{00000000-0000-0000-0000-000000000000}"/>
          </ac:spMkLst>
        </pc:spChg>
      </pc:sldChg>
      <pc:sldChg chg="del ord addCm modCm">
        <pc:chgData name="Marion Schwaerzler" userId="0c8fe58b-5fc3-4d1d-8a76-f904196b68d5" providerId="ADAL" clId="{76CB1AA8-7C13-4EAF-8A89-B07379D9C92E}" dt="2021-08-20T16:01:44.084" v="1665" actId="47"/>
        <pc:sldMkLst>
          <pc:docMk/>
          <pc:sldMk cId="619777106" sldId="1400"/>
        </pc:sldMkLst>
      </pc:sldChg>
      <pc:sldChg chg="del">
        <pc:chgData name="Marion Schwaerzler" userId="0c8fe58b-5fc3-4d1d-8a76-f904196b68d5" providerId="ADAL" clId="{76CB1AA8-7C13-4EAF-8A89-B07379D9C92E}" dt="2021-08-20T16:01:44.084" v="1665" actId="47"/>
        <pc:sldMkLst>
          <pc:docMk/>
          <pc:sldMk cId="680973599" sldId="1401"/>
        </pc:sldMkLst>
      </pc:sldChg>
      <pc:sldChg chg="modSp mod">
        <pc:chgData name="Marion Schwaerzler" userId="0c8fe58b-5fc3-4d1d-8a76-f904196b68d5" providerId="ADAL" clId="{76CB1AA8-7C13-4EAF-8A89-B07379D9C92E}" dt="2021-08-20T07:48:16.022" v="987" actId="20577"/>
        <pc:sldMkLst>
          <pc:docMk/>
          <pc:sldMk cId="84074268" sldId="1402"/>
        </pc:sldMkLst>
        <pc:graphicFrameChg chg="modGraphic">
          <ac:chgData name="Marion Schwaerzler" userId="0c8fe58b-5fc3-4d1d-8a76-f904196b68d5" providerId="ADAL" clId="{76CB1AA8-7C13-4EAF-8A89-B07379D9C92E}" dt="2021-08-20T07:48:16.022" v="987" actId="20577"/>
          <ac:graphicFrameMkLst>
            <pc:docMk/>
            <pc:sldMk cId="84074268" sldId="1402"/>
            <ac:graphicFrameMk id="18" creationId="{00000000-0000-0000-0000-000000000000}"/>
          </ac:graphicFrameMkLst>
        </pc:graphicFrameChg>
      </pc:sldChg>
      <pc:sldChg chg="ord addCm delCm modCm">
        <pc:chgData name="Marion Schwaerzler" userId="0c8fe58b-5fc3-4d1d-8a76-f904196b68d5" providerId="ADAL" clId="{76CB1AA8-7C13-4EAF-8A89-B07379D9C92E}" dt="2021-08-20T07:09:34.636" v="640" actId="1592"/>
        <pc:sldMkLst>
          <pc:docMk/>
          <pc:sldMk cId="3939178323" sldId="1404"/>
        </pc:sldMkLst>
      </pc:sldChg>
      <pc:sldChg chg="addCm modCm">
        <pc:chgData name="Marion Schwaerzler" userId="0c8fe58b-5fc3-4d1d-8a76-f904196b68d5" providerId="ADAL" clId="{76CB1AA8-7C13-4EAF-8A89-B07379D9C92E}" dt="2021-08-19T06:37:45.115" v="509"/>
        <pc:sldMkLst>
          <pc:docMk/>
          <pc:sldMk cId="3408530197" sldId="1405"/>
        </pc:sldMkLst>
      </pc:sldChg>
      <pc:sldChg chg="del">
        <pc:chgData name="Marion Schwaerzler" userId="0c8fe58b-5fc3-4d1d-8a76-f904196b68d5" providerId="ADAL" clId="{76CB1AA8-7C13-4EAF-8A89-B07379D9C92E}" dt="2021-08-20T16:01:44.084" v="1665" actId="47"/>
        <pc:sldMkLst>
          <pc:docMk/>
          <pc:sldMk cId="866060108" sldId="1422"/>
        </pc:sldMkLst>
      </pc:sldChg>
      <pc:sldChg chg="addSp delSp modSp mod">
        <pc:chgData name="Marion Schwaerzler" userId="0c8fe58b-5fc3-4d1d-8a76-f904196b68d5" providerId="ADAL" clId="{76CB1AA8-7C13-4EAF-8A89-B07379D9C92E}" dt="2021-08-20T09:16:24.388" v="1459"/>
        <pc:sldMkLst>
          <pc:docMk/>
          <pc:sldMk cId="1534521532" sldId="1423"/>
        </pc:sldMkLst>
        <pc:spChg chg="add del mod">
          <ac:chgData name="Marion Schwaerzler" userId="0c8fe58b-5fc3-4d1d-8a76-f904196b68d5" providerId="ADAL" clId="{76CB1AA8-7C13-4EAF-8A89-B07379D9C92E}" dt="2021-08-20T07:58:54.698" v="1216"/>
          <ac:spMkLst>
            <pc:docMk/>
            <pc:sldMk cId="1534521532" sldId="1423"/>
            <ac:spMk id="401" creationId="{3055073B-4F0B-4369-891C-00BD39079129}"/>
          </ac:spMkLst>
        </pc:spChg>
        <pc:spChg chg="add del mod">
          <ac:chgData name="Marion Schwaerzler" userId="0c8fe58b-5fc3-4d1d-8a76-f904196b68d5" providerId="ADAL" clId="{76CB1AA8-7C13-4EAF-8A89-B07379D9C92E}" dt="2021-08-20T09:16:20.035" v="1458" actId="478"/>
          <ac:spMkLst>
            <pc:docMk/>
            <pc:sldMk cId="1534521532" sldId="1423"/>
            <ac:spMk id="403" creationId="{42F8CF63-6F4B-49B7-863B-4DB89DCF43BA}"/>
          </ac:spMkLst>
        </pc:spChg>
        <pc:spChg chg="add mod">
          <ac:chgData name="Marion Schwaerzler" userId="0c8fe58b-5fc3-4d1d-8a76-f904196b68d5" providerId="ADAL" clId="{76CB1AA8-7C13-4EAF-8A89-B07379D9C92E}" dt="2021-08-20T09:16:24.388" v="1459"/>
          <ac:spMkLst>
            <pc:docMk/>
            <pc:sldMk cId="1534521532" sldId="1423"/>
            <ac:spMk id="406" creationId="{98F9967C-18AB-4EE4-AF3D-65C369EBFB8B}"/>
          </ac:spMkLst>
        </pc:spChg>
      </pc:sldChg>
      <pc:sldChg chg="modSp mod addCm modCm">
        <pc:chgData name="Marion Schwaerzler" userId="0c8fe58b-5fc3-4d1d-8a76-f904196b68d5" providerId="ADAL" clId="{76CB1AA8-7C13-4EAF-8A89-B07379D9C92E}" dt="2021-08-20T07:49:32.572" v="990" actId="33524"/>
        <pc:sldMkLst>
          <pc:docMk/>
          <pc:sldMk cId="2535685321" sldId="1424"/>
        </pc:sldMkLst>
        <pc:spChg chg="mod">
          <ac:chgData name="Marion Schwaerzler" userId="0c8fe58b-5fc3-4d1d-8a76-f904196b68d5" providerId="ADAL" clId="{76CB1AA8-7C13-4EAF-8A89-B07379D9C92E}" dt="2021-08-20T07:49:32.572" v="990" actId="33524"/>
          <ac:spMkLst>
            <pc:docMk/>
            <pc:sldMk cId="2535685321" sldId="1424"/>
            <ac:spMk id="2" creationId="{78D159F1-0A23-447B-BF2D-08A04305ACFA}"/>
          </ac:spMkLst>
        </pc:spChg>
      </pc:sldChg>
      <pc:sldChg chg="addSp modSp mod">
        <pc:chgData name="Marion Schwaerzler" userId="0c8fe58b-5fc3-4d1d-8a76-f904196b68d5" providerId="ADAL" clId="{76CB1AA8-7C13-4EAF-8A89-B07379D9C92E}" dt="2021-08-20T09:17:11.571" v="1461" actId="14100"/>
        <pc:sldMkLst>
          <pc:docMk/>
          <pc:sldMk cId="3195726506" sldId="1431"/>
        </pc:sldMkLst>
        <pc:spChg chg="add mod">
          <ac:chgData name="Marion Schwaerzler" userId="0c8fe58b-5fc3-4d1d-8a76-f904196b68d5" providerId="ADAL" clId="{76CB1AA8-7C13-4EAF-8A89-B07379D9C92E}" dt="2021-08-20T09:17:11.571" v="1461" actId="14100"/>
          <ac:spMkLst>
            <pc:docMk/>
            <pc:sldMk cId="3195726506" sldId="1431"/>
            <ac:spMk id="6" creationId="{4B15A767-AF82-45CC-AC7B-08A1BFD8B894}"/>
          </ac:spMkLst>
        </pc:spChg>
        <pc:spChg chg="mod">
          <ac:chgData name="Marion Schwaerzler" userId="0c8fe58b-5fc3-4d1d-8a76-f904196b68d5" providerId="ADAL" clId="{76CB1AA8-7C13-4EAF-8A89-B07379D9C92E}" dt="2021-08-20T07:15:04.678" v="656" actId="14100"/>
          <ac:spMkLst>
            <pc:docMk/>
            <pc:sldMk cId="3195726506" sldId="1431"/>
            <ac:spMk id="391" creationId="{1E4BADD7-C881-4FCB-89CB-793380A20238}"/>
          </ac:spMkLst>
        </pc:spChg>
      </pc:sldChg>
      <pc:sldChg chg="modSp del mod addCm modCm">
        <pc:chgData name="Marion Schwaerzler" userId="0c8fe58b-5fc3-4d1d-8a76-f904196b68d5" providerId="ADAL" clId="{76CB1AA8-7C13-4EAF-8A89-B07379D9C92E}" dt="2021-08-20T16:01:44.084" v="1665" actId="47"/>
        <pc:sldMkLst>
          <pc:docMk/>
          <pc:sldMk cId="4178214091" sldId="1432"/>
        </pc:sldMkLst>
        <pc:spChg chg="mod">
          <ac:chgData name="Marion Schwaerzler" userId="0c8fe58b-5fc3-4d1d-8a76-f904196b68d5" providerId="ADAL" clId="{76CB1AA8-7C13-4EAF-8A89-B07379D9C92E}" dt="2021-08-20T09:29:38.522" v="1585" actId="20577"/>
          <ac:spMkLst>
            <pc:docMk/>
            <pc:sldMk cId="4178214091" sldId="1432"/>
            <ac:spMk id="79" creationId="{3529756E-1C38-4183-8076-0F76E9542B1D}"/>
          </ac:spMkLst>
        </pc:spChg>
      </pc:sldChg>
      <pc:sldChg chg="modSp mod">
        <pc:chgData name="Marion Schwaerzler" userId="0c8fe58b-5fc3-4d1d-8a76-f904196b68d5" providerId="ADAL" clId="{76CB1AA8-7C13-4EAF-8A89-B07379D9C92E}" dt="2021-08-20T07:13:22.441" v="647" actId="33524"/>
        <pc:sldMkLst>
          <pc:docMk/>
          <pc:sldMk cId="10542637" sldId="1433"/>
        </pc:sldMkLst>
        <pc:spChg chg="mod">
          <ac:chgData name="Marion Schwaerzler" userId="0c8fe58b-5fc3-4d1d-8a76-f904196b68d5" providerId="ADAL" clId="{76CB1AA8-7C13-4EAF-8A89-B07379D9C92E}" dt="2021-08-20T07:13:22.441" v="647" actId="33524"/>
          <ac:spMkLst>
            <pc:docMk/>
            <pc:sldMk cId="10542637" sldId="1433"/>
            <ac:spMk id="2" creationId="{01329974-8EEC-4BBB-80C0-AC6CC4E178EF}"/>
          </ac:spMkLst>
        </pc:spChg>
      </pc:sldChg>
      <pc:sldChg chg="new addCm modCm">
        <pc:chgData name="Marion Schwaerzler" userId="0c8fe58b-5fc3-4d1d-8a76-f904196b68d5" providerId="ADAL" clId="{76CB1AA8-7C13-4EAF-8A89-B07379D9C92E}" dt="2021-08-19T06:47:26.882" v="568"/>
        <pc:sldMkLst>
          <pc:docMk/>
          <pc:sldMk cId="1290074459" sldId="1433"/>
        </pc:sldMkLst>
      </pc:sldChg>
      <pc:sldChg chg="new del">
        <pc:chgData name="Marion Schwaerzler" userId="0c8fe58b-5fc3-4d1d-8a76-f904196b68d5" providerId="ADAL" clId="{76CB1AA8-7C13-4EAF-8A89-B07379D9C92E}" dt="2021-08-19T06:46:38.348" v="565" actId="680"/>
        <pc:sldMkLst>
          <pc:docMk/>
          <pc:sldMk cId="3609473319" sldId="1433"/>
        </pc:sldMkLst>
      </pc:sldChg>
      <pc:sldChg chg="modSp mod">
        <pc:chgData name="Marion Schwaerzler" userId="0c8fe58b-5fc3-4d1d-8a76-f904196b68d5" providerId="ADAL" clId="{76CB1AA8-7C13-4EAF-8A89-B07379D9C92E}" dt="2021-08-20T07:49:25.655" v="989" actId="33524"/>
        <pc:sldMkLst>
          <pc:docMk/>
          <pc:sldMk cId="542229873" sldId="1435"/>
        </pc:sldMkLst>
        <pc:spChg chg="mod">
          <ac:chgData name="Marion Schwaerzler" userId="0c8fe58b-5fc3-4d1d-8a76-f904196b68d5" providerId="ADAL" clId="{76CB1AA8-7C13-4EAF-8A89-B07379D9C92E}" dt="2021-08-20T07:49:25.655" v="989" actId="33524"/>
          <ac:spMkLst>
            <pc:docMk/>
            <pc:sldMk cId="542229873" sldId="1435"/>
            <ac:spMk id="2" creationId="{78D159F1-0A23-447B-BF2D-08A04305ACFA}"/>
          </ac:spMkLst>
        </pc:spChg>
      </pc:sldChg>
      <pc:sldChg chg="del ord">
        <pc:chgData name="Marion Schwaerzler" userId="0c8fe58b-5fc3-4d1d-8a76-f904196b68d5" providerId="ADAL" clId="{76CB1AA8-7C13-4EAF-8A89-B07379D9C92E}" dt="2021-08-20T16:01:44.084" v="1665" actId="47"/>
        <pc:sldMkLst>
          <pc:docMk/>
          <pc:sldMk cId="1364598181" sldId="1437"/>
        </pc:sldMkLst>
      </pc:sldChg>
      <pc:sldChg chg="addSp delSp modSp mod">
        <pc:chgData name="Marion Schwaerzler" userId="0c8fe58b-5fc3-4d1d-8a76-f904196b68d5" providerId="ADAL" clId="{76CB1AA8-7C13-4EAF-8A89-B07379D9C92E}" dt="2021-08-20T09:18:44.805" v="1484" actId="20577"/>
        <pc:sldMkLst>
          <pc:docMk/>
          <pc:sldMk cId="2847420344" sldId="1438"/>
        </pc:sldMkLst>
        <pc:spChg chg="mod">
          <ac:chgData name="Marion Schwaerzler" userId="0c8fe58b-5fc3-4d1d-8a76-f904196b68d5" providerId="ADAL" clId="{76CB1AA8-7C13-4EAF-8A89-B07379D9C92E}" dt="2021-08-20T09:10:21.355" v="1298" actId="255"/>
          <ac:spMkLst>
            <pc:docMk/>
            <pc:sldMk cId="2847420344" sldId="1438"/>
            <ac:spMk id="380" creationId="{976FEFBE-15E3-4128-B1C3-B3E547018FC4}"/>
          </ac:spMkLst>
        </pc:spChg>
        <pc:spChg chg="add del mod">
          <ac:chgData name="Marion Schwaerzler" userId="0c8fe58b-5fc3-4d1d-8a76-f904196b68d5" providerId="ADAL" clId="{76CB1AA8-7C13-4EAF-8A89-B07379D9C92E}" dt="2021-08-20T09:09:51.455" v="1278" actId="478"/>
          <ac:spMkLst>
            <pc:docMk/>
            <pc:sldMk cId="2847420344" sldId="1438"/>
            <ac:spMk id="391" creationId="{7BDCF6EC-BBBB-4C0F-B213-5557BB8B49B9}"/>
          </ac:spMkLst>
        </pc:spChg>
        <pc:spChg chg="add mod">
          <ac:chgData name="Marion Schwaerzler" userId="0c8fe58b-5fc3-4d1d-8a76-f904196b68d5" providerId="ADAL" clId="{76CB1AA8-7C13-4EAF-8A89-B07379D9C92E}" dt="2021-08-20T09:18:44.805" v="1484" actId="20577"/>
          <ac:spMkLst>
            <pc:docMk/>
            <pc:sldMk cId="2847420344" sldId="1438"/>
            <ac:spMk id="393" creationId="{50E65A04-2804-4F07-8BB1-7BA2E34A3017}"/>
          </ac:spMkLst>
        </pc:spChg>
      </pc:sldChg>
      <pc:sldChg chg="addSp delSp modSp mod">
        <pc:chgData name="Marion Schwaerzler" userId="0c8fe58b-5fc3-4d1d-8a76-f904196b68d5" providerId="ADAL" clId="{76CB1AA8-7C13-4EAF-8A89-B07379D9C92E}" dt="2021-08-20T09:19:10.671" v="1494" actId="33524"/>
        <pc:sldMkLst>
          <pc:docMk/>
          <pc:sldMk cId="1082020451" sldId="1439"/>
        </pc:sldMkLst>
        <pc:spChg chg="add del mod">
          <ac:chgData name="Marion Schwaerzler" userId="0c8fe58b-5fc3-4d1d-8a76-f904196b68d5" providerId="ADAL" clId="{76CB1AA8-7C13-4EAF-8A89-B07379D9C92E}" dt="2021-08-20T07:56:15.072" v="1130" actId="478"/>
          <ac:spMkLst>
            <pc:docMk/>
            <pc:sldMk cId="1082020451" sldId="1439"/>
            <ac:spMk id="391" creationId="{843D1E9D-35F0-4943-AE08-167C33856123}"/>
          </ac:spMkLst>
        </pc:spChg>
        <pc:spChg chg="add del mod">
          <ac:chgData name="Marion Schwaerzler" userId="0c8fe58b-5fc3-4d1d-8a76-f904196b68d5" providerId="ADAL" clId="{76CB1AA8-7C13-4EAF-8A89-B07379D9C92E}" dt="2021-08-20T09:10:50.038" v="1299" actId="478"/>
          <ac:spMkLst>
            <pc:docMk/>
            <pc:sldMk cId="1082020451" sldId="1439"/>
            <ac:spMk id="393" creationId="{715B86FB-F364-4B01-8EB7-C8D28ED5169C}"/>
          </ac:spMkLst>
        </pc:spChg>
        <pc:spChg chg="add del mod">
          <ac:chgData name="Marion Schwaerzler" userId="0c8fe58b-5fc3-4d1d-8a76-f904196b68d5" providerId="ADAL" clId="{76CB1AA8-7C13-4EAF-8A89-B07379D9C92E}" dt="2021-08-20T09:19:00.142" v="1485" actId="478"/>
          <ac:spMkLst>
            <pc:docMk/>
            <pc:sldMk cId="1082020451" sldId="1439"/>
            <ac:spMk id="395" creationId="{BD50DF91-63A0-41F1-BB89-8D3C49A28E4D}"/>
          </ac:spMkLst>
        </pc:spChg>
        <pc:spChg chg="add mod">
          <ac:chgData name="Marion Schwaerzler" userId="0c8fe58b-5fc3-4d1d-8a76-f904196b68d5" providerId="ADAL" clId="{76CB1AA8-7C13-4EAF-8A89-B07379D9C92E}" dt="2021-08-20T09:19:10.671" v="1494" actId="33524"/>
          <ac:spMkLst>
            <pc:docMk/>
            <pc:sldMk cId="1082020451" sldId="1439"/>
            <ac:spMk id="398" creationId="{91066C66-D334-47DD-9E1D-722DAAE67821}"/>
          </ac:spMkLst>
        </pc:spChg>
      </pc:sldChg>
      <pc:sldChg chg="addSp delSp modSp mod">
        <pc:chgData name="Marion Schwaerzler" userId="0c8fe58b-5fc3-4d1d-8a76-f904196b68d5" providerId="ADAL" clId="{76CB1AA8-7C13-4EAF-8A89-B07379D9C92E}" dt="2021-08-20T09:19:20.088" v="1496"/>
        <pc:sldMkLst>
          <pc:docMk/>
          <pc:sldMk cId="2020677306" sldId="1440"/>
        </pc:sldMkLst>
        <pc:spChg chg="add del mod">
          <ac:chgData name="Marion Schwaerzler" userId="0c8fe58b-5fc3-4d1d-8a76-f904196b68d5" providerId="ADAL" clId="{76CB1AA8-7C13-4EAF-8A89-B07379D9C92E}" dt="2021-08-20T07:57:56.871" v="1164" actId="478"/>
          <ac:spMkLst>
            <pc:docMk/>
            <pc:sldMk cId="2020677306" sldId="1440"/>
            <ac:spMk id="379" creationId="{314C6880-72A6-47B0-8935-5545A2704519}"/>
          </ac:spMkLst>
        </pc:spChg>
        <pc:spChg chg="mod">
          <ac:chgData name="Marion Schwaerzler" userId="0c8fe58b-5fc3-4d1d-8a76-f904196b68d5" providerId="ADAL" clId="{76CB1AA8-7C13-4EAF-8A89-B07379D9C92E}" dt="2021-08-20T09:15:36.955" v="1432" actId="20577"/>
          <ac:spMkLst>
            <pc:docMk/>
            <pc:sldMk cId="2020677306" sldId="1440"/>
            <ac:spMk id="380" creationId="{19F3C8C7-18DB-4614-89AB-7371B1F5E669}"/>
          </ac:spMkLst>
        </pc:spChg>
        <pc:spChg chg="add del mod">
          <ac:chgData name="Marion Schwaerzler" userId="0c8fe58b-5fc3-4d1d-8a76-f904196b68d5" providerId="ADAL" clId="{76CB1AA8-7C13-4EAF-8A89-B07379D9C92E}" dt="2021-08-20T09:15:50.389" v="1433" actId="478"/>
          <ac:spMkLst>
            <pc:docMk/>
            <pc:sldMk cId="2020677306" sldId="1440"/>
            <ac:spMk id="394" creationId="{1DBC2667-5A1F-4B9E-A4BF-EBAE9709AD01}"/>
          </ac:spMkLst>
        </pc:spChg>
        <pc:spChg chg="add del mod">
          <ac:chgData name="Marion Schwaerzler" userId="0c8fe58b-5fc3-4d1d-8a76-f904196b68d5" providerId="ADAL" clId="{76CB1AA8-7C13-4EAF-8A89-B07379D9C92E}" dt="2021-08-20T09:19:19.772" v="1495" actId="478"/>
          <ac:spMkLst>
            <pc:docMk/>
            <pc:sldMk cId="2020677306" sldId="1440"/>
            <ac:spMk id="398" creationId="{7AC91AFB-F9D7-4132-BE32-45FF9FA79107}"/>
          </ac:spMkLst>
        </pc:spChg>
        <pc:spChg chg="add mod">
          <ac:chgData name="Marion Schwaerzler" userId="0c8fe58b-5fc3-4d1d-8a76-f904196b68d5" providerId="ADAL" clId="{76CB1AA8-7C13-4EAF-8A89-B07379D9C92E}" dt="2021-08-20T09:19:20.088" v="1496"/>
          <ac:spMkLst>
            <pc:docMk/>
            <pc:sldMk cId="2020677306" sldId="1440"/>
            <ac:spMk id="400" creationId="{0279361D-FECF-4CEE-92F6-25B48B3787A3}"/>
          </ac:spMkLst>
        </pc:spChg>
      </pc:sldChg>
      <pc:sldChg chg="addSp delSp modSp mod">
        <pc:chgData name="Marion Schwaerzler" userId="0c8fe58b-5fc3-4d1d-8a76-f904196b68d5" providerId="ADAL" clId="{76CB1AA8-7C13-4EAF-8A89-B07379D9C92E}" dt="2021-08-20T09:16:15.409" v="1457" actId="14100"/>
        <pc:sldMkLst>
          <pc:docMk/>
          <pc:sldMk cId="3526368391" sldId="1441"/>
        </pc:sldMkLst>
        <pc:spChg chg="add del mod">
          <ac:chgData name="Marion Schwaerzler" userId="0c8fe58b-5fc3-4d1d-8a76-f904196b68d5" providerId="ADAL" clId="{76CB1AA8-7C13-4EAF-8A89-B07379D9C92E}" dt="2021-08-20T09:16:04.455" v="1437" actId="478"/>
          <ac:spMkLst>
            <pc:docMk/>
            <pc:sldMk cId="3526368391" sldId="1441"/>
            <ac:spMk id="401" creationId="{1394FA9C-4D6D-4948-9F40-D3D2B836745B}"/>
          </ac:spMkLst>
        </pc:spChg>
        <pc:spChg chg="add mod">
          <ac:chgData name="Marion Schwaerzler" userId="0c8fe58b-5fc3-4d1d-8a76-f904196b68d5" providerId="ADAL" clId="{76CB1AA8-7C13-4EAF-8A89-B07379D9C92E}" dt="2021-08-20T09:16:15.409" v="1457" actId="14100"/>
          <ac:spMkLst>
            <pc:docMk/>
            <pc:sldMk cId="3526368391" sldId="1441"/>
            <ac:spMk id="403" creationId="{666A4813-D2F4-4071-964C-3521B4CFD08C}"/>
          </ac:spMkLst>
        </pc:spChg>
      </pc:sldChg>
      <pc:sldChg chg="addSp delSp modSp mod">
        <pc:chgData name="Marion Schwaerzler" userId="0c8fe58b-5fc3-4d1d-8a76-f904196b68d5" providerId="ADAL" clId="{76CB1AA8-7C13-4EAF-8A89-B07379D9C92E}" dt="2021-08-20T09:19:32.022" v="1498"/>
        <pc:sldMkLst>
          <pc:docMk/>
          <pc:sldMk cId="481529944" sldId="1442"/>
        </pc:sldMkLst>
        <pc:spChg chg="add del mod">
          <ac:chgData name="Marion Schwaerzler" userId="0c8fe58b-5fc3-4d1d-8a76-f904196b68d5" providerId="ADAL" clId="{76CB1AA8-7C13-4EAF-8A89-B07379D9C92E}" dt="2021-08-20T09:15:55.455" v="1435" actId="478"/>
          <ac:spMkLst>
            <pc:docMk/>
            <pc:sldMk cId="481529944" sldId="1442"/>
            <ac:spMk id="398" creationId="{8E866BA2-34BC-477E-A095-1D546100FF4A}"/>
          </ac:spMkLst>
        </pc:spChg>
        <pc:spChg chg="add del mod">
          <ac:chgData name="Marion Schwaerzler" userId="0c8fe58b-5fc3-4d1d-8a76-f904196b68d5" providerId="ADAL" clId="{76CB1AA8-7C13-4EAF-8A89-B07379D9C92E}" dt="2021-08-20T09:19:31.572" v="1497" actId="478"/>
          <ac:spMkLst>
            <pc:docMk/>
            <pc:sldMk cId="481529944" sldId="1442"/>
            <ac:spMk id="400" creationId="{6D4A5C38-A4F1-49F8-9DBE-5C3444C186DC}"/>
          </ac:spMkLst>
        </pc:spChg>
        <pc:spChg chg="add mod">
          <ac:chgData name="Marion Schwaerzler" userId="0c8fe58b-5fc3-4d1d-8a76-f904196b68d5" providerId="ADAL" clId="{76CB1AA8-7C13-4EAF-8A89-B07379D9C92E}" dt="2021-08-20T09:19:32.022" v="1498"/>
          <ac:spMkLst>
            <pc:docMk/>
            <pc:sldMk cId="481529944" sldId="1442"/>
            <ac:spMk id="401" creationId="{C3A4275E-3859-4F5F-8520-6FA241F5E10C}"/>
          </ac:spMkLst>
        </pc:spChg>
      </pc:sldChg>
      <pc:sldChg chg="addCm modCm">
        <pc:chgData name="Marion Schwaerzler" userId="0c8fe58b-5fc3-4d1d-8a76-f904196b68d5" providerId="ADAL" clId="{76CB1AA8-7C13-4EAF-8A89-B07379D9C92E}" dt="2021-08-20T07:45:31.038" v="961" actId="1589"/>
        <pc:sldMkLst>
          <pc:docMk/>
          <pc:sldMk cId="1589697303" sldId="1443"/>
        </pc:sldMkLst>
      </pc:sldChg>
      <pc:sldChg chg="modSp new mod">
        <pc:chgData name="Marion Schwaerzler" userId="0c8fe58b-5fc3-4d1d-8a76-f904196b68d5" providerId="ADAL" clId="{76CB1AA8-7C13-4EAF-8A89-B07379D9C92E}" dt="2021-08-20T07:40:10.505" v="851" actId="404"/>
        <pc:sldMkLst>
          <pc:docMk/>
          <pc:sldMk cId="2143557156" sldId="1444"/>
        </pc:sldMkLst>
        <pc:spChg chg="mod">
          <ac:chgData name="Marion Schwaerzler" userId="0c8fe58b-5fc3-4d1d-8a76-f904196b68d5" providerId="ADAL" clId="{76CB1AA8-7C13-4EAF-8A89-B07379D9C92E}" dt="2021-08-20T07:37:01.238" v="677" actId="20577"/>
          <ac:spMkLst>
            <pc:docMk/>
            <pc:sldMk cId="2143557156" sldId="1444"/>
            <ac:spMk id="2" creationId="{A9594716-8F13-4B9C-A38A-3D4B1E03CDA5}"/>
          </ac:spMkLst>
        </pc:spChg>
        <pc:spChg chg="mod">
          <ac:chgData name="Marion Schwaerzler" userId="0c8fe58b-5fc3-4d1d-8a76-f904196b68d5" providerId="ADAL" clId="{76CB1AA8-7C13-4EAF-8A89-B07379D9C92E}" dt="2021-08-20T07:40:10.505" v="851" actId="404"/>
          <ac:spMkLst>
            <pc:docMk/>
            <pc:sldMk cId="2143557156" sldId="1444"/>
            <ac:spMk id="3" creationId="{90F22A95-4D0E-4FEA-B57C-82AF9453F500}"/>
          </ac:spMkLst>
        </pc:spChg>
      </pc:sldChg>
      <pc:sldChg chg="modSp mod modAnim delCm">
        <pc:chgData name="Marion Schwaerzler" userId="0c8fe58b-5fc3-4d1d-8a76-f904196b68d5" providerId="ADAL" clId="{76CB1AA8-7C13-4EAF-8A89-B07379D9C92E}" dt="2021-08-20T12:54:38.825" v="1636" actId="1592"/>
        <pc:sldMkLst>
          <pc:docMk/>
          <pc:sldMk cId="4209619153" sldId="1445"/>
        </pc:sldMkLst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98" creationId="{075E3DA4-0DFF-4CFA-A8A9-971D98F0EFE8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99" creationId="{163E925F-D17A-4792-922A-A65FA851B07F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00" creationId="{4CF9EE24-0E4F-47B8-9FDC-34D8FF119B22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01" creationId="{C6A6DC49-10A5-45D6-8E0C-0BFE0F757022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09" creationId="{DD9697EF-AB95-4A53-B8DC-7E02AB9B810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0" creationId="{D6978589-4486-4893-AF25-2BC23D7612F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1" creationId="{CAFD4B65-703F-4177-80E6-27B239D5D65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2" creationId="{859E827F-9AC1-40FD-B6DC-AC6FBFAB9F7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3" creationId="{06E4E2F0-9B6D-4381-8FD1-085450B20D4A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4" creationId="{BC3004E6-6155-4B7F-9C05-78E06942FDCB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5" creationId="{AC8FF4A2-D156-4EB5-8E67-637EA184613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6" creationId="{3D55B0CD-A0FE-4553-9ABC-D4FC35FF46F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7" creationId="{4A7B0B0E-4DB1-4E26-8B44-E686F52168E5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8" creationId="{05C393B9-3BA7-484C-ACA1-ED7E8D7CAE5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19" creationId="{E57234CA-100B-4ACA-8A3B-F32D78CADA7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1" creationId="{7894F3AC-C42B-49C0-94B8-62DF10325701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2" creationId="{0A170C37-853C-4A5D-A421-35A0B97A75B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3" creationId="{DA1FD08E-1B8F-4D25-96F9-987E3594620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4" creationId="{D21FA75F-E9AC-4F20-83E0-A8AE4E36331F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6" creationId="{CDC4544E-680A-4FA2-A92E-1AE6E69C5EA1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7" creationId="{0E1D4BA0-8CB6-4A4B-BD19-8F4D20092285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8" creationId="{BC737843-F28D-4D68-9778-8CBCF40EC792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29" creationId="{EE622237-4419-4553-B2CF-F06A7A59E15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1" creationId="{934307B0-F7FA-445D-8518-647AA940526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2" creationId="{BB4C88FB-4770-416A-B6FA-7C63BB40D3A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3" creationId="{C54D7C56-8FB2-4F0B-B427-4235F5F9BFA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4" creationId="{63DDD46D-0A4D-4AC4-B817-B7C39F998BA1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5" creationId="{520609D8-200B-4B69-9425-B80B531FD10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6" creationId="{AD25E4D3-9ED5-4619-A08B-8877F07E278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37" creationId="{5E4D2F3A-22B5-47A5-9AC6-BCF2454F1F6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41" creationId="{DDE55C0A-20D7-4C08-ADD6-B9A769A73AA3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44" creationId="{809F5F54-DECD-4EB7-8495-8DEF1A46718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45" creationId="{57C38BF1-0CAF-4B7E-88AA-B81F0B99D87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49" creationId="{FBDCEBBD-9318-43E2-9CA3-5A3644314438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0" creationId="{A45538CC-C35B-4D8B-95B6-5BA015D5AC0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1" creationId="{FF026748-B477-4FA3-BE4A-8D7F60A2738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2" creationId="{03EE2E95-504D-4CBB-8E23-06DCC778A1C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3" creationId="{F25F7060-7D67-40A5-8A17-39A46BBD492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4" creationId="{1E2E266B-007B-4726-8077-D2E0C42F403F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8" creationId="{A1B2628B-35FE-4D4B-8853-B93D6B10E560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59" creationId="{4B58A34E-5EBE-4BED-87F1-8354C2983A21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60" creationId="{76AA2C74-612A-4044-AB9C-783F84866AF8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63" creationId="{C0C79051-D4E2-4123-A263-0A9F81B9C790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64" creationId="{EE610433-2567-4A52-89AE-D0DCF087D77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65" creationId="{6295CD15-E7DE-40F0-A1CD-898BB8208783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1" creationId="{9158D4C7-EF4F-4243-A292-CFFE04687693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2" creationId="{99C2AD2C-3DE1-426F-9397-8E264A637528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3" creationId="{48B7473C-B0F3-4DBE-9C86-0B374D264FD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4" creationId="{89327A56-809D-4FD0-BCAA-20C0C0D3D4CA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5" creationId="{698D99F6-2F34-4019-B9A2-867DFCBFCFF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6" creationId="{20D76BFA-045A-4E43-8D2A-A07E6C15F68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7" creationId="{9631E4F8-08EB-4ABF-A5F9-0250223FF2E0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8" creationId="{9AB0F6CA-7A3B-4C66-AB23-523830D9D2E8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89" creationId="{E51ACE7D-4CFB-4CF6-A6CC-82FBA2A864E1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97" creationId="{33B4A255-A42A-47E5-BBF8-450FEC78C35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98" creationId="{4FD3C07C-4B78-484D-9648-55078F5DE08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199" creationId="{2CBD80C7-DE19-41BB-9401-273E837E419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0" creationId="{A53386E8-9D04-4401-84C1-CE8DB86499D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1" creationId="{60153D2B-67A4-4BD9-9702-351AD78AD92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2" creationId="{02218789-BB2C-4DF6-8226-EB9DB14783D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3" creationId="{574A566D-36B0-4C0D-8434-34E020E4CD2C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4" creationId="{C87EE9CE-0A39-42B6-9AE6-CFFD383404CE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5" creationId="{E1792963-3546-4BFD-8D1A-BA34CA47745D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06" creationId="{4B3C7CAF-5C5E-47C4-8C7B-72CDF41A670A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14" creationId="{1DB6B88C-ECB5-4448-BD58-2C51BDCEE0A5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15" creationId="{75ECADE8-3103-4B20-BA19-0554069258A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16" creationId="{06935711-88E4-4E58-B4C9-4F9FF8B6A7E7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17" creationId="{3D0E0F0B-E0A5-4F35-8CFB-F5AB6D6FB55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18" creationId="{C1EA8D65-1C1C-4350-95E1-07A4491AF15C}"/>
          </ac:spMkLst>
        </pc:spChg>
        <pc:spChg chg="mod">
          <ac:chgData name="Marion Schwaerzler" userId="0c8fe58b-5fc3-4d1d-8a76-f904196b68d5" providerId="ADAL" clId="{76CB1AA8-7C13-4EAF-8A89-B07379D9C92E}" dt="2021-08-20T12:50:47.123" v="1630" actId="20577"/>
          <ac:spMkLst>
            <pc:docMk/>
            <pc:sldMk cId="4209619153" sldId="1445"/>
            <ac:spMk id="221" creationId="{CC575047-23B0-4426-82CA-BD0AC0262A43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26" creationId="{4608056B-4104-4663-94D5-07B238D0A2C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27" creationId="{7FEDA1E9-9025-4222-8B3E-007DABE933E3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28" creationId="{341DB174-C2B6-4609-9BEA-1A41A014DFF6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29" creationId="{F2AE54A5-748B-45B5-8772-7F29C09500DB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30" creationId="{71248B5A-4534-4A22-B526-3476100187D4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31" creationId="{CC251BAF-13A4-4ECA-A47E-A0853474ED72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32" creationId="{2EF3E5C7-1C8A-47E8-8105-E633AC406B0F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33" creationId="{3F6ADF69-A80C-40A4-9F54-E20D16DB37A7}"/>
          </ac:spMkLst>
        </pc:spChg>
        <pc:spChg chg="mod">
          <ac:chgData name="Marion Schwaerzler" userId="0c8fe58b-5fc3-4d1d-8a76-f904196b68d5" providerId="ADAL" clId="{76CB1AA8-7C13-4EAF-8A89-B07379D9C92E}" dt="2021-08-20T12:51:41.002" v="1631" actId="20577"/>
          <ac:spMkLst>
            <pc:docMk/>
            <pc:sldMk cId="4209619153" sldId="1445"/>
            <ac:spMk id="234" creationId="{0CA4FC33-0ED1-4858-AA1C-AE74E52691EB}"/>
          </ac:spMkLst>
        </pc:spChg>
        <pc:spChg chg="mod">
          <ac:chgData name="Marion Schwaerzler" userId="0c8fe58b-5fc3-4d1d-8a76-f904196b68d5" providerId="ADAL" clId="{76CB1AA8-7C13-4EAF-8A89-B07379D9C92E}" dt="2021-08-20T12:52:43.858" v="1633" actId="1076"/>
          <ac:spMkLst>
            <pc:docMk/>
            <pc:sldMk cId="4209619153" sldId="1445"/>
            <ac:spMk id="236" creationId="{47E1E454-6BC6-4FE5-A45F-0AAE081AFE7A}"/>
          </ac:spMkLst>
        </pc:s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2" creationId="{9DBC20DA-616A-47A8-B720-72D2B528FD81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97" creationId="{9B40E6A5-1B02-42DD-9A18-9A5F72D94E4A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108" creationId="{30514568-999C-43A9-BF17-5674020DDC87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120" creationId="{0C14F3EA-29DE-4135-B1CF-DB39D859A514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125" creationId="{A311A645-0F3A-49A7-B8F0-A3134A32483B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157" creationId="{FC2AF88E-1B69-45F8-8E85-6207ADFDF830}"/>
          </ac:grpSpMkLst>
        </pc:grpChg>
        <pc:grpChg chg="mod">
          <ac:chgData name="Marion Schwaerzler" userId="0c8fe58b-5fc3-4d1d-8a76-f904196b68d5" providerId="ADAL" clId="{76CB1AA8-7C13-4EAF-8A89-B07379D9C92E}" dt="2021-08-20T12:53:24.490" v="1635" actId="1076"/>
          <ac:grpSpMkLst>
            <pc:docMk/>
            <pc:sldMk cId="4209619153" sldId="1445"/>
            <ac:grpSpMk id="167" creationId="{28248ED5-02FE-4938-932B-B9F4C60B1A49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207" creationId="{BE75C26D-288F-4048-BAF5-13CDAB244A66}"/>
          </ac:grpSpMkLst>
        </pc:grpChg>
        <pc:grpChg chg="mod">
          <ac:chgData name="Marion Schwaerzler" userId="0c8fe58b-5fc3-4d1d-8a76-f904196b68d5" providerId="ADAL" clId="{76CB1AA8-7C13-4EAF-8A89-B07379D9C92E}" dt="2021-08-20T12:52:43.858" v="1633" actId="1076"/>
          <ac:grpSpMkLst>
            <pc:docMk/>
            <pc:sldMk cId="4209619153" sldId="1445"/>
            <ac:grpSpMk id="211" creationId="{9089C857-37A3-4736-929C-6D0D47610D60}"/>
          </ac:grpSpMkLst>
        </pc:grp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08" creationId="{71F48747-AE2E-45BD-9F8C-8099EA6125E0}"/>
          </ac:cxnSpMkLst>
        </pc:cxn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09" creationId="{2CBEF1FD-75A0-43E4-8BC3-0E04C7EB86FD}"/>
          </ac:cxnSpMkLst>
        </pc:cxn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10" creationId="{D8F66EB9-E612-4CDF-B613-F04B582CBFFC}"/>
          </ac:cxnSpMkLst>
        </pc:cxn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12" creationId="{097C9AE1-C019-4ECF-9A3D-A604F9CA8C15}"/>
          </ac:cxnSpMkLst>
        </pc:cxn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13" creationId="{CC355E85-2FD9-401F-AF69-354C5EE8C0EE}"/>
          </ac:cxnSpMkLst>
        </pc:cxnChg>
        <pc:cxnChg chg="mod">
          <ac:chgData name="Marion Schwaerzler" userId="0c8fe58b-5fc3-4d1d-8a76-f904196b68d5" providerId="ADAL" clId="{76CB1AA8-7C13-4EAF-8A89-B07379D9C92E}" dt="2021-08-20T12:52:43.858" v="1633" actId="1076"/>
          <ac:cxnSpMkLst>
            <pc:docMk/>
            <pc:sldMk cId="4209619153" sldId="1445"/>
            <ac:cxnSpMk id="237" creationId="{F0AD7F1F-DECA-4AA0-953E-372CA19338A9}"/>
          </ac:cxnSpMkLst>
        </pc:cxnChg>
      </pc:sldChg>
      <pc:sldMasterChg chg="addSp modSp mod delSldLayout">
        <pc:chgData name="Marion Schwaerzler" userId="0c8fe58b-5fc3-4d1d-8a76-f904196b68d5" providerId="ADAL" clId="{76CB1AA8-7C13-4EAF-8A89-B07379D9C92E}" dt="2021-08-20T07:39:56.839" v="845" actId="47"/>
        <pc:sldMasterMkLst>
          <pc:docMk/>
          <pc:sldMasterMk cId="1269562786" sldId="2147484335"/>
        </pc:sldMasterMkLst>
        <pc:spChg chg="add mod ord modVis">
          <ac:chgData name="Marion Schwaerzler" userId="0c8fe58b-5fc3-4d1d-8a76-f904196b68d5" providerId="ADAL" clId="{76CB1AA8-7C13-4EAF-8A89-B07379D9C92E}" dt="2021-08-09T10:53:54.431" v="61"/>
          <ac:spMkLst>
            <pc:docMk/>
            <pc:sldMasterMk cId="1269562786" sldId="2147484335"/>
            <ac:spMk id="8" creationId="{204DD380-41ED-4FDE-9E87-D7C4D6EFB6C3}"/>
          </ac:spMkLst>
        </pc:spChg>
        <pc:sldLayoutChg chg="del">
          <pc:chgData name="Marion Schwaerzler" userId="0c8fe58b-5fc3-4d1d-8a76-f904196b68d5" providerId="ADAL" clId="{76CB1AA8-7C13-4EAF-8A89-B07379D9C92E}" dt="2021-08-20T07:39:56.839" v="845" actId="47"/>
          <pc:sldLayoutMkLst>
            <pc:docMk/>
            <pc:sldMasterMk cId="1269562786" sldId="2147484335"/>
            <pc:sldLayoutMk cId="3673598503" sldId="2147484359"/>
          </pc:sldLayoutMkLst>
        </pc:sldLayoutChg>
      </pc:sldMasterChg>
      <pc:sldMasterChg chg="addSp modSp mod">
        <pc:chgData name="Marion Schwaerzler" userId="0c8fe58b-5fc3-4d1d-8a76-f904196b68d5" providerId="ADAL" clId="{76CB1AA8-7C13-4EAF-8A89-B07379D9C92E}" dt="2021-08-09T10:53:54.497" v="92"/>
        <pc:sldMasterMkLst>
          <pc:docMk/>
          <pc:sldMasterMk cId="1071388790" sldId="2147484360"/>
        </pc:sldMasterMkLst>
        <pc:spChg chg="add mod ord modVis">
          <ac:chgData name="Marion Schwaerzler" userId="0c8fe58b-5fc3-4d1d-8a76-f904196b68d5" providerId="ADAL" clId="{76CB1AA8-7C13-4EAF-8A89-B07379D9C92E}" dt="2021-08-09T10:53:54.497" v="92"/>
          <ac:spMkLst>
            <pc:docMk/>
            <pc:sldMasterMk cId="1071388790" sldId="2147484360"/>
            <ac:spMk id="8" creationId="{B31C1364-4515-4090-8A89-01B87953C147}"/>
          </ac:spMkLst>
        </pc:spChg>
      </pc:sldMasterChg>
      <pc:sldMasterChg chg="addSp modSp mod">
        <pc:chgData name="Marion Schwaerzler" userId="0c8fe58b-5fc3-4d1d-8a76-f904196b68d5" providerId="ADAL" clId="{76CB1AA8-7C13-4EAF-8A89-B07379D9C92E}" dt="2021-08-09T10:53:54.548" v="123"/>
        <pc:sldMasterMkLst>
          <pc:docMk/>
          <pc:sldMasterMk cId="1754532582" sldId="2147484379"/>
        </pc:sldMasterMkLst>
        <pc:spChg chg="add mod ord modVis">
          <ac:chgData name="Marion Schwaerzler" userId="0c8fe58b-5fc3-4d1d-8a76-f904196b68d5" providerId="ADAL" clId="{76CB1AA8-7C13-4EAF-8A89-B07379D9C92E}" dt="2021-08-09T10:53:54.548" v="123"/>
          <ac:spMkLst>
            <pc:docMk/>
            <pc:sldMasterMk cId="1754532582" sldId="2147484379"/>
            <ac:spMk id="10" creationId="{B62E1321-E7D2-4EE0-8E3F-4E57754C4E20}"/>
          </ac:spMkLst>
        </pc:spChg>
      </pc:sldMasterChg>
    </pc:docChg>
  </pc:docChgLst>
  <pc:docChgLst>
    <pc:chgData name="Christoph Berns" userId="31de5b24-479c-4031-b04f-6731b04d3a32" providerId="ADAL" clId="{7EF26090-F3A6-46EC-AE21-DA2BB7F8165F}"/>
    <pc:docChg chg="undo custSel modSld">
      <pc:chgData name="Christoph Berns" userId="31de5b24-479c-4031-b04f-6731b04d3a32" providerId="ADAL" clId="{7EF26090-F3A6-46EC-AE21-DA2BB7F8165F}" dt="2021-08-19T15:43:17.941" v="2264" actId="403"/>
      <pc:docMkLst>
        <pc:docMk/>
      </pc:docMkLst>
      <pc:sldChg chg="addSp delSp modSp mod">
        <pc:chgData name="Christoph Berns" userId="31de5b24-479c-4031-b04f-6731b04d3a32" providerId="ADAL" clId="{7EF26090-F3A6-46EC-AE21-DA2BB7F8165F}" dt="2021-08-16T15:34:02.279" v="1059" actId="14100"/>
        <pc:sldMkLst>
          <pc:docMk/>
          <pc:sldMk cId="1898009748" sldId="323"/>
        </pc:sldMkLst>
        <pc:spChg chg="mod">
          <ac:chgData name="Christoph Berns" userId="31de5b24-479c-4031-b04f-6731b04d3a32" providerId="ADAL" clId="{7EF26090-F3A6-46EC-AE21-DA2BB7F8165F}" dt="2021-08-16T11:43:56.620" v="11" actId="20577"/>
          <ac:spMkLst>
            <pc:docMk/>
            <pc:sldMk cId="1898009748" sldId="323"/>
            <ac:spMk id="3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6T11:50:59.231" v="110" actId="113"/>
          <ac:spMkLst>
            <pc:docMk/>
            <pc:sldMk cId="1898009748" sldId="323"/>
            <ac:spMk id="13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6T15:33:01.776" v="1054" actId="20577"/>
          <ac:spMkLst>
            <pc:docMk/>
            <pc:sldMk cId="1898009748" sldId="323"/>
            <ac:spMk id="46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6T12:08:23.062" v="516" actId="113"/>
          <ac:spMkLst>
            <pc:docMk/>
            <pc:sldMk cId="1898009748" sldId="323"/>
            <ac:spMk id="51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6T12:05:45.178" v="515" actId="113"/>
          <ac:spMkLst>
            <pc:docMk/>
            <pc:sldMk cId="1898009748" sldId="323"/>
            <ac:spMk id="52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6T11:51:14.577" v="139" actId="1038"/>
          <ac:spMkLst>
            <pc:docMk/>
            <pc:sldMk cId="1898009748" sldId="323"/>
            <ac:spMk id="53" creationId="{0910892A-103A-450B-8821-5A33598C37FA}"/>
          </ac:spMkLst>
        </pc:spChg>
        <pc:spChg chg="mod">
          <ac:chgData name="Christoph Berns" userId="31de5b24-479c-4031-b04f-6731b04d3a32" providerId="ADAL" clId="{7EF26090-F3A6-46EC-AE21-DA2BB7F8165F}" dt="2021-08-16T11:51:22.150" v="164" actId="14100"/>
          <ac:spMkLst>
            <pc:docMk/>
            <pc:sldMk cId="1898009748" sldId="323"/>
            <ac:spMk id="54" creationId="{326E8253-0E5F-4152-85DD-5EA7E576A403}"/>
          </ac:spMkLst>
        </pc:spChg>
        <pc:spChg chg="del">
          <ac:chgData name="Christoph Berns" userId="31de5b24-479c-4031-b04f-6731b04d3a32" providerId="ADAL" clId="{7EF26090-F3A6-46EC-AE21-DA2BB7F8165F}" dt="2021-08-16T11:50:48.341" v="109" actId="478"/>
          <ac:spMkLst>
            <pc:docMk/>
            <pc:sldMk cId="1898009748" sldId="323"/>
            <ac:spMk id="55" creationId="{DE758805-A917-4D57-87F6-9D890C89B051}"/>
          </ac:spMkLst>
        </pc:spChg>
        <pc:picChg chg="add mod">
          <ac:chgData name="Christoph Berns" userId="31de5b24-479c-4031-b04f-6731b04d3a32" providerId="ADAL" clId="{7EF26090-F3A6-46EC-AE21-DA2BB7F8165F}" dt="2021-08-16T15:34:02.279" v="1059" actId="14100"/>
          <ac:picMkLst>
            <pc:docMk/>
            <pc:sldMk cId="1898009748" sldId="323"/>
            <ac:picMk id="4" creationId="{D24AB93F-97A1-4056-8E92-A4C1819E4FB0}"/>
          </ac:picMkLst>
        </pc:picChg>
      </pc:sldChg>
      <pc:sldChg chg="modSp mod">
        <pc:chgData name="Christoph Berns" userId="31de5b24-479c-4031-b04f-6731b04d3a32" providerId="ADAL" clId="{7EF26090-F3A6-46EC-AE21-DA2BB7F8165F}" dt="2021-08-16T15:58:37.271" v="1141" actId="1037"/>
        <pc:sldMkLst>
          <pc:docMk/>
          <pc:sldMk cId="2478619988" sldId="324"/>
        </pc:sldMkLst>
        <pc:spChg chg="mod">
          <ac:chgData name="Christoph Berns" userId="31de5b24-479c-4031-b04f-6731b04d3a32" providerId="ADAL" clId="{7EF26090-F3A6-46EC-AE21-DA2BB7F8165F}" dt="2021-08-16T15:58:37.271" v="1141" actId="1037"/>
          <ac:spMkLst>
            <pc:docMk/>
            <pc:sldMk cId="2478619988" sldId="324"/>
            <ac:spMk id="127" creationId="{C3EBA988-1E74-4A81-B8B2-910EC11A5D4A}"/>
          </ac:spMkLst>
        </pc:spChg>
      </pc:sldChg>
      <pc:sldChg chg="modSp mod">
        <pc:chgData name="Christoph Berns" userId="31de5b24-479c-4031-b04f-6731b04d3a32" providerId="ADAL" clId="{7EF26090-F3A6-46EC-AE21-DA2BB7F8165F}" dt="2021-08-16T15:59:28.014" v="1142" actId="1076"/>
        <pc:sldMkLst>
          <pc:docMk/>
          <pc:sldMk cId="2166934528" sldId="424"/>
        </pc:sldMkLst>
        <pc:spChg chg="mod">
          <ac:chgData name="Christoph Berns" userId="31de5b24-479c-4031-b04f-6731b04d3a32" providerId="ADAL" clId="{7EF26090-F3A6-46EC-AE21-DA2BB7F8165F}" dt="2021-08-16T15:59:28.014" v="1142" actId="1076"/>
          <ac:spMkLst>
            <pc:docMk/>
            <pc:sldMk cId="2166934528" sldId="424"/>
            <ac:spMk id="373" creationId="{4CA4D3DD-916E-494B-AB4F-EFAAC0D4B3DD}"/>
          </ac:spMkLst>
        </pc:spChg>
      </pc:sldChg>
      <pc:sldChg chg="delSp modSp mod addCm modCm">
        <pc:chgData name="Christoph Berns" userId="31de5b24-479c-4031-b04f-6731b04d3a32" providerId="ADAL" clId="{7EF26090-F3A6-46EC-AE21-DA2BB7F8165F}" dt="2021-08-18T12:05:26.407" v="1571" actId="1589"/>
        <pc:sldMkLst>
          <pc:docMk/>
          <pc:sldMk cId="2413811982" sldId="1374"/>
        </pc:sldMkLst>
        <pc:spChg chg="mod">
          <ac:chgData name="Christoph Berns" userId="31de5b24-479c-4031-b04f-6731b04d3a32" providerId="ADAL" clId="{7EF26090-F3A6-46EC-AE21-DA2BB7F8165F}" dt="2021-08-17T15:15:34.198" v="1318" actId="14100"/>
          <ac:spMkLst>
            <pc:docMk/>
            <pc:sldMk cId="2413811982" sldId="1374"/>
            <ac:spMk id="13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7T15:55:12.705" v="1568" actId="20577"/>
          <ac:spMkLst>
            <pc:docMk/>
            <pc:sldMk cId="2413811982" sldId="1374"/>
            <ac:spMk id="46" creationId="{00000000-0000-0000-0000-000000000000}"/>
          </ac:spMkLst>
        </pc:spChg>
        <pc:spChg chg="mod">
          <ac:chgData name="Christoph Berns" userId="31de5b24-479c-4031-b04f-6731b04d3a32" providerId="ADAL" clId="{7EF26090-F3A6-46EC-AE21-DA2BB7F8165F}" dt="2021-08-17T15:19:19.255" v="1495" actId="113"/>
          <ac:spMkLst>
            <pc:docMk/>
            <pc:sldMk cId="2413811982" sldId="1374"/>
            <ac:spMk id="51" creationId="{00000000-0000-0000-0000-000000000000}"/>
          </ac:spMkLst>
        </pc:spChg>
        <pc:spChg chg="del">
          <ac:chgData name="Christoph Berns" userId="31de5b24-479c-4031-b04f-6731b04d3a32" providerId="ADAL" clId="{7EF26090-F3A6-46EC-AE21-DA2BB7F8165F}" dt="2021-08-17T15:15:37.002" v="1319" actId="478"/>
          <ac:spMkLst>
            <pc:docMk/>
            <pc:sldMk cId="2413811982" sldId="1374"/>
            <ac:spMk id="100" creationId="{00000000-0000-0000-0000-000000000000}"/>
          </ac:spMkLst>
        </pc:spChg>
      </pc:sldChg>
      <pc:sldChg chg="modSp mod">
        <pc:chgData name="Christoph Berns" userId="31de5b24-479c-4031-b04f-6731b04d3a32" providerId="ADAL" clId="{7EF26090-F3A6-46EC-AE21-DA2BB7F8165F}" dt="2021-08-18T17:01:40.405" v="1574" actId="1076"/>
        <pc:sldMkLst>
          <pc:docMk/>
          <pc:sldMk cId="129154394" sldId="1390"/>
        </pc:sldMkLst>
        <pc:picChg chg="mod">
          <ac:chgData name="Christoph Berns" userId="31de5b24-479c-4031-b04f-6731b04d3a32" providerId="ADAL" clId="{7EF26090-F3A6-46EC-AE21-DA2BB7F8165F}" dt="2021-08-18T17:01:40.405" v="1574" actId="1076"/>
          <ac:picMkLst>
            <pc:docMk/>
            <pc:sldMk cId="129154394" sldId="1390"/>
            <ac:picMk id="380" creationId="{1F1E990E-29B3-4762-AD32-85FA233436DD}"/>
          </ac:picMkLst>
        </pc:picChg>
      </pc:sldChg>
      <pc:sldChg chg="modSp mod">
        <pc:chgData name="Christoph Berns" userId="31de5b24-479c-4031-b04f-6731b04d3a32" providerId="ADAL" clId="{7EF26090-F3A6-46EC-AE21-DA2BB7F8165F}" dt="2021-08-19T15:43:17.941" v="2264" actId="403"/>
        <pc:sldMkLst>
          <pc:docMk/>
          <pc:sldMk cId="1534521532" sldId="1423"/>
        </pc:sldMkLst>
        <pc:spChg chg="mod">
          <ac:chgData name="Christoph Berns" userId="31de5b24-479c-4031-b04f-6731b04d3a32" providerId="ADAL" clId="{7EF26090-F3A6-46EC-AE21-DA2BB7F8165F}" dt="2021-08-19T15:43:17.941" v="2264" actId="403"/>
          <ac:spMkLst>
            <pc:docMk/>
            <pc:sldMk cId="1534521532" sldId="1423"/>
            <ac:spMk id="380" creationId="{610D3607-F537-4148-896C-8BE2C66B5956}"/>
          </ac:spMkLst>
        </pc:spChg>
      </pc:sldChg>
      <pc:sldChg chg="addSp modSp mod">
        <pc:chgData name="Christoph Berns" userId="31de5b24-479c-4031-b04f-6731b04d3a32" providerId="ADAL" clId="{7EF26090-F3A6-46EC-AE21-DA2BB7F8165F}" dt="2021-08-19T15:42:41.336" v="2261" actId="113"/>
        <pc:sldMkLst>
          <pc:docMk/>
          <pc:sldMk cId="3526368391" sldId="1441"/>
        </pc:sldMkLst>
        <pc:spChg chg="add mod">
          <ac:chgData name="Christoph Berns" userId="31de5b24-479c-4031-b04f-6731b04d3a32" providerId="ADAL" clId="{7EF26090-F3A6-46EC-AE21-DA2BB7F8165F}" dt="2021-08-19T15:42:41.336" v="2261" actId="113"/>
          <ac:spMkLst>
            <pc:docMk/>
            <pc:sldMk cId="3526368391" sldId="1441"/>
            <ac:spMk id="360" creationId="{C439FC73-5797-4F8E-A8FA-78E973C4D455}"/>
          </ac:spMkLst>
        </pc:spChg>
        <pc:spChg chg="mod">
          <ac:chgData name="Christoph Berns" userId="31de5b24-479c-4031-b04f-6731b04d3a32" providerId="ADAL" clId="{7EF26090-F3A6-46EC-AE21-DA2BB7F8165F}" dt="2021-08-19T15:09:58.538" v="1819" actId="20577"/>
          <ac:spMkLst>
            <pc:docMk/>
            <pc:sldMk cId="3526368391" sldId="1441"/>
            <ac:spMk id="379" creationId="{D4146FB0-73D7-42FE-80EF-576822C13868}"/>
          </ac:spMkLst>
        </pc:spChg>
        <pc:spChg chg="mod">
          <ac:chgData name="Christoph Berns" userId="31de5b24-479c-4031-b04f-6731b04d3a32" providerId="ADAL" clId="{7EF26090-F3A6-46EC-AE21-DA2BB7F8165F}" dt="2021-08-19T14:58:02.449" v="1591" actId="20577"/>
          <ac:spMkLst>
            <pc:docMk/>
            <pc:sldMk cId="3526368391" sldId="1441"/>
            <ac:spMk id="393" creationId="{8DC8D262-523C-4881-B709-17E9F85AB71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ayergroup.sharepoint.com/sites/ReplacementofIBMWatson-Finance/Shared%20Documents/Finance/Costs%20-%20Holm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ummary!$B$1</c:f>
              <c:strCache>
                <c:ptCount val="1"/>
                <c:pt idx="0">
                  <c:v>Budg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ummary!$A$2:$A$18</c:f>
              <c:numCache>
                <c:formatCode>[$-409]mmm/yy;@</c:formatCode>
                <c:ptCount val="17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</c:numCache>
            </c:numRef>
          </c:cat>
          <c:val>
            <c:numRef>
              <c:f>Summary!$B$2:$B$18</c:f>
              <c:numCache>
                <c:formatCode>_([$€-2]\ * #,##0.00_);_([$€-2]\ * \(#,##0.00\);_([$€-2]\ * "-"??_);_(@_)</c:formatCode>
                <c:ptCount val="17"/>
                <c:pt idx="0">
                  <c:v>1132340</c:v>
                </c:pt>
                <c:pt idx="1">
                  <c:v>1132340</c:v>
                </c:pt>
                <c:pt idx="2">
                  <c:v>1132340</c:v>
                </c:pt>
                <c:pt idx="3">
                  <c:v>1132340</c:v>
                </c:pt>
                <c:pt idx="4">
                  <c:v>817770</c:v>
                </c:pt>
                <c:pt idx="5">
                  <c:v>817770</c:v>
                </c:pt>
                <c:pt idx="6">
                  <c:v>817770</c:v>
                </c:pt>
                <c:pt idx="7">
                  <c:v>817770</c:v>
                </c:pt>
                <c:pt idx="8">
                  <c:v>817770</c:v>
                </c:pt>
                <c:pt idx="9">
                  <c:v>817770</c:v>
                </c:pt>
                <c:pt idx="10">
                  <c:v>817770</c:v>
                </c:pt>
                <c:pt idx="11">
                  <c:v>817770</c:v>
                </c:pt>
                <c:pt idx="12">
                  <c:v>964770</c:v>
                </c:pt>
                <c:pt idx="13">
                  <c:v>964770</c:v>
                </c:pt>
                <c:pt idx="14">
                  <c:v>964770</c:v>
                </c:pt>
                <c:pt idx="15">
                  <c:v>964770</c:v>
                </c:pt>
                <c:pt idx="16">
                  <c:v>9647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B8-419D-A7D6-EA521C648B27}"/>
            </c:ext>
          </c:extLst>
        </c:ser>
        <c:ser>
          <c:idx val="1"/>
          <c:order val="1"/>
          <c:tx>
            <c:v>Cost Plan</c:v>
          </c:tx>
          <c:spPr>
            <a:ln w="28575" cap="rnd">
              <a:solidFill>
                <a:schemeClr val="accent2">
                  <a:lumMod val="75000"/>
                </a:schemeClr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Summary!$A$2:$A$18</c:f>
              <c:numCache>
                <c:formatCode>[$-409]mmm/yy;@</c:formatCode>
                <c:ptCount val="17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</c:numCache>
            </c:numRef>
          </c:cat>
          <c:val>
            <c:numRef>
              <c:f>Summary!$E$2:$E$18</c:f>
              <c:numCache>
                <c:formatCode>_-* #,##0.00\ [$€-407]_-;\-* #,##0.00\ [$€-407]_-;_-* "-"??\ [$€-407]_-;_-@_-</c:formatCode>
                <c:ptCount val="17"/>
                <c:pt idx="0">
                  <c:v>31000</c:v>
                </c:pt>
                <c:pt idx="1">
                  <c:v>52020</c:v>
                </c:pt>
                <c:pt idx="2">
                  <c:v>108020</c:v>
                </c:pt>
                <c:pt idx="3">
                  <c:v>171020</c:v>
                </c:pt>
                <c:pt idx="4">
                  <c:v>234020</c:v>
                </c:pt>
                <c:pt idx="5">
                  <c:v>310020</c:v>
                </c:pt>
                <c:pt idx="6">
                  <c:v>393520</c:v>
                </c:pt>
                <c:pt idx="7">
                  <c:v>481020</c:v>
                </c:pt>
                <c:pt idx="8">
                  <c:v>567520</c:v>
                </c:pt>
                <c:pt idx="9">
                  <c:v>657770</c:v>
                </c:pt>
                <c:pt idx="10">
                  <c:v>748020</c:v>
                </c:pt>
                <c:pt idx="11">
                  <c:v>817770</c:v>
                </c:pt>
                <c:pt idx="12">
                  <c:v>849770</c:v>
                </c:pt>
                <c:pt idx="13">
                  <c:v>881770</c:v>
                </c:pt>
                <c:pt idx="14">
                  <c:v>911770</c:v>
                </c:pt>
                <c:pt idx="15">
                  <c:v>940770</c:v>
                </c:pt>
                <c:pt idx="16">
                  <c:v>9647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B8-419D-A7D6-EA521C648B27}"/>
            </c:ext>
          </c:extLst>
        </c:ser>
        <c:ser>
          <c:idx val="2"/>
          <c:order val="2"/>
          <c:tx>
            <c:v>Actuals</c:v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ummary!$A$2:$A$18</c:f>
              <c:numCache>
                <c:formatCode>[$-409]mmm/yy;@</c:formatCode>
                <c:ptCount val="17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</c:numCache>
            </c:numRef>
          </c:cat>
          <c:val>
            <c:numRef>
              <c:f>Summary!$G$2:$G$18</c:f>
              <c:numCache>
                <c:formatCode>_-* #,##0.00\ [$€-407]_-;\-* #,##0.00\ [$€-407]_-;_-* "-"??\ [$€-407]_-;_-@_-</c:formatCode>
                <c:ptCount val="17"/>
                <c:pt idx="0">
                  <c:v>27890.5</c:v>
                </c:pt>
                <c:pt idx="1">
                  <c:v>61468</c:v>
                </c:pt>
                <c:pt idx="2">
                  <c:v>114662</c:v>
                </c:pt>
                <c:pt idx="3">
                  <c:v>160860</c:v>
                </c:pt>
                <c:pt idx="4">
                  <c:v>200825</c:v>
                </c:pt>
                <c:pt idx="5">
                  <c:v>263117</c:v>
                </c:pt>
                <c:pt idx="6">
                  <c:v>30758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B8-419D-A7D6-EA521C648B27}"/>
            </c:ext>
          </c:extLst>
        </c:ser>
        <c:ser>
          <c:idx val="3"/>
          <c:order val="3"/>
          <c:tx>
            <c:v>Runrate</c:v>
          </c:tx>
          <c:spPr>
            <a:ln w="285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ummary!$A$2:$A$18</c:f>
              <c:numCache>
                <c:formatCode>[$-409]mmm/yy;@</c:formatCode>
                <c:ptCount val="17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</c:numCache>
            </c:numRef>
          </c:cat>
          <c:val>
            <c:numRef>
              <c:f>Summary!$I$2:$I$18</c:f>
              <c:numCache>
                <c:formatCode>_-* #,##0.00\ [$€-407]_-;\-* #,##0.00\ [$€-407]_-;_-* "-"??\ [$€-407]_-;_-@_-</c:formatCode>
                <c:ptCount val="1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307581</c:v>
                </c:pt>
                <c:pt idx="7">
                  <c:v>351521.14285714284</c:v>
                </c:pt>
                <c:pt idx="8">
                  <c:v>395461.28571428568</c:v>
                </c:pt>
                <c:pt idx="9">
                  <c:v>439401.42857142852</c:v>
                </c:pt>
                <c:pt idx="10">
                  <c:v>483341.57142857136</c:v>
                </c:pt>
                <c:pt idx="11">
                  <c:v>527281.7142857142</c:v>
                </c:pt>
                <c:pt idx="12">
                  <c:v>571221.85714285704</c:v>
                </c:pt>
                <c:pt idx="13">
                  <c:v>615161.99999999988</c:v>
                </c:pt>
                <c:pt idx="14">
                  <c:v>659102.14285714272</c:v>
                </c:pt>
                <c:pt idx="15">
                  <c:v>703042.28571428556</c:v>
                </c:pt>
                <c:pt idx="16">
                  <c:v>746982.42857142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B8-419D-A7D6-EA521C648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38105736"/>
        <c:axId val="1038109672"/>
      </c:lineChart>
      <c:dateAx>
        <c:axId val="1038105736"/>
        <c:scaling>
          <c:orientation val="minMax"/>
        </c:scaling>
        <c:delete val="0"/>
        <c:axPos val="b"/>
        <c:numFmt formatCode="[$-409]mmm/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8109672"/>
        <c:crosses val="autoZero"/>
        <c:auto val="1"/>
        <c:lblOffset val="100"/>
        <c:baseTimeUnit val="months"/>
      </c:dateAx>
      <c:valAx>
        <c:axId val="1038109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[$€-2]\ * #,##0_);_([$€-2]\ * \(#,##0\);_([$€-2]\ 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8105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094932179455216"/>
          <c:w val="0.95858894438849762"/>
          <c:h val="4.90507704990633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4/05/20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theme" Target="../theme/theme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4/05/20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66788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Mar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912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Mar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741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6385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1177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5678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2342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5451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675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5035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362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3041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9616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3142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074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6220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7586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4360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486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2849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08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7300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3305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02459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4391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174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623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00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0.xml"/><Relationship Id="rId7" Type="http://schemas.openxmlformats.org/officeDocument/2006/relationships/image" Target="../media/image9.emf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3.xml"/><Relationship Id="rId7" Type="http://schemas.openxmlformats.org/officeDocument/2006/relationships/image" Target="../media/image9.emf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6.xml"/><Relationship Id="rId7" Type="http://schemas.openxmlformats.org/officeDocument/2006/relationships/image" Target="../media/image9.emf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image" Target="../media/image9.emf"/><Relationship Id="rId12" Type="http://schemas.openxmlformats.org/officeDocument/2006/relationships/image" Target="../media/image7.emf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4.png"/><Relationship Id="rId4" Type="http://schemas.openxmlformats.org/officeDocument/2006/relationships/tags" Target="../tags/tag50.xml"/><Relationship Id="rId9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2.xml"/><Relationship Id="rId7" Type="http://schemas.openxmlformats.org/officeDocument/2006/relationships/image" Target="../media/image9.emf"/><Relationship Id="rId2" Type="http://schemas.openxmlformats.org/officeDocument/2006/relationships/tags" Target="../tags/tag5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.xml"/><Relationship Id="rId7" Type="http://schemas.openxmlformats.org/officeDocument/2006/relationships/image" Target="../media/image9.emf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8.xml"/><Relationship Id="rId7" Type="http://schemas.openxmlformats.org/officeDocument/2006/relationships/image" Target="../media/image9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9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1.xml"/><Relationship Id="rId7" Type="http://schemas.openxmlformats.org/officeDocument/2006/relationships/image" Target="../media/image9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4.xml"/><Relationship Id="rId7" Type="http://schemas.openxmlformats.org/officeDocument/2006/relationships/image" Target="../media/image9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7.xml"/><Relationship Id="rId7" Type="http://schemas.openxmlformats.org/officeDocument/2006/relationships/image" Target="../media/image9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8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0.xml"/><Relationship Id="rId7" Type="http://schemas.openxmlformats.org/officeDocument/2006/relationships/image" Target="../media/image9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3.xml"/><Relationship Id="rId7" Type="http://schemas.openxmlformats.org/officeDocument/2006/relationships/image" Target="../media/image9.emf"/><Relationship Id="rId2" Type="http://schemas.openxmlformats.org/officeDocument/2006/relationships/tags" Target="../tags/tag72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7.xml"/><Relationship Id="rId7" Type="http://schemas.openxmlformats.org/officeDocument/2006/relationships/image" Target="../media/image9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8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0.xml"/><Relationship Id="rId7" Type="http://schemas.openxmlformats.org/officeDocument/2006/relationships/image" Target="../media/image9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3.xml"/><Relationship Id="rId7" Type="http://schemas.openxmlformats.org/officeDocument/2006/relationships/image" Target="../media/image9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EA2127-E01B-429D-8AD8-E84AD8297EF8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305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13FB54-66F2-4B0A-816C-9BF3C444EDEB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2228" userDrawn="1">
          <p15:clr>
            <a:srgbClr val="FBAE40"/>
          </p15:clr>
        </p15:guide>
        <p15:guide id="4" orient="horz" pos="245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orient="horz" pos="1094" userDrawn="1">
          <p15:clr>
            <a:srgbClr val="FBAE40"/>
          </p15:clr>
        </p15:guide>
        <p15:guide id="8" orient="horz" pos="40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D96251-1BA7-4493-B46A-5F4F1AD475DB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4086" userDrawn="1">
          <p15:clr>
            <a:srgbClr val="FBAE40"/>
          </p15:clr>
        </p15:guide>
        <p15:guide id="4" orient="horz" pos="1094" userDrawn="1">
          <p15:clr>
            <a:srgbClr val="FBAE40"/>
          </p15:clr>
        </p15:guide>
        <p15:guide id="5" pos="2150" userDrawn="1">
          <p15:clr>
            <a:srgbClr val="FBAE40"/>
          </p15:clr>
        </p15:guide>
        <p15:guide id="6" pos="2376" userDrawn="1">
          <p15:clr>
            <a:srgbClr val="FBAE40"/>
          </p15:clr>
        </p15:guide>
        <p15:guide id="7" pos="3908" userDrawn="1">
          <p15:clr>
            <a:srgbClr val="FBAE40"/>
          </p15:clr>
        </p15:guide>
        <p15:guide id="8" pos="4021" userDrawn="1">
          <p15:clr>
            <a:srgbClr val="FBAE40"/>
          </p15:clr>
        </p15:guide>
        <p15:guide id="9" pos="4134" userDrawn="1">
          <p15:clr>
            <a:srgbClr val="FBAE40"/>
          </p15:clr>
        </p15:guide>
        <p15:guide id="10" pos="5667" userDrawn="1">
          <p15:clr>
            <a:srgbClr val="FBAE40"/>
          </p15:clr>
        </p15:guide>
        <p15:guide id="11" pos="5894" userDrawn="1">
          <p15:clr>
            <a:srgbClr val="FBAE40"/>
          </p15:clr>
        </p15:guide>
        <p15:guide id="13" orient="horz" pos="2704" userDrawn="1">
          <p15:clr>
            <a:srgbClr val="FBAE40"/>
          </p15:clr>
        </p15:guide>
        <p15:guide id="14" orient="horz" pos="2591" userDrawn="1">
          <p15:clr>
            <a:srgbClr val="FBAE40"/>
          </p15:clr>
        </p15:guide>
        <p15:guide id="15" orient="horz" pos="24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C7CAD690-6EDE-452E-A773-56FD48CE452C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211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704" userDrawn="1">
          <p15:clr>
            <a:srgbClr val="FBAE40"/>
          </p15:clr>
        </p15:guide>
        <p15:guide id="5" orient="horz" pos="2478" userDrawn="1">
          <p15:clr>
            <a:srgbClr val="FBAE40"/>
          </p15:clr>
        </p15:guide>
        <p15:guide id="6" orient="horz" pos="4086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3" pos="5667" userDrawn="1">
          <p15:clr>
            <a:srgbClr val="FBAE40"/>
          </p15:clr>
        </p15:guide>
        <p15:guide id="14" pos="589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105BCC33-7D4E-4F7A-896D-B34E8B575996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74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478" userDrawn="1">
          <p15:clr>
            <a:srgbClr val="FBAE40"/>
          </p15:clr>
        </p15:guide>
        <p15:guide id="5" orient="horz" pos="2591" userDrawn="1">
          <p15:clr>
            <a:srgbClr val="FBAE40"/>
          </p15:clr>
        </p15:guide>
        <p15:guide id="6" orient="horz" pos="2704" userDrawn="1">
          <p15:clr>
            <a:srgbClr val="FBAE40"/>
          </p15:clr>
        </p15:guide>
        <p15:guide id="7" orient="horz" pos="4085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4" pos="5667" userDrawn="1">
          <p15:clr>
            <a:srgbClr val="FBAE40"/>
          </p15:clr>
        </p15:guide>
        <p15:guide id="15" pos="58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BA058B5-8FE7-4D6D-BBD4-D9C46C7F5ED6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2EE5724-3A75-4BE6-B1CC-AB9B0E6493E5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9B0CA3-D3C0-49D6-A94C-2E86E2737DCE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9AD369-009C-4318-A907-58C759A3868C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2A9127-ACC5-42D6-AAFA-1118E9401944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BD191BC-7D90-4DBE-9043-E20D0E6721E1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1236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3D77B2-977B-4107-BAF7-39A23056B492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417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BDCB557-6768-45F5-8F33-8156AC082C4B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6731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3DE258-D42E-42D5-8700-DFEC0A141211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4643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F75F9A7-78B5-4FA3-A2CF-D82ECED08399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4702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6015FF6-7050-41C2-B6D2-3C38DE409D67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8446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56C3474-DBAE-49D1-9E19-09B5ABAE5496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5984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0CFAAF3-2B25-4D61-AADA-42AD511CCE9A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3781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55B8EB5-44E3-41BB-BDF3-B8DCDA085CC1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8117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53E3F1-0FB3-4693-BE8E-7909B404ECC7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6827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58F4163-8F69-474A-B9AC-BAA556208397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3591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31C6A52-9679-4CD5-934F-1F4A4110D9BA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5764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18DA03-4CE7-4D45-B439-76C8BD7B4BD2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72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F962E33-14AC-427E-AFFA-5C874EF9167E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936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E2EC237F-93C1-4492-A62A-C19360808851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17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4D9C5E-030C-4D3D-B306-B20F1FB4E72A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8672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A177893-7BD3-4EBC-B6A1-19A4CFB58406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6396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2EF246C-410A-410D-BB73-890A7001C906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2604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107016-BFB3-4DBA-A8DE-CF4024B657BE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9187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9E95516-D759-437D-8E42-12975965CB97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8942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03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32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8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421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32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7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27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32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73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1C5DC3-B80D-4EAA-A553-417F04ACFA9B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 userDrawn="1">
          <p15:clr>
            <a:srgbClr val="FBAE40"/>
          </p15:clr>
        </p15:guide>
        <p15:guide id="2" orient="horz" pos="4086" userDrawn="1">
          <p15:clr>
            <a:srgbClr val="FBAE40"/>
          </p15:clr>
        </p15:guide>
        <p15:guide id="3" orient="horz" pos="1162" userDrawn="1">
          <p15:clr>
            <a:srgbClr val="FBAE40"/>
          </p15:clr>
        </p15:guide>
        <p15:guide id="4" pos="4214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94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11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65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91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48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1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5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48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42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017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48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42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84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92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592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4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4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75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1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103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 err="1">
                <a:solidFill>
                  <a:schemeClr val="tx1"/>
                </a:solidFill>
              </a:rPr>
              <a:t>Schutz</a:t>
            </a:r>
            <a:endParaRPr lang="en-US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46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12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080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F8E5CB-EB64-430B-B5DB-555E3977332E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94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54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35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446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54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47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280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5400" b="0" i="1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err="1">
                <a:solidFill>
                  <a:schemeClr val="tx1"/>
                </a:solidFill>
              </a:rPr>
              <a:t>Schutz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36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17C1444-A15E-4B1F-9CB7-EF76474339B1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68CAFF-3CF7-4196-86EA-DB01968265D9}" type="datetime1">
              <a:rPr lang="en-US" smtClean="0"/>
              <a:t>14/0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4DDD97A-5AE9-4825-BAD5-0AB1E596CCE5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AF1E83-76C0-45B5-BDFB-0E6012FC8EBC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7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oleObject" Target="../embeddings/oleObject2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20.xm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vmlDrawing" Target="../drawings/vmlDrawing3.v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8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3.bin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20BE8F3-D832-453D-9695-E871C8B35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0508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3" imgW="532" imgH="533" progId="TCLayout.ActiveDocument.1">
                  <p:embed/>
                </p:oleObj>
              </mc:Choice>
              <mc:Fallback>
                <p:oleObj name="think-cell Slide" r:id="rId23" imgW="532" imgH="53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20BE8F3-D832-453D-9695-E871C8B35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EE240E5C-4DF6-4191-8979-3CE7A84827A8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204DD380-41ED-4FDE-9E87-D7C4D6EFB6C3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de-DE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57" r:id="rId12"/>
    <p:sldLayoutId id="2147484358" r:id="rId13"/>
    <p:sldLayoutId id="2147484349" r:id="rId14"/>
    <p:sldLayoutId id="2147484350" r:id="rId15"/>
    <p:sldLayoutId id="2147484351" r:id="rId16"/>
    <p:sldLayoutId id="2147484352" r:id="rId17"/>
    <p:sldLayoutId id="214748435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67CD600-26AC-4F3C-8519-F8D2EF918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12701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23" imgW="532" imgH="533" progId="TCLayout.ActiveDocument.1">
                  <p:embed/>
                </p:oleObj>
              </mc:Choice>
              <mc:Fallback>
                <p:oleObj name="think-cell Slide" r:id="rId23" imgW="532" imgH="53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67CD600-26AC-4F3C-8519-F8D2EF918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C22EF613-52C3-4156-B72E-8E3DB98463CD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B31C1364-4515-4090-8A89-01B87953C147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de-DE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388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  <p:sldLayoutId id="2147484373" r:id="rId13"/>
    <p:sldLayoutId id="2147484374" r:id="rId14"/>
    <p:sldLayoutId id="2147484375" r:id="rId15"/>
    <p:sldLayoutId id="2147484376" r:id="rId16"/>
    <p:sldLayoutId id="2147484377" r:id="rId17"/>
    <p:sldLayoutId id="214748437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84001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0" i="0" u="none" baseline="0">
              <a:solidFill>
                <a:srgbClr val="FFFFFF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14/0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/// Holmes Steering Committee /// 2021-08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/>
          </a:p>
        </p:txBody>
      </p:sp>
      <p:sp>
        <p:nvSpPr>
          <p:cNvPr id="10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B62E1321-E7D2-4EE0-8E3F-4E57754C4E20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54532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  <p:sldLayoutId id="2147484384" r:id="rId5"/>
    <p:sldLayoutId id="2147484385" r:id="rId6"/>
    <p:sldLayoutId id="2147484386" r:id="rId7"/>
    <p:sldLayoutId id="2147484387" r:id="rId8"/>
    <p:sldLayoutId id="2147484388" r:id="rId9"/>
    <p:sldLayoutId id="2147484389" r:id="rId10"/>
    <p:sldLayoutId id="2147484390" r:id="rId11"/>
    <p:sldLayoutId id="2147484391" r:id="rId12"/>
    <p:sldLayoutId id="2147484392" r:id="rId13"/>
    <p:sldLayoutId id="2147484393" r:id="rId14"/>
    <p:sldLayoutId id="2147484394" r:id="rId15"/>
    <p:sldLayoutId id="2147484395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3" Type="http://schemas.openxmlformats.org/officeDocument/2006/relationships/tags" Target="../tags/tag94.xml"/><Relationship Id="rId21" Type="http://schemas.openxmlformats.org/officeDocument/2006/relationships/tags" Target="../tags/tag112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slideLayout" Target="../slideLayouts/slideLayout8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5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6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7.jpeg"/><Relationship Id="rId2" Type="http://schemas.openxmlformats.org/officeDocument/2006/relationships/tags" Target="../tags/tag12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8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jpeg"/><Relationship Id="rId5" Type="http://schemas.openxmlformats.org/officeDocument/2006/relationships/image" Target="../media/image9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B48D999-3571-4C16-9036-11415E5D22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teering Committe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788611-22B7-48F2-AEDE-57AEC570D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0CF5A7-95DB-454D-94B3-D62974FC5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619A09-698C-4E3C-881C-54FC53972E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2021-08-20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0" y="2470432"/>
            <a:ext cx="1678376" cy="582411"/>
          </a:xfrm>
          <a:prstGeom prst="rect">
            <a:avLst/>
          </a:prstGeom>
        </p:spPr>
      </p:pic>
      <p:pic>
        <p:nvPicPr>
          <p:cNvPr id="15" name="Picture Placeholder 14" descr="Sherlock Holmes statue : London Remembers, Aiming to ...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428" b="942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8697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ct </a:t>
            </a:r>
            <a:br>
              <a:rPr lang="de-DE"/>
            </a:br>
            <a:r>
              <a:rPr lang="de-DE"/>
              <a:t>KPI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4414" y="2444854"/>
            <a:ext cx="1847775" cy="64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78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ct Status: Overview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1</a:t>
            </a:fld>
            <a:endParaRPr lang="en-US"/>
          </a:p>
        </p:txBody>
      </p:sp>
      <p:grpSp>
        <p:nvGrpSpPr>
          <p:cNvPr id="20" name="Traffic Light Green"/>
          <p:cNvGrpSpPr/>
          <p:nvPr>
            <p:custDataLst>
              <p:tags r:id="rId1"/>
            </p:custDataLst>
          </p:nvPr>
        </p:nvGrpSpPr>
        <p:grpSpPr>
          <a:xfrm>
            <a:off x="984651" y="1961945"/>
            <a:ext cx="498737" cy="1142463"/>
            <a:chOff x="1102691" y="1958863"/>
            <a:chExt cx="498737" cy="1142463"/>
          </a:xfrm>
        </p:grpSpPr>
        <p:sp>
          <p:nvSpPr>
            <p:cNvPr id="15" name="Rechteck 7"/>
            <p:cNvSpPr/>
            <p:nvPr>
              <p:custDataLst>
                <p:tags r:id="rId20"/>
              </p:custDataLst>
            </p:nvPr>
          </p:nvSpPr>
          <p:spPr bwMode="gray">
            <a:xfrm>
              <a:off x="1102691" y="1958863"/>
              <a:ext cx="498737" cy="1142463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8"/>
            <p:cNvSpPr/>
            <p:nvPr>
              <p:custDataLst>
                <p:tags r:id="rId21"/>
              </p:custDataLst>
            </p:nvPr>
          </p:nvSpPr>
          <p:spPr bwMode="gray">
            <a:xfrm>
              <a:off x="1157329" y="2006353"/>
              <a:ext cx="389462" cy="104748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Ellipse 9"/>
            <p:cNvSpPr/>
            <p:nvPr>
              <p:custDataLst>
                <p:tags r:id="rId22"/>
              </p:custDataLst>
            </p:nvPr>
          </p:nvSpPr>
          <p:spPr bwMode="gray">
            <a:xfrm>
              <a:off x="1219158" y="2063385"/>
              <a:ext cx="264229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Ellipse 10"/>
            <p:cNvSpPr/>
            <p:nvPr>
              <p:custDataLst>
                <p:tags r:id="rId23"/>
              </p:custDataLst>
            </p:nvPr>
          </p:nvSpPr>
          <p:spPr bwMode="gray">
            <a:xfrm>
              <a:off x="1219158" y="2395112"/>
              <a:ext cx="264230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Ellipse 11"/>
            <p:cNvSpPr/>
            <p:nvPr>
              <p:custDataLst>
                <p:tags r:id="rId24"/>
              </p:custDataLst>
            </p:nvPr>
          </p:nvSpPr>
          <p:spPr bwMode="gray">
            <a:xfrm>
              <a:off x="1219158" y="2726840"/>
              <a:ext cx="264230" cy="264229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" name="TextBox 5"/>
          <p:cNvSpPr txBox="1"/>
          <p:nvPr/>
        </p:nvSpPr>
        <p:spPr bwMode="gray">
          <a:xfrm>
            <a:off x="1546198" y="1948891"/>
            <a:ext cx="2468473" cy="1142463"/>
          </a:xfrm>
          <a:prstGeom prst="rect">
            <a:avLst/>
          </a:prstGeom>
          <a:solidFill>
            <a:srgbClr val="EFEDEF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sz="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Timeline</a:t>
            </a:r>
          </a:p>
          <a:p>
            <a:pPr algn="ctr"/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On Track</a:t>
            </a:r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1767890" y="2370394"/>
            <a:ext cx="202508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Traffic Light Green"/>
          <p:cNvGrpSpPr/>
          <p:nvPr>
            <p:custDataLst>
              <p:tags r:id="rId2"/>
            </p:custDataLst>
          </p:nvPr>
        </p:nvGrpSpPr>
        <p:grpSpPr>
          <a:xfrm>
            <a:off x="4645181" y="1964616"/>
            <a:ext cx="498737" cy="1142463"/>
            <a:chOff x="1102691" y="1958863"/>
            <a:chExt cx="498737" cy="1142463"/>
          </a:xfrm>
        </p:grpSpPr>
        <p:sp>
          <p:nvSpPr>
            <p:cNvPr id="91" name="Rechteck 7"/>
            <p:cNvSpPr/>
            <p:nvPr>
              <p:custDataLst>
                <p:tags r:id="rId15"/>
              </p:custDataLst>
            </p:nvPr>
          </p:nvSpPr>
          <p:spPr bwMode="gray">
            <a:xfrm>
              <a:off x="1102691" y="1958863"/>
              <a:ext cx="498737" cy="1142463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eck 8"/>
            <p:cNvSpPr/>
            <p:nvPr>
              <p:custDataLst>
                <p:tags r:id="rId16"/>
              </p:custDataLst>
            </p:nvPr>
          </p:nvSpPr>
          <p:spPr bwMode="gray">
            <a:xfrm>
              <a:off x="1157329" y="2006353"/>
              <a:ext cx="389462" cy="104748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Ellipse 9"/>
            <p:cNvSpPr/>
            <p:nvPr>
              <p:custDataLst>
                <p:tags r:id="rId17"/>
              </p:custDataLst>
            </p:nvPr>
          </p:nvSpPr>
          <p:spPr bwMode="gray">
            <a:xfrm>
              <a:off x="1219158" y="2063385"/>
              <a:ext cx="264229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Ellipse 10"/>
            <p:cNvSpPr/>
            <p:nvPr>
              <p:custDataLst>
                <p:tags r:id="rId18"/>
              </p:custDataLst>
            </p:nvPr>
          </p:nvSpPr>
          <p:spPr bwMode="gray">
            <a:xfrm>
              <a:off x="1219158" y="2395112"/>
              <a:ext cx="264230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Ellipse 11"/>
            <p:cNvSpPr/>
            <p:nvPr>
              <p:custDataLst>
                <p:tags r:id="rId19"/>
              </p:custDataLst>
            </p:nvPr>
          </p:nvSpPr>
          <p:spPr bwMode="gray">
            <a:xfrm>
              <a:off x="1219158" y="2726840"/>
              <a:ext cx="264230" cy="264229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6" name="TextBox 95"/>
          <p:cNvSpPr txBox="1"/>
          <p:nvPr/>
        </p:nvSpPr>
        <p:spPr bwMode="gray">
          <a:xfrm>
            <a:off x="5206728" y="1951562"/>
            <a:ext cx="2468473" cy="1142463"/>
          </a:xfrm>
          <a:prstGeom prst="rect">
            <a:avLst/>
          </a:prstGeom>
          <a:solidFill>
            <a:srgbClr val="EFEDEF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sz="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Costs</a:t>
            </a:r>
          </a:p>
          <a:p>
            <a:pPr algn="ctr"/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Under Budget</a:t>
            </a:r>
          </a:p>
        </p:txBody>
      </p:sp>
      <p:cxnSp>
        <p:nvCxnSpPr>
          <p:cNvPr id="97" name="Straight Connector 96"/>
          <p:cNvCxnSpPr/>
          <p:nvPr/>
        </p:nvCxnSpPr>
        <p:spPr bwMode="gray">
          <a:xfrm>
            <a:off x="5428420" y="2373065"/>
            <a:ext cx="202508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 bwMode="gray">
          <a:xfrm>
            <a:off x="8867258" y="1936756"/>
            <a:ext cx="2468473" cy="1142463"/>
          </a:xfrm>
          <a:prstGeom prst="rect">
            <a:avLst/>
          </a:prstGeom>
          <a:solidFill>
            <a:srgbClr val="EFEDEF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sz="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Team / Ressources</a:t>
            </a:r>
          </a:p>
          <a:p>
            <a:pPr algn="ctr"/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Fully staffed</a:t>
            </a:r>
          </a:p>
        </p:txBody>
      </p:sp>
      <p:cxnSp>
        <p:nvCxnSpPr>
          <p:cNvPr id="105" name="Straight Connector 104"/>
          <p:cNvCxnSpPr/>
          <p:nvPr/>
        </p:nvCxnSpPr>
        <p:spPr bwMode="gray">
          <a:xfrm>
            <a:off x="9088950" y="2358259"/>
            <a:ext cx="202508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Traffic Light Green"/>
          <p:cNvGrpSpPr/>
          <p:nvPr>
            <p:custDataLst>
              <p:tags r:id="rId3"/>
            </p:custDataLst>
          </p:nvPr>
        </p:nvGrpSpPr>
        <p:grpSpPr>
          <a:xfrm>
            <a:off x="4645180" y="3886189"/>
            <a:ext cx="498737" cy="1142463"/>
            <a:chOff x="1102691" y="1958863"/>
            <a:chExt cx="498737" cy="1142463"/>
          </a:xfrm>
        </p:grpSpPr>
        <p:sp>
          <p:nvSpPr>
            <p:cNvPr id="109" name="Rechteck 7"/>
            <p:cNvSpPr/>
            <p:nvPr>
              <p:custDataLst>
                <p:tags r:id="rId10"/>
              </p:custDataLst>
            </p:nvPr>
          </p:nvSpPr>
          <p:spPr bwMode="gray">
            <a:xfrm>
              <a:off x="1102691" y="1958863"/>
              <a:ext cx="498737" cy="1142463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hteck 8"/>
            <p:cNvSpPr/>
            <p:nvPr>
              <p:custDataLst>
                <p:tags r:id="rId11"/>
              </p:custDataLst>
            </p:nvPr>
          </p:nvSpPr>
          <p:spPr bwMode="gray">
            <a:xfrm>
              <a:off x="1157329" y="2006353"/>
              <a:ext cx="389462" cy="104748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Ellipse 9"/>
            <p:cNvSpPr/>
            <p:nvPr>
              <p:custDataLst>
                <p:tags r:id="rId12"/>
              </p:custDataLst>
            </p:nvPr>
          </p:nvSpPr>
          <p:spPr bwMode="gray">
            <a:xfrm>
              <a:off x="1219158" y="2063385"/>
              <a:ext cx="264229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Ellipse 10"/>
            <p:cNvSpPr/>
            <p:nvPr>
              <p:custDataLst>
                <p:tags r:id="rId13"/>
              </p:custDataLst>
            </p:nvPr>
          </p:nvSpPr>
          <p:spPr bwMode="gray">
            <a:xfrm>
              <a:off x="1219158" y="2395112"/>
              <a:ext cx="264230" cy="264229"/>
            </a:xfrm>
            <a:prstGeom prst="ellipse">
              <a:avLst/>
            </a:prstGeom>
            <a:solidFill>
              <a:srgbClr val="FFCC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Ellipse 11"/>
            <p:cNvSpPr/>
            <p:nvPr>
              <p:custDataLst>
                <p:tags r:id="rId14"/>
              </p:custDataLst>
            </p:nvPr>
          </p:nvSpPr>
          <p:spPr bwMode="gray">
            <a:xfrm>
              <a:off x="1219158" y="2726840"/>
              <a:ext cx="264230" cy="264229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4" name="TextBox 113"/>
          <p:cNvSpPr txBox="1"/>
          <p:nvPr/>
        </p:nvSpPr>
        <p:spPr bwMode="gray">
          <a:xfrm>
            <a:off x="5206727" y="3873135"/>
            <a:ext cx="2468473" cy="1142463"/>
          </a:xfrm>
          <a:prstGeom prst="rect">
            <a:avLst/>
          </a:prstGeom>
          <a:solidFill>
            <a:srgbClr val="EFEDEF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sz="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Risks &amp; Issues</a:t>
            </a:r>
          </a:p>
          <a:p>
            <a:pPr algn="ctr"/>
            <a:endParaRPr lang="de-DE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2 risk materialized: 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1 resolved, 1 ongoing</a:t>
            </a:r>
          </a:p>
        </p:txBody>
      </p:sp>
      <p:cxnSp>
        <p:nvCxnSpPr>
          <p:cNvPr id="115" name="Straight Connector 114"/>
          <p:cNvCxnSpPr/>
          <p:nvPr/>
        </p:nvCxnSpPr>
        <p:spPr bwMode="gray">
          <a:xfrm>
            <a:off x="5428419" y="4294638"/>
            <a:ext cx="202508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Traffic Light Yellow"/>
          <p:cNvGrpSpPr/>
          <p:nvPr>
            <p:custDataLst>
              <p:tags r:id="rId4"/>
            </p:custDataLst>
          </p:nvPr>
        </p:nvGrpSpPr>
        <p:grpSpPr>
          <a:xfrm>
            <a:off x="8305711" y="1936756"/>
            <a:ext cx="498737" cy="1142463"/>
            <a:chOff x="1804808" y="1958863"/>
            <a:chExt cx="498737" cy="1142463"/>
          </a:xfrm>
        </p:grpSpPr>
        <p:sp>
          <p:nvSpPr>
            <p:cNvPr id="59" name="Rechteck 13"/>
            <p:cNvSpPr/>
            <p:nvPr>
              <p:custDataLst>
                <p:tags r:id="rId5"/>
              </p:custDataLst>
            </p:nvPr>
          </p:nvSpPr>
          <p:spPr bwMode="gray">
            <a:xfrm>
              <a:off x="1804808" y="1958863"/>
              <a:ext cx="498737" cy="1142463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hteck 14"/>
            <p:cNvSpPr/>
            <p:nvPr>
              <p:custDataLst>
                <p:tags r:id="rId6"/>
              </p:custDataLst>
            </p:nvPr>
          </p:nvSpPr>
          <p:spPr bwMode="gray">
            <a:xfrm>
              <a:off x="1859446" y="2006353"/>
              <a:ext cx="389462" cy="104748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Ellipse 15"/>
            <p:cNvSpPr/>
            <p:nvPr>
              <p:custDataLst>
                <p:tags r:id="rId7"/>
              </p:custDataLst>
            </p:nvPr>
          </p:nvSpPr>
          <p:spPr bwMode="gray">
            <a:xfrm>
              <a:off x="1921275" y="2063385"/>
              <a:ext cx="264229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Ellipse 16"/>
            <p:cNvSpPr/>
            <p:nvPr>
              <p:custDataLst>
                <p:tags r:id="rId8"/>
              </p:custDataLst>
            </p:nvPr>
          </p:nvSpPr>
          <p:spPr bwMode="gray">
            <a:xfrm>
              <a:off x="1921275" y="2395112"/>
              <a:ext cx="264230" cy="264229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Ellipse 17"/>
            <p:cNvSpPr/>
            <p:nvPr>
              <p:custDataLst>
                <p:tags r:id="rId9"/>
              </p:custDataLst>
            </p:nvPr>
          </p:nvSpPr>
          <p:spPr bwMode="gray">
            <a:xfrm>
              <a:off x="1921275" y="2726840"/>
              <a:ext cx="264230" cy="264229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40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00000000-0008-0000-0000-000004000000}"/>
              </a:ext>
            </a:extLst>
          </p:cNvPr>
          <p:cNvGraphicFramePr>
            <a:graphicFrameLocks/>
          </p:cNvGraphicFramePr>
          <p:nvPr/>
        </p:nvGraphicFramePr>
        <p:xfrm>
          <a:off x="861196" y="1482660"/>
          <a:ext cx="7749404" cy="5065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013" y="150038"/>
            <a:ext cx="1611429" cy="559179"/>
          </a:xfrm>
          <a:prstGeom prst="rect">
            <a:avLst/>
          </a:prstGeom>
        </p:spPr>
      </p:pic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(as of July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Wingdings" panose="05000000000000000000" pitchFamily="2" charset="2"/>
              </a:rPr>
              <a:t>Cost Overview</a:t>
            </a:r>
            <a:endParaRPr lang="en-US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2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 bwMode="gray">
          <a:xfrm>
            <a:off x="8610600" y="1651885"/>
            <a:ext cx="3386487" cy="12847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baseline="0">
                <a:solidFill>
                  <a:schemeClr val="accent1"/>
                </a:solidFill>
                <a:latin typeface="Arial" panose="020B0604020202020204" pitchFamily="34" charset="0"/>
              </a:rPr>
              <a:t>Note: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>
                <a:solidFill>
                  <a:schemeClr val="accent1"/>
                </a:solidFill>
                <a:latin typeface="Arial" panose="020B0604020202020204" pitchFamily="34" charset="0"/>
              </a:rPr>
              <a:t>As Holmes will finish below the initially planned Budget. Budget re-calculation was done end of April, leading to the depicted budget drop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605937" y="1706880"/>
            <a:ext cx="0" cy="4175760"/>
          </a:xfrm>
          <a:prstGeom prst="line">
            <a:avLst/>
          </a:prstGeom>
          <a:ln w="9525" cap="flat" cmpd="sng" algn="ctr">
            <a:solidFill>
              <a:schemeClr val="accent5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 bwMode="gray">
          <a:xfrm flipH="1">
            <a:off x="3280261" y="1856785"/>
            <a:ext cx="1" cy="1000715"/>
          </a:xfrm>
          <a:prstGeom prst="straightConnector1">
            <a:avLst/>
          </a:prstGeom>
          <a:ln w="6350">
            <a:solidFill>
              <a:schemeClr val="accent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gray">
          <a:xfrm>
            <a:off x="2419865" y="2071392"/>
            <a:ext cx="824496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200" i="1">
                <a:solidFill>
                  <a:schemeClr val="accent1">
                    <a:lumMod val="75000"/>
                    <a:lumOff val="25000"/>
                  </a:schemeClr>
                </a:solidFill>
              </a:rPr>
              <a:t>Budget</a:t>
            </a:r>
            <a:br>
              <a:rPr lang="de-DE" sz="1200" i="1">
                <a:solidFill>
                  <a:schemeClr val="accent1">
                    <a:lumMod val="75000"/>
                    <a:lumOff val="25000"/>
                  </a:schemeClr>
                </a:solidFill>
              </a:rPr>
            </a:br>
            <a:r>
              <a:rPr lang="de-DE" sz="1200" i="1">
                <a:solidFill>
                  <a:schemeClr val="accent1">
                    <a:lumMod val="75000"/>
                    <a:lumOff val="25000"/>
                  </a:schemeClr>
                </a:solidFill>
              </a:rPr>
              <a:t>reduction</a:t>
            </a:r>
            <a:endParaRPr lang="en-US" sz="1200" i="1" err="1">
              <a:solidFill>
                <a:schemeClr val="accent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8610600" y="3210667"/>
          <a:ext cx="3579814" cy="2113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830">
                  <a:extLst>
                    <a:ext uri="{9D8B030D-6E8A-4147-A177-3AD203B41FA5}">
                      <a16:colId xmlns:a16="http://schemas.microsoft.com/office/drawing/2014/main" val="202172217"/>
                    </a:ext>
                  </a:extLst>
                </a:gridCol>
                <a:gridCol w="951971">
                  <a:extLst>
                    <a:ext uri="{9D8B030D-6E8A-4147-A177-3AD203B41FA5}">
                      <a16:colId xmlns:a16="http://schemas.microsoft.com/office/drawing/2014/main" val="70038692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855011826"/>
                    </a:ext>
                  </a:extLst>
                </a:gridCol>
                <a:gridCol w="912813">
                  <a:extLst>
                    <a:ext uri="{9D8B030D-6E8A-4147-A177-3AD203B41FA5}">
                      <a16:colId xmlns:a16="http://schemas.microsoft.com/office/drawing/2014/main" val="2958962851"/>
                    </a:ext>
                  </a:extLst>
                </a:gridCol>
              </a:tblGrid>
              <a:tr h="285138">
                <a:tc>
                  <a:txBody>
                    <a:bodyPr/>
                    <a:lstStyle/>
                    <a:p>
                      <a:pPr marL="0" marR="0" indent="0" algn="ctr" defTabSz="12198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888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8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0" baseline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en-US" sz="1200" b="1" kern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888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8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86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en-US" sz="1200" b="1" kern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347332"/>
                  </a:ext>
                </a:extLst>
              </a:tr>
              <a:tr h="66357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urrent Budget</a:t>
                      </a:r>
                    </a:p>
                    <a:p>
                      <a:pPr algn="ctr" fontAlgn="b"/>
                      <a:r>
                        <a:rPr lang="de-DE" sz="11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(Approved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,132,34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51,8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,384,14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576357"/>
                  </a:ext>
                </a:extLst>
              </a:tr>
              <a:tr h="73564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Budget</a:t>
                      </a:r>
                    </a:p>
                    <a:p>
                      <a:pPr algn="ctr" fontAlgn="b"/>
                      <a:r>
                        <a:rPr lang="de-DE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quir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837,750</a:t>
                      </a:r>
                      <a:r>
                        <a:rPr lang="de-DE" sz="1100" b="1" kern="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47,000 €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984,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768595"/>
                  </a:ext>
                </a:extLst>
              </a:tr>
              <a:tr h="4294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kern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duction</a:t>
                      </a:r>
                      <a:endParaRPr lang="en-US" sz="1100" kern="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94,5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4,800 €</a:t>
                      </a:r>
                      <a:endParaRPr lang="en-US" sz="1100" ker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399,390 € </a:t>
                      </a:r>
                      <a:r>
                        <a:rPr lang="en-US" sz="1100" kern="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000" ker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(-29%)</a:t>
                      </a:r>
                      <a:endParaRPr lang="en-US" sz="1100" ker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857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1783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isks</a:t>
            </a:r>
          </a:p>
        </p:txBody>
      </p:sp>
      <p:graphicFrame>
        <p:nvGraphicFramePr>
          <p:cNvPr id="18" name="Group 33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521469"/>
              </p:ext>
            </p:extLst>
          </p:nvPr>
        </p:nvGraphicFramePr>
        <p:xfrm>
          <a:off x="793694" y="1007404"/>
          <a:ext cx="10986586" cy="4493404"/>
        </p:xfrm>
        <a:graphic>
          <a:graphicData uri="http://schemas.openxmlformats.org/drawingml/2006/table">
            <a:tbl>
              <a:tblPr/>
              <a:tblGrid>
                <a:gridCol w="1432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1774">
                  <a:extLst>
                    <a:ext uri="{9D8B030D-6E8A-4147-A177-3AD203B41FA5}">
                      <a16:colId xmlns:a16="http://schemas.microsoft.com/office/drawing/2014/main" val="3070201857"/>
                    </a:ext>
                  </a:extLst>
                </a:gridCol>
                <a:gridCol w="1444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177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98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04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500">
                          <a:solidFill>
                            <a:schemeClr val="accent1"/>
                          </a:solidFill>
                        </a:rPr>
                        <a:t>Risk Title</a:t>
                      </a:r>
                    </a:p>
                  </a:txBody>
                  <a:tcPr marL="53986" marR="67482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5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act</a:t>
                      </a:r>
                      <a:endParaRPr lang="en-US" sz="15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86" marR="144000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715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5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obability</a:t>
                      </a:r>
                    </a:p>
                  </a:txBody>
                  <a:tcPr marL="53986" marR="144000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de-DE" sz="15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53986" marR="144000" marT="0" marB="68400" anchor="b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de-DE" sz="15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53986" marR="144000" marT="0" marB="68400" anchor="b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5427"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Redesign of </a:t>
                      </a:r>
                      <a:br>
                        <a:rPr kumimoji="0" lang="en-US" altLang="de-DE" sz="12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de-DE" sz="12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Auto Coder</a:t>
                      </a:r>
                      <a:endParaRPr kumimoji="0" lang="en-US" sz="1200" b="1" i="0" u="none" strike="noStrike" cap="none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>
                      <a:lvl1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1pPr>
                      <a:lvl2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2pPr>
                      <a:lvl3pPr marL="540000" indent="-270000" algn="l" defTabSz="914400" rtl="0" eaLnBrk="1" latinLnBrk="0" hangingPunct="1">
                        <a:buFontTx/>
                        <a:buBlip>
                          <a:blip r:embed="rId6"/>
                        </a:buBlip>
                      </a:lvl3pPr>
                      <a:lvl4pPr marL="810000" indent="-270000" algn="l" defTabSz="914400" rtl="0" eaLnBrk="1" latinLnBrk="0" hangingPunct="1">
                        <a:buFontTx/>
                        <a:buBlip>
                          <a:blip r:embed="rId7"/>
                        </a:buBlip>
                      </a:lvl4pPr>
                      <a:lvl5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5pPr>
                      <a:lvl6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6pPr>
                      <a:lvl7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7pPr>
                      <a:lvl8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8pPr>
                      <a:lvl9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9pPr>
                    </a:lstStyle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3429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ssource Conflict, potential impact on Validation and Timeline</a:t>
                      </a:r>
                    </a:p>
                    <a:p>
                      <a:pPr marL="3429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terialized</a:t>
                      </a: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endParaRPr lang="de-DE" sz="1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en-US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uring Validation of the new Auto Coder deficiencies were found </a:t>
                      </a:r>
                      <a:r>
                        <a:rPr lang="en-US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ollout to be postponed by one month</a:t>
                      </a:r>
                    </a:p>
                    <a:p>
                      <a:pPr marL="285750" marR="0" lvl="2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en-US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de fix and testing is ongoing, affected UAT will be re-executed</a:t>
                      </a:r>
                    </a:p>
                    <a:p>
                      <a:pPr marL="285750" marR="0" lvl="2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Go Live planned for early September</a:t>
                      </a:r>
                      <a:endParaRPr lang="en-US" sz="1200" kern="1200" baseline="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2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urrently no impact on Holmes thanks to detailed ressource planning for Holmes and additional Auto Coder activities</a:t>
                      </a:r>
                    </a:p>
                    <a:p>
                      <a:pPr marL="285750" marR="0" lvl="2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urther Delay will likely impact Holmes (and surely Medical Coding overall)</a:t>
                      </a:r>
                    </a:p>
                    <a:p>
                      <a:pPr marL="106362" marR="0" lvl="2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lang="de-DE" sz="200" kern="1200" baseline="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86" marR="67482" marT="0" marB="0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5427"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AWS instances unavailable</a:t>
                      </a:r>
                      <a:endParaRPr kumimoji="0" lang="en-US" sz="1200" b="1" i="0" u="none" strike="noStrike" cap="none" normalizeH="0" baseline="3000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>
                      <a:lvl1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1pPr>
                      <a:lvl2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2pPr>
                      <a:lvl3pPr marL="540000" indent="-270000" algn="l" defTabSz="914400" rtl="0" eaLnBrk="1" latinLnBrk="0" hangingPunct="1">
                        <a:buFontTx/>
                        <a:buBlip>
                          <a:blip r:embed="rId6"/>
                        </a:buBlip>
                      </a:lvl3pPr>
                      <a:lvl4pPr marL="810000" indent="-270000" algn="l" defTabSz="914400" rtl="0" eaLnBrk="1" latinLnBrk="0" hangingPunct="1">
                        <a:buFontTx/>
                        <a:buBlip>
                          <a:blip r:embed="rId7"/>
                        </a:buBlip>
                      </a:lvl4pPr>
                      <a:lvl5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5pPr>
                      <a:lvl6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6pPr>
                      <a:lvl7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7pPr>
                      <a:lvl8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8pPr>
                      <a:lvl9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9pPr>
                    </a:lstStyle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3429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 Model Training possible</a:t>
                      </a: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emed impossible</a:t>
                      </a: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endParaRPr lang="de-DE" sz="1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solved</a:t>
                      </a: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de-DE" sz="12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tails</a:t>
                      </a: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on </a:t>
                      </a:r>
                      <a:r>
                        <a:rPr lang="de-DE" sz="12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lide</a:t>
                      </a:r>
                      <a:endParaRPr lang="en-US" sz="12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86" marR="67482" marT="0" marB="0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5427"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Unavailability of key project resources</a:t>
                      </a:r>
                      <a:endParaRPr kumimoji="0" lang="en-US" sz="1200" b="1" i="0" u="none" strike="noStrike" cap="none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>
                      <a:lvl1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1pPr>
                      <a:lvl2pPr marL="270000" indent="-270000" algn="l" defTabSz="914400" rtl="0" eaLnBrk="1" latinLnBrk="0" hangingPunct="1">
                        <a:buFontTx/>
                        <a:buBlip>
                          <a:blip r:embed="rId5"/>
                        </a:buBlip>
                      </a:lvl2pPr>
                      <a:lvl3pPr marL="540000" indent="-270000" algn="l" defTabSz="914400" rtl="0" eaLnBrk="1" latinLnBrk="0" hangingPunct="1">
                        <a:buFontTx/>
                        <a:buBlip>
                          <a:blip r:embed="rId6"/>
                        </a:buBlip>
                      </a:lvl3pPr>
                      <a:lvl4pPr marL="810000" indent="-270000" algn="l" defTabSz="914400" rtl="0" eaLnBrk="1" latinLnBrk="0" hangingPunct="1">
                        <a:buFontTx/>
                        <a:buBlip>
                          <a:blip r:embed="rId7"/>
                        </a:buBlip>
                      </a:lvl4pPr>
                      <a:lvl5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5pPr>
                      <a:lvl6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6pPr>
                      <a:lvl7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7pPr>
                      <a:lvl8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8pPr>
                      <a:lvl9pPr marL="1080000" indent="-270000" algn="l" defTabSz="914400" rtl="0" eaLnBrk="1" latinLnBrk="0" hangingPunct="1">
                        <a:buFontTx/>
                        <a:buBlip>
                          <a:blip r:embed="rId8"/>
                        </a:buBlip>
                      </a:lvl9pPr>
                    </a:lstStyle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3429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imeline</a:t>
                      </a:r>
                    </a:p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  <a:defRPr/>
                      </a:pPr>
                      <a:endParaRPr kumimoji="0" lang="de-DE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45720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dium</a:t>
                      </a:r>
                      <a:endParaRPr kumimoji="0" lang="en-US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lang="en-US" altLang="de-DE" sz="1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wo</a:t>
                      </a: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additional ressources from Coding joined the project</a:t>
                      </a:r>
                      <a:endParaRPr lang="de-DE" sz="12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lanned</a:t>
                      </a: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absences: Detailed planning on key activities</a:t>
                      </a:r>
                      <a:endParaRPr lang="en-US" sz="1200" kern="1200" baseline="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5"/>
                        </a:buBlip>
                        <a:tabLst/>
                      </a:pP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Overallocation on multiple projects: repriorization of activities done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e-DE" sz="1200" kern="1200" baseline="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53986" marR="67482" marT="0" marB="0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grpSp>
        <p:nvGrpSpPr>
          <p:cNvPr id="94" name="Gruppieren 81"/>
          <p:cNvGrpSpPr/>
          <p:nvPr/>
        </p:nvGrpSpPr>
        <p:grpSpPr bwMode="gray">
          <a:xfrm>
            <a:off x="4819711" y="3542702"/>
            <a:ext cx="304604" cy="697760"/>
            <a:chOff x="494298" y="2474665"/>
            <a:chExt cx="412453" cy="944811"/>
          </a:xfrm>
        </p:grpSpPr>
        <p:sp>
          <p:nvSpPr>
            <p:cNvPr id="95" name="Rechteck 82"/>
            <p:cNvSpPr/>
            <p:nvPr/>
          </p:nvSpPr>
          <p:spPr bwMode="gray">
            <a:xfrm>
              <a:off x="494298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eck 83"/>
            <p:cNvSpPr/>
            <p:nvPr/>
          </p:nvSpPr>
          <p:spPr bwMode="gray">
            <a:xfrm>
              <a:off x="539483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Ellipse 84"/>
            <p:cNvSpPr/>
            <p:nvPr/>
          </p:nvSpPr>
          <p:spPr bwMode="gray">
            <a:xfrm>
              <a:off x="590616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Ellipse 85"/>
            <p:cNvSpPr/>
            <p:nvPr/>
          </p:nvSpPr>
          <p:spPr bwMode="gray">
            <a:xfrm>
              <a:off x="590616" y="2835441"/>
              <a:ext cx="218517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Ellipse 86"/>
            <p:cNvSpPr/>
            <p:nvPr/>
          </p:nvSpPr>
          <p:spPr bwMode="gray">
            <a:xfrm>
              <a:off x="590616" y="3109778"/>
              <a:ext cx="218517" cy="218516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12" name="Gruppieren 93"/>
          <p:cNvGrpSpPr/>
          <p:nvPr/>
        </p:nvGrpSpPr>
        <p:grpSpPr bwMode="gray">
          <a:xfrm>
            <a:off x="2260015" y="3537849"/>
            <a:ext cx="304604" cy="697760"/>
            <a:chOff x="1714050" y="2474665"/>
            <a:chExt cx="412453" cy="944811"/>
          </a:xfrm>
        </p:grpSpPr>
        <p:sp>
          <p:nvSpPr>
            <p:cNvPr id="113" name="Rechteck 94"/>
            <p:cNvSpPr/>
            <p:nvPr/>
          </p:nvSpPr>
          <p:spPr bwMode="gray">
            <a:xfrm>
              <a:off x="1714050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hteck 95"/>
            <p:cNvSpPr/>
            <p:nvPr/>
          </p:nvSpPr>
          <p:spPr bwMode="gray">
            <a:xfrm>
              <a:off x="1759235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Ellipse 96"/>
            <p:cNvSpPr/>
            <p:nvPr/>
          </p:nvSpPr>
          <p:spPr bwMode="gray">
            <a:xfrm>
              <a:off x="1810368" y="2561104"/>
              <a:ext cx="218516" cy="218516"/>
            </a:xfrm>
            <a:prstGeom prst="ellipse">
              <a:avLst/>
            </a:prstGeom>
            <a:solidFill>
              <a:srgbClr val="CC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Ellipse 97"/>
            <p:cNvSpPr/>
            <p:nvPr/>
          </p:nvSpPr>
          <p:spPr bwMode="gray">
            <a:xfrm>
              <a:off x="1810368" y="2835441"/>
              <a:ext cx="218517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Ellipse 98"/>
            <p:cNvSpPr/>
            <p:nvPr/>
          </p:nvSpPr>
          <p:spPr bwMode="gray">
            <a:xfrm>
              <a:off x="1810368" y="3109778"/>
              <a:ext cx="218517" cy="218516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30" name="Gruppieren 87"/>
          <p:cNvGrpSpPr/>
          <p:nvPr/>
        </p:nvGrpSpPr>
        <p:grpSpPr bwMode="gray">
          <a:xfrm>
            <a:off x="4815036" y="4593770"/>
            <a:ext cx="304604" cy="697760"/>
            <a:chOff x="1091277" y="2474665"/>
            <a:chExt cx="412453" cy="944811"/>
          </a:xfrm>
        </p:grpSpPr>
        <p:sp>
          <p:nvSpPr>
            <p:cNvPr id="131" name="Rechteck 88"/>
            <p:cNvSpPr/>
            <p:nvPr/>
          </p:nvSpPr>
          <p:spPr bwMode="gray">
            <a:xfrm>
              <a:off x="1091277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hteck 89"/>
            <p:cNvSpPr/>
            <p:nvPr/>
          </p:nvSpPr>
          <p:spPr bwMode="gray">
            <a:xfrm>
              <a:off x="1149359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Ellipse 90"/>
            <p:cNvSpPr/>
            <p:nvPr/>
          </p:nvSpPr>
          <p:spPr bwMode="gray">
            <a:xfrm>
              <a:off x="1200492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Ellipse 91"/>
            <p:cNvSpPr/>
            <p:nvPr/>
          </p:nvSpPr>
          <p:spPr bwMode="gray">
            <a:xfrm>
              <a:off x="1200492" y="2835441"/>
              <a:ext cx="218517" cy="218516"/>
            </a:xfrm>
            <a:prstGeom prst="ellipse">
              <a:avLst/>
            </a:prstGeom>
            <a:solidFill>
              <a:srgbClr val="FFCC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Ellipse 92"/>
            <p:cNvSpPr/>
            <p:nvPr/>
          </p:nvSpPr>
          <p:spPr bwMode="gray">
            <a:xfrm>
              <a:off x="1200492" y="3109778"/>
              <a:ext cx="218517" cy="218516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42" name="Gruppieren 81"/>
          <p:cNvGrpSpPr/>
          <p:nvPr/>
        </p:nvGrpSpPr>
        <p:grpSpPr bwMode="gray">
          <a:xfrm>
            <a:off x="11262754" y="3562364"/>
            <a:ext cx="304604" cy="697760"/>
            <a:chOff x="494298" y="2474665"/>
            <a:chExt cx="412453" cy="944811"/>
          </a:xfrm>
        </p:grpSpPr>
        <p:sp>
          <p:nvSpPr>
            <p:cNvPr id="143" name="Rechteck 82"/>
            <p:cNvSpPr/>
            <p:nvPr/>
          </p:nvSpPr>
          <p:spPr bwMode="gray">
            <a:xfrm>
              <a:off x="494298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hteck 83"/>
            <p:cNvSpPr/>
            <p:nvPr/>
          </p:nvSpPr>
          <p:spPr bwMode="gray">
            <a:xfrm>
              <a:off x="539483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Ellipse 84"/>
            <p:cNvSpPr/>
            <p:nvPr/>
          </p:nvSpPr>
          <p:spPr bwMode="gray">
            <a:xfrm>
              <a:off x="590616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Ellipse 85"/>
            <p:cNvSpPr/>
            <p:nvPr/>
          </p:nvSpPr>
          <p:spPr bwMode="gray">
            <a:xfrm>
              <a:off x="590616" y="2835441"/>
              <a:ext cx="218517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Ellipse 86"/>
            <p:cNvSpPr/>
            <p:nvPr/>
          </p:nvSpPr>
          <p:spPr bwMode="gray">
            <a:xfrm>
              <a:off x="590616" y="3109778"/>
              <a:ext cx="218517" cy="218516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0" name="Gruppieren 81"/>
          <p:cNvGrpSpPr/>
          <p:nvPr/>
        </p:nvGrpSpPr>
        <p:grpSpPr bwMode="gray">
          <a:xfrm>
            <a:off x="11262754" y="4586810"/>
            <a:ext cx="304604" cy="697760"/>
            <a:chOff x="494298" y="2474665"/>
            <a:chExt cx="412453" cy="944811"/>
          </a:xfrm>
        </p:grpSpPr>
        <p:sp>
          <p:nvSpPr>
            <p:cNvPr id="161" name="Rechteck 82"/>
            <p:cNvSpPr/>
            <p:nvPr/>
          </p:nvSpPr>
          <p:spPr bwMode="gray">
            <a:xfrm>
              <a:off x="494298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 83"/>
            <p:cNvSpPr/>
            <p:nvPr/>
          </p:nvSpPr>
          <p:spPr bwMode="gray">
            <a:xfrm>
              <a:off x="539483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Ellipse 84"/>
            <p:cNvSpPr/>
            <p:nvPr/>
          </p:nvSpPr>
          <p:spPr bwMode="gray">
            <a:xfrm>
              <a:off x="590616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Ellipse 85"/>
            <p:cNvSpPr/>
            <p:nvPr/>
          </p:nvSpPr>
          <p:spPr bwMode="gray">
            <a:xfrm>
              <a:off x="590616" y="2835441"/>
              <a:ext cx="218517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Ellipse 86"/>
            <p:cNvSpPr/>
            <p:nvPr/>
          </p:nvSpPr>
          <p:spPr bwMode="gray">
            <a:xfrm>
              <a:off x="590616" y="3109778"/>
              <a:ext cx="218517" cy="218516"/>
            </a:xfrm>
            <a:prstGeom prst="ellipse">
              <a:avLst/>
            </a:prstGeom>
            <a:solidFill>
              <a:srgbClr val="66B51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260015" y="4589076"/>
            <a:ext cx="304604" cy="697760"/>
            <a:chOff x="2995513" y="4520730"/>
            <a:chExt cx="304604" cy="697760"/>
          </a:xfrm>
        </p:grpSpPr>
        <p:grpSp>
          <p:nvGrpSpPr>
            <p:cNvPr id="106" name="Gruppieren 87"/>
            <p:cNvGrpSpPr/>
            <p:nvPr/>
          </p:nvGrpSpPr>
          <p:grpSpPr bwMode="gray">
            <a:xfrm>
              <a:off x="2995513" y="4520730"/>
              <a:ext cx="304604" cy="697760"/>
              <a:chOff x="1104174" y="2474665"/>
              <a:chExt cx="412453" cy="944811"/>
            </a:xfrm>
          </p:grpSpPr>
          <p:sp>
            <p:nvSpPr>
              <p:cNvPr id="107" name="Rechteck 88"/>
              <p:cNvSpPr/>
              <p:nvPr/>
            </p:nvSpPr>
            <p:spPr bwMode="gray">
              <a:xfrm>
                <a:off x="1104174" y="2474665"/>
                <a:ext cx="412453" cy="944811"/>
              </a:xfrm>
              <a:prstGeom prst="rect">
                <a:avLst/>
              </a:prstGeom>
              <a:solidFill>
                <a:srgbClr val="EFEDEF"/>
              </a:solidFill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hteck 89"/>
              <p:cNvSpPr/>
              <p:nvPr/>
            </p:nvSpPr>
            <p:spPr bwMode="gray">
              <a:xfrm>
                <a:off x="1149359" y="2513939"/>
                <a:ext cx="322083" cy="866263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Ellipse 92"/>
              <p:cNvSpPr/>
              <p:nvPr/>
            </p:nvSpPr>
            <p:spPr bwMode="gray">
              <a:xfrm>
                <a:off x="1200492" y="3109778"/>
                <a:ext cx="218517" cy="218516"/>
              </a:xfrm>
              <a:prstGeom prst="ellipse">
                <a:avLst/>
              </a:prstGeom>
              <a:solidFill>
                <a:srgbClr val="DAD6DA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4" name="Ellipse 96"/>
            <p:cNvSpPr/>
            <p:nvPr/>
          </p:nvSpPr>
          <p:spPr bwMode="gray">
            <a:xfrm>
              <a:off x="3066902" y="4585522"/>
              <a:ext cx="161378" cy="161378"/>
            </a:xfrm>
            <a:prstGeom prst="ellipse">
              <a:avLst/>
            </a:prstGeom>
            <a:solidFill>
              <a:srgbClr val="CC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Ellipse 97"/>
            <p:cNvSpPr/>
            <p:nvPr/>
          </p:nvSpPr>
          <p:spPr bwMode="gray">
            <a:xfrm>
              <a:off x="3066902" y="4788125"/>
              <a:ext cx="161379" cy="161378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27" name="Gruppieren 93"/>
          <p:cNvGrpSpPr/>
          <p:nvPr/>
        </p:nvGrpSpPr>
        <p:grpSpPr bwMode="gray">
          <a:xfrm>
            <a:off x="4819711" y="1563683"/>
            <a:ext cx="304604" cy="697760"/>
            <a:chOff x="1714050" y="2474665"/>
            <a:chExt cx="412453" cy="944811"/>
          </a:xfrm>
        </p:grpSpPr>
        <p:sp>
          <p:nvSpPr>
            <p:cNvPr id="128" name="Rechteck 94"/>
            <p:cNvSpPr/>
            <p:nvPr/>
          </p:nvSpPr>
          <p:spPr bwMode="gray">
            <a:xfrm>
              <a:off x="1714050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eck 95"/>
            <p:cNvSpPr/>
            <p:nvPr/>
          </p:nvSpPr>
          <p:spPr bwMode="gray">
            <a:xfrm>
              <a:off x="1759235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Ellipse 96"/>
            <p:cNvSpPr/>
            <p:nvPr/>
          </p:nvSpPr>
          <p:spPr bwMode="gray">
            <a:xfrm>
              <a:off x="1810368" y="2561104"/>
              <a:ext cx="218516" cy="218516"/>
            </a:xfrm>
            <a:prstGeom prst="ellipse">
              <a:avLst/>
            </a:prstGeom>
            <a:solidFill>
              <a:srgbClr val="CC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Ellipse 97"/>
            <p:cNvSpPr/>
            <p:nvPr/>
          </p:nvSpPr>
          <p:spPr bwMode="gray">
            <a:xfrm>
              <a:off x="1810368" y="2835441"/>
              <a:ext cx="218517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Ellipse 98"/>
            <p:cNvSpPr/>
            <p:nvPr/>
          </p:nvSpPr>
          <p:spPr bwMode="gray">
            <a:xfrm>
              <a:off x="1810368" y="3109778"/>
              <a:ext cx="218517" cy="218516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7" name="Gruppieren 87"/>
          <p:cNvGrpSpPr/>
          <p:nvPr/>
        </p:nvGrpSpPr>
        <p:grpSpPr bwMode="gray">
          <a:xfrm>
            <a:off x="11267123" y="1569116"/>
            <a:ext cx="304604" cy="697760"/>
            <a:chOff x="1091277" y="2474665"/>
            <a:chExt cx="412453" cy="944811"/>
          </a:xfrm>
        </p:grpSpPr>
        <p:sp>
          <p:nvSpPr>
            <p:cNvPr id="158" name="Rechteck 88"/>
            <p:cNvSpPr/>
            <p:nvPr/>
          </p:nvSpPr>
          <p:spPr bwMode="gray">
            <a:xfrm>
              <a:off x="1091277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hteck 89"/>
            <p:cNvSpPr/>
            <p:nvPr/>
          </p:nvSpPr>
          <p:spPr bwMode="gray">
            <a:xfrm>
              <a:off x="1149359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Ellipse 90"/>
            <p:cNvSpPr/>
            <p:nvPr/>
          </p:nvSpPr>
          <p:spPr bwMode="gray">
            <a:xfrm>
              <a:off x="1200492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Ellipse 91"/>
            <p:cNvSpPr/>
            <p:nvPr/>
          </p:nvSpPr>
          <p:spPr bwMode="gray">
            <a:xfrm>
              <a:off x="1200492" y="2835441"/>
              <a:ext cx="218517" cy="218516"/>
            </a:xfrm>
            <a:prstGeom prst="ellipse">
              <a:avLst/>
            </a:prstGeom>
            <a:solidFill>
              <a:srgbClr val="FFCC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Ellipse 92"/>
            <p:cNvSpPr/>
            <p:nvPr/>
          </p:nvSpPr>
          <p:spPr bwMode="gray">
            <a:xfrm>
              <a:off x="1200492" y="3109778"/>
              <a:ext cx="218517" cy="218516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69" name="Gruppieren 87"/>
          <p:cNvGrpSpPr/>
          <p:nvPr/>
        </p:nvGrpSpPr>
        <p:grpSpPr bwMode="gray">
          <a:xfrm>
            <a:off x="2259535" y="1566364"/>
            <a:ext cx="304604" cy="697760"/>
            <a:chOff x="1104174" y="2474665"/>
            <a:chExt cx="412453" cy="944811"/>
          </a:xfrm>
        </p:grpSpPr>
        <p:sp>
          <p:nvSpPr>
            <p:cNvPr id="170" name="Rechteck 88"/>
            <p:cNvSpPr/>
            <p:nvPr/>
          </p:nvSpPr>
          <p:spPr bwMode="gray">
            <a:xfrm>
              <a:off x="1104174" y="2474665"/>
              <a:ext cx="412453" cy="944811"/>
            </a:xfrm>
            <a:prstGeom prst="rect">
              <a:avLst/>
            </a:prstGeom>
            <a:solidFill>
              <a:srgbClr val="EFEDEF"/>
            </a:solidFill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hteck 89"/>
            <p:cNvSpPr/>
            <p:nvPr/>
          </p:nvSpPr>
          <p:spPr bwMode="gray">
            <a:xfrm>
              <a:off x="1149359" y="2513939"/>
              <a:ext cx="322083" cy="866263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Ellipse 90"/>
            <p:cNvSpPr/>
            <p:nvPr/>
          </p:nvSpPr>
          <p:spPr bwMode="gray">
            <a:xfrm>
              <a:off x="1200492" y="2561104"/>
              <a:ext cx="218516" cy="218516"/>
            </a:xfrm>
            <a:prstGeom prst="ellipse">
              <a:avLst/>
            </a:prstGeom>
            <a:solidFill>
              <a:srgbClr val="DAD6DA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Ellipse 91"/>
            <p:cNvSpPr/>
            <p:nvPr/>
          </p:nvSpPr>
          <p:spPr bwMode="gray">
            <a:xfrm>
              <a:off x="1200492" y="2835441"/>
              <a:ext cx="218517" cy="218516"/>
            </a:xfrm>
            <a:prstGeom prst="ellipse">
              <a:avLst/>
            </a:prstGeom>
            <a:solidFill>
              <a:srgbClr val="FFCC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Ellipse 92"/>
            <p:cNvSpPr/>
            <p:nvPr/>
          </p:nvSpPr>
          <p:spPr bwMode="gray">
            <a:xfrm>
              <a:off x="1200492" y="3109778"/>
              <a:ext cx="218517" cy="218516"/>
            </a:xfrm>
            <a:prstGeom prst="ellipse">
              <a:avLst/>
            </a:prstGeom>
            <a:solidFill>
              <a:srgbClr val="DAD6DA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4074268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141B91D4-DCB5-4E45-8893-F4C6D7E1C0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908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141B91D4-DCB5-4E45-8893-F4C6D7E1C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9539F012-EC9A-441E-9F30-0E52D357A3CB}"/>
              </a:ext>
            </a:extLst>
          </p:cNvPr>
          <p:cNvSpPr>
            <a:spLocks/>
          </p:cNvSpPr>
          <p:nvPr/>
        </p:nvSpPr>
        <p:spPr bwMode="gray">
          <a:xfrm>
            <a:off x="5422169" y="4280512"/>
            <a:ext cx="6419540" cy="1955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FA5E893-3C91-4212-B9F3-A9C5D5AABC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7BCFD8-3197-45E3-AFB0-5778CECB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Update AWS </a:t>
            </a:r>
            <a:r>
              <a:rPr lang="de-DE" err="1"/>
              <a:t>issues</a:t>
            </a:r>
            <a:r>
              <a:rPr lang="de-DE"/>
              <a:t> &amp; </a:t>
            </a:r>
            <a:r>
              <a:rPr lang="de-DE" err="1"/>
              <a:t>outlook</a:t>
            </a:r>
            <a:r>
              <a:rPr lang="de-DE"/>
              <a:t> </a:t>
            </a:r>
            <a:r>
              <a:rPr lang="de-DE" err="1"/>
              <a:t>cos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operation</a:t>
            </a:r>
            <a:r>
              <a:rPr lang="de-DE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593858-6823-4F59-8463-2A725B5C8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94E7E6-1246-47B1-8E33-4A8BC9E9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4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746226-5B1E-451C-B4FB-0E93BA0A32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4672" y="1464392"/>
            <a:ext cx="4389801" cy="24692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5B4E9B0-1CCF-4ADB-97F6-5BE70B98DFB0}"/>
              </a:ext>
            </a:extLst>
          </p:cNvPr>
          <p:cNvGrpSpPr>
            <a:grpSpLocks/>
          </p:cNvGrpSpPr>
          <p:nvPr/>
        </p:nvGrpSpPr>
        <p:grpSpPr>
          <a:xfrm>
            <a:off x="5981476" y="1733079"/>
            <a:ext cx="148278" cy="493286"/>
            <a:chOff x="5688912" y="2372505"/>
            <a:chExt cx="712725" cy="1671702"/>
          </a:xfrm>
        </p:grpSpPr>
        <p:sp>
          <p:nvSpPr>
            <p:cNvPr id="9" name="Raute 132">
              <a:extLst>
                <a:ext uri="{FF2B5EF4-FFF2-40B4-BE49-F238E27FC236}">
                  <a16:creationId xmlns:a16="http://schemas.microsoft.com/office/drawing/2014/main" id="{14134833-6999-4424-8349-81DFFBD6C6FD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  <p:sp>
          <p:nvSpPr>
            <p:cNvPr id="10" name="Raute 132">
              <a:extLst>
                <a:ext uri="{FF2B5EF4-FFF2-40B4-BE49-F238E27FC236}">
                  <a16:creationId xmlns:a16="http://schemas.microsoft.com/office/drawing/2014/main" id="{EABE5FB6-9CE9-4ACD-8D7A-564A91695F7A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3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1BCF8F0-ECA1-4D97-A1B8-D0952AAF577F}"/>
              </a:ext>
            </a:extLst>
          </p:cNvPr>
          <p:cNvSpPr>
            <a:spLocks/>
          </p:cNvSpPr>
          <p:nvPr/>
        </p:nvSpPr>
        <p:spPr>
          <a:xfrm>
            <a:off x="6461760" y="1581989"/>
            <a:ext cx="5318521" cy="79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AWS is still struggling with providing the originally planned cloud computing resources that we used so far for training the Machine Learning Model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D3FEC60-C21C-4C6E-92FB-03DBAE8692E6}"/>
              </a:ext>
            </a:extLst>
          </p:cNvPr>
          <p:cNvGrpSpPr>
            <a:grpSpLocks/>
          </p:cNvGrpSpPr>
          <p:nvPr/>
        </p:nvGrpSpPr>
        <p:grpSpPr>
          <a:xfrm>
            <a:off x="5479867" y="4412352"/>
            <a:ext cx="6304152" cy="1692003"/>
            <a:chOff x="2979702" y="3899255"/>
            <a:chExt cx="6422017" cy="297513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FA6FE7D-F31B-4820-ADFD-B6EE7F39C0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702" y="4672645"/>
              <a:ext cx="596521" cy="810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0" i="0" u="none" baseline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17BDAD9-E09C-4C3C-8C06-E21A6AD31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702" y="5316884"/>
              <a:ext cx="596521" cy="810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0" i="0" u="none" baseline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A46996D-2739-4F15-9DF4-BF6FF8F2C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702" y="5938429"/>
              <a:ext cx="596521" cy="810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0" i="0" u="none" baseline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FC0165-5212-4154-A763-A397FB137E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702" y="6551070"/>
              <a:ext cx="596521" cy="810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0" i="0" u="none" baseline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FA2CFFC-E097-4AAC-9974-F32AE45499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702" y="4126305"/>
              <a:ext cx="596521" cy="810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400" b="0" i="0" u="none" baseline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Text Placeholder 7">
              <a:extLst>
                <a:ext uri="{FF2B5EF4-FFF2-40B4-BE49-F238E27FC236}">
                  <a16:creationId xmlns:a16="http://schemas.microsoft.com/office/drawing/2014/main" id="{57CB4718-95CA-4F2C-8F9C-19B43449D6CB}"/>
                </a:ext>
              </a:extLst>
            </p:cNvPr>
            <p:cNvSpPr txBox="1">
              <a:spLocks/>
            </p:cNvSpPr>
            <p:nvPr/>
          </p:nvSpPr>
          <p:spPr>
            <a:xfrm>
              <a:off x="2979702" y="4529638"/>
              <a:ext cx="1530250" cy="453600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Price per hour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</a:br>
              <a:r>
                <a:rPr kumimoji="0" lang="en-US" sz="8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(in USD)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sp>
          <p:nvSpPr>
            <p:cNvPr id="18" name="Text Placeholder 7">
              <a:extLst>
                <a:ext uri="{FF2B5EF4-FFF2-40B4-BE49-F238E27FC236}">
                  <a16:creationId xmlns:a16="http://schemas.microsoft.com/office/drawing/2014/main" id="{D45DB90C-C27D-463D-B757-B9D71B7952F2}"/>
                </a:ext>
              </a:extLst>
            </p:cNvPr>
            <p:cNvSpPr txBox="1">
              <a:spLocks/>
            </p:cNvSpPr>
            <p:nvPr/>
          </p:nvSpPr>
          <p:spPr>
            <a:xfrm>
              <a:off x="2979702" y="5160022"/>
              <a:ext cx="1530250" cy="453600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Training time</a:t>
              </a:r>
              <a:br>
                <a:rPr lang="en-US" sz="1000" b="1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</a:br>
              <a:r>
                <a:rPr lang="en-US" sz="800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  <a:t>(in hours)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sp>
          <p:nvSpPr>
            <p:cNvPr id="19" name="Text Placeholder 7">
              <a:extLst>
                <a:ext uri="{FF2B5EF4-FFF2-40B4-BE49-F238E27FC236}">
                  <a16:creationId xmlns:a16="http://schemas.microsoft.com/office/drawing/2014/main" id="{09606936-B9CF-43C2-AB88-BD154D7253E1}"/>
                </a:ext>
              </a:extLst>
            </p:cNvPr>
            <p:cNvSpPr txBox="1">
              <a:spLocks/>
            </p:cNvSpPr>
            <p:nvPr/>
          </p:nvSpPr>
          <p:spPr>
            <a:xfrm>
              <a:off x="2979702" y="5790405"/>
              <a:ext cx="1530250" cy="453600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Costs per year</a:t>
              </a:r>
              <a:br>
                <a:rPr lang="en-US" sz="1000" b="1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</a:br>
              <a:r>
                <a:rPr lang="en-US" sz="800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  <a:t>(in USD)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DFA9F093-A888-49DF-BF10-12814A2AB794}"/>
                </a:ext>
              </a:extLst>
            </p:cNvPr>
            <p:cNvSpPr txBox="1">
              <a:spLocks/>
            </p:cNvSpPr>
            <p:nvPr/>
          </p:nvSpPr>
          <p:spPr>
            <a:xfrm>
              <a:off x="2979702" y="6420789"/>
              <a:ext cx="1530250" cy="453600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Costs per year*</a:t>
              </a:r>
              <a:br>
                <a:rPr lang="en-US" sz="1000" b="1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</a:br>
              <a:r>
                <a:rPr lang="en-US" sz="800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  <a:t>(in EUR)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E93446E6-8A68-4857-8448-10CD77489086}"/>
                </a:ext>
              </a:extLst>
            </p:cNvPr>
            <p:cNvSpPr txBox="1">
              <a:spLocks/>
            </p:cNvSpPr>
            <p:nvPr/>
          </p:nvSpPr>
          <p:spPr>
            <a:xfrm>
              <a:off x="2979702" y="3899255"/>
              <a:ext cx="1530250" cy="453600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Instance type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sp>
          <p:nvSpPr>
            <p:cNvPr id="22" name="Text Placeholder 7">
              <a:extLst>
                <a:ext uri="{FF2B5EF4-FFF2-40B4-BE49-F238E27FC236}">
                  <a16:creationId xmlns:a16="http://schemas.microsoft.com/office/drawing/2014/main" id="{0FADD629-F047-44AC-9003-0CFD9D004BEA}"/>
                </a:ext>
              </a:extLst>
            </p:cNvPr>
            <p:cNvSpPr txBox="1">
              <a:spLocks/>
            </p:cNvSpPr>
            <p:nvPr/>
          </p:nvSpPr>
          <p:spPr>
            <a:xfrm>
              <a:off x="4388041" y="4529638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30,41</a:t>
              </a:r>
            </a:p>
          </p:txBody>
        </p:sp>
        <p:sp>
          <p:nvSpPr>
            <p:cNvPr id="23" name="Text Placeholder 7">
              <a:extLst>
                <a:ext uri="{FF2B5EF4-FFF2-40B4-BE49-F238E27FC236}">
                  <a16:creationId xmlns:a16="http://schemas.microsoft.com/office/drawing/2014/main" id="{A9AE2839-921B-4FF6-80D6-DC603E5D7214}"/>
                </a:ext>
              </a:extLst>
            </p:cNvPr>
            <p:cNvSpPr txBox="1">
              <a:spLocks/>
            </p:cNvSpPr>
            <p:nvPr/>
          </p:nvSpPr>
          <p:spPr>
            <a:xfrm>
              <a:off x="4388041" y="5160022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7</a:t>
              </a:r>
            </a:p>
          </p:txBody>
        </p:sp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18940CD0-642A-4868-A6BB-65F414570753}"/>
                </a:ext>
              </a:extLst>
            </p:cNvPr>
            <p:cNvSpPr txBox="1">
              <a:spLocks/>
            </p:cNvSpPr>
            <p:nvPr/>
          </p:nvSpPr>
          <p:spPr>
            <a:xfrm>
              <a:off x="4388041" y="579040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38.311,56</a:t>
              </a:r>
            </a:p>
          </p:txBody>
        </p:sp>
        <p:sp>
          <p:nvSpPr>
            <p:cNvPr id="25" name="Text Placeholder 7">
              <a:extLst>
                <a:ext uri="{FF2B5EF4-FFF2-40B4-BE49-F238E27FC236}">
                  <a16:creationId xmlns:a16="http://schemas.microsoft.com/office/drawing/2014/main" id="{30108F19-95E8-4F8E-8E3E-87581972171A}"/>
                </a:ext>
              </a:extLst>
            </p:cNvPr>
            <p:cNvSpPr txBox="1">
              <a:spLocks/>
            </p:cNvSpPr>
            <p:nvPr/>
          </p:nvSpPr>
          <p:spPr>
            <a:xfrm>
              <a:off x="4388041" y="6420789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32.181,71</a:t>
              </a:r>
            </a:p>
          </p:txBody>
        </p:sp>
        <p:sp>
          <p:nvSpPr>
            <p:cNvPr id="26" name="Text Placeholder 7">
              <a:extLst>
                <a:ext uri="{FF2B5EF4-FFF2-40B4-BE49-F238E27FC236}">
                  <a16:creationId xmlns:a16="http://schemas.microsoft.com/office/drawing/2014/main" id="{98CC3860-3023-4745-A985-2045D7E5F79E}"/>
                </a:ext>
              </a:extLst>
            </p:cNvPr>
            <p:cNvSpPr txBox="1">
              <a:spLocks/>
            </p:cNvSpPr>
            <p:nvPr/>
          </p:nvSpPr>
          <p:spPr>
            <a:xfrm>
              <a:off x="4388041" y="389925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ml.p3.16xlarge</a:t>
              </a:r>
            </a:p>
          </p:txBody>
        </p:sp>
        <p:sp>
          <p:nvSpPr>
            <p:cNvPr id="27" name="Text Placeholder 7">
              <a:extLst>
                <a:ext uri="{FF2B5EF4-FFF2-40B4-BE49-F238E27FC236}">
                  <a16:creationId xmlns:a16="http://schemas.microsoft.com/office/drawing/2014/main" id="{1EDCE50E-BFC5-4D2C-BA32-2235AB1C291B}"/>
                </a:ext>
              </a:extLst>
            </p:cNvPr>
            <p:cNvSpPr txBox="1">
              <a:spLocks/>
            </p:cNvSpPr>
            <p:nvPr/>
          </p:nvSpPr>
          <p:spPr>
            <a:xfrm>
              <a:off x="6129755" y="4529638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6,07</a:t>
              </a:r>
            </a:p>
          </p:txBody>
        </p:sp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1E05A682-8D97-4C3B-8DB4-93463B525DD3}"/>
                </a:ext>
              </a:extLst>
            </p:cNvPr>
            <p:cNvSpPr txBox="1">
              <a:spLocks/>
            </p:cNvSpPr>
            <p:nvPr/>
          </p:nvSpPr>
          <p:spPr>
            <a:xfrm>
              <a:off x="6129755" y="5160022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12</a:t>
              </a:r>
            </a:p>
          </p:txBody>
        </p:sp>
        <p:sp>
          <p:nvSpPr>
            <p:cNvPr id="29" name="Text Placeholder 7">
              <a:extLst>
                <a:ext uri="{FF2B5EF4-FFF2-40B4-BE49-F238E27FC236}">
                  <a16:creationId xmlns:a16="http://schemas.microsoft.com/office/drawing/2014/main" id="{81F65F3E-4DD3-41D2-B30C-CB5FDF7A4E40}"/>
                </a:ext>
              </a:extLst>
            </p:cNvPr>
            <p:cNvSpPr txBox="1">
              <a:spLocks/>
            </p:cNvSpPr>
            <p:nvPr/>
          </p:nvSpPr>
          <p:spPr>
            <a:xfrm>
              <a:off x="6129755" y="579040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13.102,56</a:t>
              </a:r>
            </a:p>
          </p:txBody>
        </p:sp>
        <p:sp>
          <p:nvSpPr>
            <p:cNvPr id="30" name="Text Placeholder 7">
              <a:extLst>
                <a:ext uri="{FF2B5EF4-FFF2-40B4-BE49-F238E27FC236}">
                  <a16:creationId xmlns:a16="http://schemas.microsoft.com/office/drawing/2014/main" id="{427E834F-3CE4-4558-85AE-9B9E35F31E1C}"/>
                </a:ext>
              </a:extLst>
            </p:cNvPr>
            <p:cNvSpPr txBox="1">
              <a:spLocks/>
            </p:cNvSpPr>
            <p:nvPr/>
          </p:nvSpPr>
          <p:spPr>
            <a:xfrm>
              <a:off x="6129755" y="6420789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11.006,15</a:t>
              </a:r>
            </a:p>
          </p:txBody>
        </p:sp>
        <p:sp>
          <p:nvSpPr>
            <p:cNvPr id="31" name="Text Placeholder 7">
              <a:extLst>
                <a:ext uri="{FF2B5EF4-FFF2-40B4-BE49-F238E27FC236}">
                  <a16:creationId xmlns:a16="http://schemas.microsoft.com/office/drawing/2014/main" id="{9D0B2D89-3191-4577-BFE1-1556F6A6ECAA}"/>
                </a:ext>
              </a:extLst>
            </p:cNvPr>
            <p:cNvSpPr txBox="1">
              <a:spLocks/>
            </p:cNvSpPr>
            <p:nvPr/>
          </p:nvSpPr>
          <p:spPr>
            <a:xfrm>
              <a:off x="6129755" y="389925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lnSpc>
                  <a:spcPct val="85000"/>
                </a:lnSpc>
                <a:buClr>
                  <a:srgbClr val="787878"/>
                </a:buClr>
                <a:buNone/>
                <a:defRPr/>
              </a:pPr>
              <a:r>
                <a:rPr lang="en-US" sz="1000">
                  <a:solidFill>
                    <a:srgbClr val="000000"/>
                  </a:solidFill>
                  <a:ea typeface="Chronicle Display Black" charset="0"/>
                  <a:cs typeface="Chronicle Display Black" charset="0"/>
                </a:rPr>
                <a:t>ml.g4dn.12xlarge</a:t>
              </a:r>
            </a:p>
          </p:txBody>
        </p:sp>
        <p:sp>
          <p:nvSpPr>
            <p:cNvPr id="32" name="Text Placeholder 7">
              <a:extLst>
                <a:ext uri="{FF2B5EF4-FFF2-40B4-BE49-F238E27FC236}">
                  <a16:creationId xmlns:a16="http://schemas.microsoft.com/office/drawing/2014/main" id="{DFD94541-3FCB-4B47-8EBD-DCE3D51B22F3}"/>
                </a:ext>
              </a:extLst>
            </p:cNvPr>
            <p:cNvSpPr txBox="1">
              <a:spLocks/>
            </p:cNvSpPr>
            <p:nvPr/>
          </p:nvSpPr>
          <p:spPr>
            <a:xfrm>
              <a:off x="7871469" y="4529638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40,71</a:t>
              </a:r>
            </a:p>
          </p:txBody>
        </p:sp>
        <p:sp>
          <p:nvSpPr>
            <p:cNvPr id="33" name="Text Placeholder 7">
              <a:extLst>
                <a:ext uri="{FF2B5EF4-FFF2-40B4-BE49-F238E27FC236}">
                  <a16:creationId xmlns:a16="http://schemas.microsoft.com/office/drawing/2014/main" id="{C9BB8BDF-4D99-461B-A60D-A9D2CA350957}"/>
                </a:ext>
              </a:extLst>
            </p:cNvPr>
            <p:cNvSpPr txBox="1">
              <a:spLocks/>
            </p:cNvSpPr>
            <p:nvPr/>
          </p:nvSpPr>
          <p:spPr>
            <a:xfrm>
              <a:off x="7871469" y="5160022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6</a:t>
              </a:r>
            </a:p>
          </p:txBody>
        </p:sp>
        <p:sp>
          <p:nvSpPr>
            <p:cNvPr id="34" name="Text Placeholder 7">
              <a:extLst>
                <a:ext uri="{FF2B5EF4-FFF2-40B4-BE49-F238E27FC236}">
                  <a16:creationId xmlns:a16="http://schemas.microsoft.com/office/drawing/2014/main" id="{B927A700-E062-46D7-B658-84BC0DB6D923}"/>
                </a:ext>
              </a:extLst>
            </p:cNvPr>
            <p:cNvSpPr txBox="1">
              <a:spLocks/>
            </p:cNvSpPr>
            <p:nvPr/>
          </p:nvSpPr>
          <p:spPr>
            <a:xfrm>
              <a:off x="7871469" y="579040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43.962,48</a:t>
              </a:r>
            </a:p>
          </p:txBody>
        </p:sp>
        <p:sp>
          <p:nvSpPr>
            <p:cNvPr id="35" name="Text Placeholder 7">
              <a:extLst>
                <a:ext uri="{FF2B5EF4-FFF2-40B4-BE49-F238E27FC236}">
                  <a16:creationId xmlns:a16="http://schemas.microsoft.com/office/drawing/2014/main" id="{0F686139-F13F-4631-973A-3F441DC673B7}"/>
                </a:ext>
              </a:extLst>
            </p:cNvPr>
            <p:cNvSpPr txBox="1">
              <a:spLocks/>
            </p:cNvSpPr>
            <p:nvPr/>
          </p:nvSpPr>
          <p:spPr>
            <a:xfrm>
              <a:off x="7871469" y="6420789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hronicle Display Black" charset="0"/>
                  <a:cs typeface="Chronicle Display Black" charset="0"/>
                </a:rPr>
                <a:t>36.928,48</a:t>
              </a:r>
            </a:p>
          </p:txBody>
        </p:sp>
        <p:sp>
          <p:nvSpPr>
            <p:cNvPr id="36" name="Text Placeholder 7">
              <a:extLst>
                <a:ext uri="{FF2B5EF4-FFF2-40B4-BE49-F238E27FC236}">
                  <a16:creationId xmlns:a16="http://schemas.microsoft.com/office/drawing/2014/main" id="{170D4C09-293C-48AE-86E2-B88E06F0071D}"/>
                </a:ext>
              </a:extLst>
            </p:cNvPr>
            <p:cNvSpPr txBox="1">
              <a:spLocks/>
            </p:cNvSpPr>
            <p:nvPr/>
          </p:nvSpPr>
          <p:spPr>
            <a:xfrm>
              <a:off x="7871469" y="3899255"/>
              <a:ext cx="1530250" cy="453600"/>
            </a:xfrm>
            <a:prstGeom prst="rect">
              <a:avLst/>
            </a:prstGeom>
            <a:solidFill>
              <a:srgbClr val="FFFFFF"/>
            </a:solidFill>
            <a:ln w="38100">
              <a:noFill/>
            </a:ln>
          </p:spPr>
          <p:txBody>
            <a:bodyPr lIns="0" tIns="0" rIns="0" bIns="0" anchor="ctr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20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8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6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Wingdings" charset="2"/>
                <a:buChar char="§"/>
                <a:defRPr sz="1400" kern="1200">
                  <a:solidFill>
                    <a:srgbClr val="3F3F3F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Wingdings" charset="2"/>
                <a:buNone/>
                <a:tabLst/>
                <a:defRPr/>
              </a:pPr>
              <a:r>
                <a:rPr lang="en-US" sz="1000">
                  <a:solidFill>
                    <a:srgbClr val="000000"/>
                  </a:solidFill>
                  <a:latin typeface="Arial"/>
                  <a:ea typeface="Chronicle Display Black" charset="0"/>
                  <a:cs typeface="Chronicle Display Black" charset="0"/>
                </a:rPr>
                <a:t>ml.p4d.24xlarge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hronicle Display Black" charset="0"/>
                <a:cs typeface="Chronicle Display Black" charset="0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75A757B-828C-41C2-96B5-32731DC37E09}"/>
                </a:ext>
              </a:extLst>
            </p:cNvPr>
            <p:cNvGrpSpPr/>
            <p:nvPr/>
          </p:nvGrpSpPr>
          <p:grpSpPr bwMode="gray">
            <a:xfrm>
              <a:off x="7323685" y="6437933"/>
              <a:ext cx="96271" cy="418713"/>
              <a:chOff x="10134601" y="354013"/>
              <a:chExt cx="182563" cy="977900"/>
            </a:xfrm>
            <a:solidFill>
              <a:schemeClr val="accent2"/>
            </a:solidFill>
          </p:grpSpPr>
          <p:sp>
            <p:nvSpPr>
              <p:cNvPr id="39" name="Freeform 59">
                <a:extLst>
                  <a:ext uri="{FF2B5EF4-FFF2-40B4-BE49-F238E27FC236}">
                    <a16:creationId xmlns:a16="http://schemas.microsoft.com/office/drawing/2014/main" id="{CC525E82-777C-4E3E-AF04-039CC9E635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196513" y="354013"/>
                <a:ext cx="92075" cy="658813"/>
              </a:xfrm>
              <a:custGeom>
                <a:avLst/>
                <a:gdLst>
                  <a:gd name="T0" fmla="*/ 23 w 28"/>
                  <a:gd name="T1" fmla="*/ 176 h 201"/>
                  <a:gd name="T2" fmla="*/ 27 w 28"/>
                  <a:gd name="T3" fmla="*/ 101 h 201"/>
                  <a:gd name="T4" fmla="*/ 27 w 28"/>
                  <a:gd name="T5" fmla="*/ 26 h 201"/>
                  <a:gd name="T6" fmla="*/ 12 w 28"/>
                  <a:gd name="T7" fmla="*/ 0 h 201"/>
                  <a:gd name="T8" fmla="*/ 5 w 28"/>
                  <a:gd name="T9" fmla="*/ 27 h 201"/>
                  <a:gd name="T10" fmla="*/ 5 w 28"/>
                  <a:gd name="T11" fmla="*/ 100 h 201"/>
                  <a:gd name="T12" fmla="*/ 1 w 28"/>
                  <a:gd name="T13" fmla="*/ 173 h 201"/>
                  <a:gd name="T14" fmla="*/ 7 w 28"/>
                  <a:gd name="T15" fmla="*/ 201 h 201"/>
                  <a:gd name="T16" fmla="*/ 23 w 28"/>
                  <a:gd name="T17" fmla="*/ 17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01">
                    <a:moveTo>
                      <a:pt x="23" y="176"/>
                    </a:moveTo>
                    <a:cubicBezTo>
                      <a:pt x="25" y="163"/>
                      <a:pt x="28" y="101"/>
                      <a:pt x="27" y="101"/>
                    </a:cubicBezTo>
                    <a:cubicBezTo>
                      <a:pt x="28" y="101"/>
                      <a:pt x="28" y="39"/>
                      <a:pt x="27" y="26"/>
                    </a:cubicBezTo>
                    <a:cubicBezTo>
                      <a:pt x="25" y="14"/>
                      <a:pt x="21" y="7"/>
                      <a:pt x="12" y="0"/>
                    </a:cubicBezTo>
                    <a:cubicBezTo>
                      <a:pt x="8" y="10"/>
                      <a:pt x="4" y="16"/>
                      <a:pt x="5" y="27"/>
                    </a:cubicBezTo>
                    <a:cubicBezTo>
                      <a:pt x="6" y="39"/>
                      <a:pt x="6" y="100"/>
                      <a:pt x="5" y="100"/>
                    </a:cubicBezTo>
                    <a:cubicBezTo>
                      <a:pt x="6" y="100"/>
                      <a:pt x="3" y="161"/>
                      <a:pt x="1" y="173"/>
                    </a:cubicBezTo>
                    <a:cubicBezTo>
                      <a:pt x="0" y="184"/>
                      <a:pt x="3" y="190"/>
                      <a:pt x="7" y="201"/>
                    </a:cubicBezTo>
                    <a:cubicBezTo>
                      <a:pt x="17" y="194"/>
                      <a:pt x="21" y="187"/>
                      <a:pt x="23" y="1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40" name="Freeform 60">
                <a:extLst>
                  <a:ext uri="{FF2B5EF4-FFF2-40B4-BE49-F238E27FC236}">
                    <a16:creationId xmlns:a16="http://schemas.microsoft.com/office/drawing/2014/main" id="{570A74C6-C86B-4B46-AE64-6C8ACF17EE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134601" y="1154113"/>
                <a:ext cx="182563" cy="177800"/>
              </a:xfrm>
              <a:custGeom>
                <a:avLst/>
                <a:gdLst>
                  <a:gd name="T0" fmla="*/ 55 w 56"/>
                  <a:gd name="T1" fmla="*/ 28 h 54"/>
                  <a:gd name="T2" fmla="*/ 40 w 56"/>
                  <a:gd name="T3" fmla="*/ 18 h 54"/>
                  <a:gd name="T4" fmla="*/ 34 w 56"/>
                  <a:gd name="T5" fmla="*/ 30 h 54"/>
                  <a:gd name="T6" fmla="*/ 32 w 56"/>
                  <a:gd name="T7" fmla="*/ 30 h 54"/>
                  <a:gd name="T8" fmla="*/ 25 w 56"/>
                  <a:gd name="T9" fmla="*/ 30 h 54"/>
                  <a:gd name="T10" fmla="*/ 29 w 56"/>
                  <a:gd name="T11" fmla="*/ 24 h 54"/>
                  <a:gd name="T12" fmla="*/ 34 w 56"/>
                  <a:gd name="T13" fmla="*/ 14 h 54"/>
                  <a:gd name="T14" fmla="*/ 17 w 56"/>
                  <a:gd name="T15" fmla="*/ 5 h 54"/>
                  <a:gd name="T16" fmla="*/ 3 w 56"/>
                  <a:gd name="T17" fmla="*/ 28 h 54"/>
                  <a:gd name="T18" fmla="*/ 16 w 56"/>
                  <a:gd name="T19" fmla="*/ 50 h 54"/>
                  <a:gd name="T20" fmla="*/ 36 w 56"/>
                  <a:gd name="T21" fmla="*/ 52 h 54"/>
                  <a:gd name="T22" fmla="*/ 52 w 56"/>
                  <a:gd name="T23" fmla="*/ 42 h 54"/>
                  <a:gd name="T24" fmla="*/ 55 w 56"/>
                  <a:gd name="T25" fmla="*/ 2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54">
                    <a:moveTo>
                      <a:pt x="55" y="28"/>
                    </a:moveTo>
                    <a:cubicBezTo>
                      <a:pt x="54" y="20"/>
                      <a:pt x="48" y="18"/>
                      <a:pt x="40" y="18"/>
                    </a:cubicBezTo>
                    <a:cubicBezTo>
                      <a:pt x="37" y="25"/>
                      <a:pt x="34" y="28"/>
                      <a:pt x="34" y="30"/>
                    </a:cubicBezTo>
                    <a:cubicBezTo>
                      <a:pt x="33" y="30"/>
                      <a:pt x="33" y="30"/>
                      <a:pt x="32" y="30"/>
                    </a:cubicBezTo>
                    <a:cubicBezTo>
                      <a:pt x="29" y="31"/>
                      <a:pt x="26" y="31"/>
                      <a:pt x="25" y="30"/>
                    </a:cubicBezTo>
                    <a:cubicBezTo>
                      <a:pt x="25" y="28"/>
                      <a:pt x="29" y="23"/>
                      <a:pt x="29" y="24"/>
                    </a:cubicBezTo>
                    <a:cubicBezTo>
                      <a:pt x="31" y="23"/>
                      <a:pt x="25" y="17"/>
                      <a:pt x="34" y="14"/>
                    </a:cubicBezTo>
                    <a:cubicBezTo>
                      <a:pt x="37" y="5"/>
                      <a:pt x="23" y="0"/>
                      <a:pt x="17" y="5"/>
                    </a:cubicBezTo>
                    <a:cubicBezTo>
                      <a:pt x="13" y="8"/>
                      <a:pt x="5" y="16"/>
                      <a:pt x="3" y="28"/>
                    </a:cubicBezTo>
                    <a:cubicBezTo>
                      <a:pt x="0" y="43"/>
                      <a:pt x="18" y="52"/>
                      <a:pt x="16" y="50"/>
                    </a:cubicBezTo>
                    <a:cubicBezTo>
                      <a:pt x="17" y="51"/>
                      <a:pt x="26" y="54"/>
                      <a:pt x="36" y="52"/>
                    </a:cubicBezTo>
                    <a:cubicBezTo>
                      <a:pt x="41" y="51"/>
                      <a:pt x="48" y="49"/>
                      <a:pt x="52" y="42"/>
                    </a:cubicBezTo>
                    <a:cubicBezTo>
                      <a:pt x="56" y="35"/>
                      <a:pt x="55" y="30"/>
                      <a:pt x="5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sp>
          <p:nvSpPr>
            <p:cNvPr id="41" name="Freeform 27">
              <a:extLst>
                <a:ext uri="{FF2B5EF4-FFF2-40B4-BE49-F238E27FC236}">
                  <a16:creationId xmlns:a16="http://schemas.microsoft.com/office/drawing/2014/main" id="{7EEFB6BF-8106-476E-8C87-DBF34DCD1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4314" y="4194217"/>
              <a:ext cx="1247468" cy="155557"/>
            </a:xfrm>
            <a:custGeom>
              <a:avLst/>
              <a:gdLst>
                <a:gd name="T0" fmla="*/ 1233 w 1238"/>
                <a:gd name="T1" fmla="*/ 11 h 79"/>
                <a:gd name="T2" fmla="*/ 1230 w 1238"/>
                <a:gd name="T3" fmla="*/ 9 h 79"/>
                <a:gd name="T4" fmla="*/ 1224 w 1238"/>
                <a:gd name="T5" fmla="*/ 8 h 79"/>
                <a:gd name="T6" fmla="*/ 1208 w 1238"/>
                <a:gd name="T7" fmla="*/ 7 h 79"/>
                <a:gd name="T8" fmla="*/ 1174 w 1238"/>
                <a:gd name="T9" fmla="*/ 6 h 79"/>
                <a:gd name="T10" fmla="*/ 1099 w 1238"/>
                <a:gd name="T11" fmla="*/ 4 h 79"/>
                <a:gd name="T12" fmla="*/ 934 w 1238"/>
                <a:gd name="T13" fmla="*/ 2 h 79"/>
                <a:gd name="T14" fmla="*/ 370 w 1238"/>
                <a:gd name="T15" fmla="*/ 4 h 79"/>
                <a:gd name="T16" fmla="*/ 0 w 1238"/>
                <a:gd name="T17" fmla="*/ 18 h 79"/>
                <a:gd name="T18" fmla="*/ 370 w 1238"/>
                <a:gd name="T19" fmla="*/ 19 h 79"/>
                <a:gd name="T20" fmla="*/ 917 w 1238"/>
                <a:gd name="T21" fmla="*/ 18 h 79"/>
                <a:gd name="T22" fmla="*/ 646 w 1238"/>
                <a:gd name="T23" fmla="*/ 27 h 79"/>
                <a:gd name="T24" fmla="*/ 309 w 1238"/>
                <a:gd name="T25" fmla="*/ 41 h 79"/>
                <a:gd name="T26" fmla="*/ 172 w 1238"/>
                <a:gd name="T27" fmla="*/ 53 h 79"/>
                <a:gd name="T28" fmla="*/ 169 w 1238"/>
                <a:gd name="T29" fmla="*/ 54 h 79"/>
                <a:gd name="T30" fmla="*/ 166 w 1238"/>
                <a:gd name="T31" fmla="*/ 57 h 79"/>
                <a:gd name="T32" fmla="*/ 167 w 1238"/>
                <a:gd name="T33" fmla="*/ 68 h 79"/>
                <a:gd name="T34" fmla="*/ 174 w 1238"/>
                <a:gd name="T35" fmla="*/ 71 h 79"/>
                <a:gd name="T36" fmla="*/ 181 w 1238"/>
                <a:gd name="T37" fmla="*/ 72 h 79"/>
                <a:gd name="T38" fmla="*/ 195 w 1238"/>
                <a:gd name="T39" fmla="*/ 73 h 79"/>
                <a:gd name="T40" fmla="*/ 220 w 1238"/>
                <a:gd name="T41" fmla="*/ 75 h 79"/>
                <a:gd name="T42" fmla="*/ 259 w 1238"/>
                <a:gd name="T43" fmla="*/ 76 h 79"/>
                <a:gd name="T44" fmla="*/ 629 w 1238"/>
                <a:gd name="T45" fmla="*/ 71 h 79"/>
                <a:gd name="T46" fmla="*/ 259 w 1238"/>
                <a:gd name="T47" fmla="*/ 60 h 79"/>
                <a:gd name="T48" fmla="*/ 258 w 1238"/>
                <a:gd name="T49" fmla="*/ 60 h 79"/>
                <a:gd name="T50" fmla="*/ 310 w 1238"/>
                <a:gd name="T51" fmla="*/ 57 h 79"/>
                <a:gd name="T52" fmla="*/ 646 w 1238"/>
                <a:gd name="T53" fmla="*/ 43 h 79"/>
                <a:gd name="T54" fmla="*/ 1084 w 1238"/>
                <a:gd name="T55" fmla="*/ 29 h 79"/>
                <a:gd name="T56" fmla="*/ 1218 w 1238"/>
                <a:gd name="T57" fmla="*/ 25 h 79"/>
                <a:gd name="T58" fmla="*/ 1226 w 1238"/>
                <a:gd name="T59" fmla="*/ 25 h 79"/>
                <a:gd name="T60" fmla="*/ 1228 w 1238"/>
                <a:gd name="T61" fmla="*/ 25 h 79"/>
                <a:gd name="T62" fmla="*/ 1234 w 1238"/>
                <a:gd name="T63" fmla="*/ 22 h 79"/>
                <a:gd name="T64" fmla="*/ 1233 w 1238"/>
                <a:gd name="T65" fmla="*/ 1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8" h="79">
                  <a:moveTo>
                    <a:pt x="1233" y="11"/>
                  </a:moveTo>
                  <a:cubicBezTo>
                    <a:pt x="1232" y="10"/>
                    <a:pt x="1231" y="9"/>
                    <a:pt x="1230" y="9"/>
                  </a:cubicBezTo>
                  <a:cubicBezTo>
                    <a:pt x="1226" y="8"/>
                    <a:pt x="1226" y="8"/>
                    <a:pt x="1224" y="8"/>
                  </a:cubicBezTo>
                  <a:cubicBezTo>
                    <a:pt x="1208" y="7"/>
                    <a:pt x="1208" y="7"/>
                    <a:pt x="1208" y="7"/>
                  </a:cubicBezTo>
                  <a:cubicBezTo>
                    <a:pt x="1197" y="7"/>
                    <a:pt x="1185" y="6"/>
                    <a:pt x="1174" y="6"/>
                  </a:cubicBezTo>
                  <a:cubicBezTo>
                    <a:pt x="1150" y="5"/>
                    <a:pt x="1125" y="5"/>
                    <a:pt x="1099" y="4"/>
                  </a:cubicBezTo>
                  <a:cubicBezTo>
                    <a:pt x="1047" y="3"/>
                    <a:pt x="991" y="3"/>
                    <a:pt x="934" y="2"/>
                  </a:cubicBezTo>
                  <a:cubicBezTo>
                    <a:pt x="704" y="0"/>
                    <a:pt x="453" y="2"/>
                    <a:pt x="370" y="4"/>
                  </a:cubicBezTo>
                  <a:cubicBezTo>
                    <a:pt x="216" y="6"/>
                    <a:pt x="129" y="10"/>
                    <a:pt x="0" y="18"/>
                  </a:cubicBezTo>
                  <a:cubicBezTo>
                    <a:pt x="129" y="20"/>
                    <a:pt x="216" y="21"/>
                    <a:pt x="370" y="19"/>
                  </a:cubicBezTo>
                  <a:cubicBezTo>
                    <a:pt x="452" y="18"/>
                    <a:pt x="692" y="16"/>
                    <a:pt x="917" y="18"/>
                  </a:cubicBezTo>
                  <a:cubicBezTo>
                    <a:pt x="840" y="20"/>
                    <a:pt x="745" y="23"/>
                    <a:pt x="646" y="27"/>
                  </a:cubicBezTo>
                  <a:cubicBezTo>
                    <a:pt x="531" y="31"/>
                    <a:pt x="411" y="36"/>
                    <a:pt x="309" y="41"/>
                  </a:cubicBezTo>
                  <a:cubicBezTo>
                    <a:pt x="258" y="45"/>
                    <a:pt x="213" y="46"/>
                    <a:pt x="172" y="53"/>
                  </a:cubicBezTo>
                  <a:cubicBezTo>
                    <a:pt x="171" y="53"/>
                    <a:pt x="171" y="53"/>
                    <a:pt x="169" y="54"/>
                  </a:cubicBezTo>
                  <a:cubicBezTo>
                    <a:pt x="168" y="55"/>
                    <a:pt x="168" y="54"/>
                    <a:pt x="166" y="57"/>
                  </a:cubicBezTo>
                  <a:cubicBezTo>
                    <a:pt x="163" y="60"/>
                    <a:pt x="163" y="65"/>
                    <a:pt x="167" y="68"/>
                  </a:cubicBezTo>
                  <a:cubicBezTo>
                    <a:pt x="171" y="71"/>
                    <a:pt x="172" y="70"/>
                    <a:pt x="174" y="71"/>
                  </a:cubicBezTo>
                  <a:cubicBezTo>
                    <a:pt x="176" y="72"/>
                    <a:pt x="179" y="72"/>
                    <a:pt x="181" y="72"/>
                  </a:cubicBezTo>
                  <a:cubicBezTo>
                    <a:pt x="186" y="73"/>
                    <a:pt x="191" y="73"/>
                    <a:pt x="195" y="73"/>
                  </a:cubicBezTo>
                  <a:cubicBezTo>
                    <a:pt x="204" y="74"/>
                    <a:pt x="212" y="74"/>
                    <a:pt x="220" y="75"/>
                  </a:cubicBezTo>
                  <a:cubicBezTo>
                    <a:pt x="235" y="75"/>
                    <a:pt x="248" y="75"/>
                    <a:pt x="259" y="76"/>
                  </a:cubicBezTo>
                  <a:cubicBezTo>
                    <a:pt x="413" y="79"/>
                    <a:pt x="500" y="76"/>
                    <a:pt x="629" y="71"/>
                  </a:cubicBezTo>
                  <a:cubicBezTo>
                    <a:pt x="500" y="66"/>
                    <a:pt x="413" y="63"/>
                    <a:pt x="259" y="60"/>
                  </a:cubicBezTo>
                  <a:cubicBezTo>
                    <a:pt x="259" y="60"/>
                    <a:pt x="258" y="60"/>
                    <a:pt x="258" y="60"/>
                  </a:cubicBezTo>
                  <a:cubicBezTo>
                    <a:pt x="275" y="59"/>
                    <a:pt x="292" y="58"/>
                    <a:pt x="310" y="57"/>
                  </a:cubicBezTo>
                  <a:cubicBezTo>
                    <a:pt x="412" y="52"/>
                    <a:pt x="532" y="47"/>
                    <a:pt x="646" y="43"/>
                  </a:cubicBezTo>
                  <a:cubicBezTo>
                    <a:pt x="876" y="34"/>
                    <a:pt x="1084" y="29"/>
                    <a:pt x="1084" y="29"/>
                  </a:cubicBezTo>
                  <a:cubicBezTo>
                    <a:pt x="1084" y="29"/>
                    <a:pt x="1136" y="27"/>
                    <a:pt x="1218" y="25"/>
                  </a:cubicBezTo>
                  <a:cubicBezTo>
                    <a:pt x="1220" y="25"/>
                    <a:pt x="1223" y="25"/>
                    <a:pt x="1226" y="25"/>
                  </a:cubicBezTo>
                  <a:cubicBezTo>
                    <a:pt x="1226" y="25"/>
                    <a:pt x="1227" y="25"/>
                    <a:pt x="1228" y="25"/>
                  </a:cubicBezTo>
                  <a:cubicBezTo>
                    <a:pt x="1231" y="23"/>
                    <a:pt x="1226" y="27"/>
                    <a:pt x="1234" y="22"/>
                  </a:cubicBezTo>
                  <a:cubicBezTo>
                    <a:pt x="1238" y="12"/>
                    <a:pt x="1233" y="11"/>
                    <a:pt x="1233" y="1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E0A49286-B94F-4E28-956C-EDEA8BF40732}"/>
              </a:ext>
            </a:extLst>
          </p:cNvPr>
          <p:cNvSpPr>
            <a:spLocks/>
          </p:cNvSpPr>
          <p:nvPr/>
        </p:nvSpPr>
        <p:spPr>
          <a:xfrm>
            <a:off x="6461760" y="2355139"/>
            <a:ext cx="5318521" cy="79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As AWS support lacked an actual resolution from their end, we decided to establish a Holmes specific workaround and adjusted our infrastructure to a different cloud instance with higher expected availability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74B1F2-6989-49F3-88AD-586E0FDE5866}"/>
              </a:ext>
            </a:extLst>
          </p:cNvPr>
          <p:cNvSpPr>
            <a:spLocks/>
          </p:cNvSpPr>
          <p:nvPr/>
        </p:nvSpPr>
        <p:spPr>
          <a:xfrm>
            <a:off x="6461760" y="3128289"/>
            <a:ext cx="5318521" cy="79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The overall issues of resource availability – that also occur Bayer wide – are still not resolved and might require further clarification with AWS higher manage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BBD27FB-AD24-4FEE-B5D5-0B3AC2EE1B7B}"/>
              </a:ext>
            </a:extLst>
          </p:cNvPr>
          <p:cNvGrpSpPr>
            <a:grpSpLocks/>
          </p:cNvGrpSpPr>
          <p:nvPr/>
        </p:nvGrpSpPr>
        <p:grpSpPr>
          <a:xfrm>
            <a:off x="5981476" y="3279379"/>
            <a:ext cx="148278" cy="493286"/>
            <a:chOff x="5688912" y="2372505"/>
            <a:chExt cx="712725" cy="1671702"/>
          </a:xfrm>
        </p:grpSpPr>
        <p:sp>
          <p:nvSpPr>
            <p:cNvPr id="49" name="Raute 132">
              <a:extLst>
                <a:ext uri="{FF2B5EF4-FFF2-40B4-BE49-F238E27FC236}">
                  <a16:creationId xmlns:a16="http://schemas.microsoft.com/office/drawing/2014/main" id="{87E21B23-A882-43D5-951F-5369F8C97AD0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  <p:sp>
          <p:nvSpPr>
            <p:cNvPr id="50" name="Raute 132">
              <a:extLst>
                <a:ext uri="{FF2B5EF4-FFF2-40B4-BE49-F238E27FC236}">
                  <a16:creationId xmlns:a16="http://schemas.microsoft.com/office/drawing/2014/main" id="{E4352EDC-8072-40AB-B68B-1A4D32005EC1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3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841EA05-A5A5-414B-81ED-01A72EF89F50}"/>
              </a:ext>
            </a:extLst>
          </p:cNvPr>
          <p:cNvGrpSpPr>
            <a:grpSpLocks/>
          </p:cNvGrpSpPr>
          <p:nvPr/>
        </p:nvGrpSpPr>
        <p:grpSpPr>
          <a:xfrm>
            <a:off x="5981476" y="2506229"/>
            <a:ext cx="148278" cy="493286"/>
            <a:chOff x="5688912" y="2372505"/>
            <a:chExt cx="712725" cy="1671702"/>
          </a:xfrm>
        </p:grpSpPr>
        <p:sp>
          <p:nvSpPr>
            <p:cNvPr id="52" name="Raute 132">
              <a:extLst>
                <a:ext uri="{FF2B5EF4-FFF2-40B4-BE49-F238E27FC236}">
                  <a16:creationId xmlns:a16="http://schemas.microsoft.com/office/drawing/2014/main" id="{1B6EB7A9-0914-4747-93C2-17B68EAA2831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  <p:sp>
          <p:nvSpPr>
            <p:cNvPr id="53" name="Raute 132">
              <a:extLst>
                <a:ext uri="{FF2B5EF4-FFF2-40B4-BE49-F238E27FC236}">
                  <a16:creationId xmlns:a16="http://schemas.microsoft.com/office/drawing/2014/main" id="{8C83487A-5818-4480-91CA-47A2A343E34B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3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F1FBEE0-17F8-4AEB-868D-2E97C988A416}"/>
              </a:ext>
            </a:extLst>
          </p:cNvPr>
          <p:cNvGrpSpPr/>
          <p:nvPr/>
        </p:nvGrpSpPr>
        <p:grpSpPr>
          <a:xfrm flipH="1">
            <a:off x="982662" y="4309622"/>
            <a:ext cx="3797966" cy="795467"/>
            <a:chOff x="6133876" y="3280689"/>
            <a:chExt cx="5798805" cy="795467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F3E377B-79C2-4122-9372-756061CB0942}"/>
                </a:ext>
              </a:extLst>
            </p:cNvPr>
            <p:cNvSpPr>
              <a:spLocks/>
            </p:cNvSpPr>
            <p:nvPr/>
          </p:nvSpPr>
          <p:spPr>
            <a:xfrm>
              <a:off x="6614160" y="3280689"/>
              <a:ext cx="5318521" cy="7954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>
                  <a:solidFill>
                    <a:schemeClr val="tx1"/>
                  </a:solidFill>
                </a:rPr>
                <a:t>For Holmes we currently calculate with </a:t>
              </a:r>
              <a:r>
                <a:rPr lang="en-US" sz="1100" b="1">
                  <a:solidFill>
                    <a:schemeClr val="tx1"/>
                  </a:solidFill>
                </a:rPr>
                <a:t>12 training runs per year </a:t>
              </a:r>
              <a:r>
                <a:rPr lang="en-US" sz="1100">
                  <a:solidFill>
                    <a:schemeClr val="tx1"/>
                  </a:solidFill>
                </a:rPr>
                <a:t>and 15 dedicated cloud instanc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31FBAA9-26A9-406C-88E3-850A2428B3A7}"/>
                </a:ext>
              </a:extLst>
            </p:cNvPr>
            <p:cNvGrpSpPr>
              <a:grpSpLocks/>
            </p:cNvGrpSpPr>
            <p:nvPr/>
          </p:nvGrpSpPr>
          <p:grpSpPr>
            <a:xfrm>
              <a:off x="6133876" y="3431779"/>
              <a:ext cx="148278" cy="493286"/>
              <a:chOff x="5688912" y="2372505"/>
              <a:chExt cx="712725" cy="1671702"/>
            </a:xfrm>
          </p:grpSpPr>
          <p:sp>
            <p:nvSpPr>
              <p:cNvPr id="56" name="Raute 132">
                <a:extLst>
                  <a:ext uri="{FF2B5EF4-FFF2-40B4-BE49-F238E27FC236}">
                    <a16:creationId xmlns:a16="http://schemas.microsoft.com/office/drawing/2014/main" id="{3A378BA1-C5F0-4E98-8192-2F1FF080C46D}"/>
                  </a:ext>
                </a:extLst>
              </p:cNvPr>
              <p:cNvSpPr/>
              <p:nvPr/>
            </p:nvSpPr>
            <p:spPr bwMode="gray">
              <a:xfrm flipH="1">
                <a:off x="5859016" y="2372505"/>
                <a:ext cx="542621" cy="1671702"/>
              </a:xfrm>
              <a:custGeom>
                <a:avLst/>
                <a:gdLst>
                  <a:gd name="connsiteX0" fmla="*/ 0 w 520862"/>
                  <a:gd name="connsiteY0" fmla="*/ 457200 h 914400"/>
                  <a:gd name="connsiteX1" fmla="*/ 260431 w 520862"/>
                  <a:gd name="connsiteY1" fmla="*/ 0 h 914400"/>
                  <a:gd name="connsiteX2" fmla="*/ 520862 w 520862"/>
                  <a:gd name="connsiteY2" fmla="*/ 457200 h 914400"/>
                  <a:gd name="connsiteX3" fmla="*/ 260431 w 520862"/>
                  <a:gd name="connsiteY3" fmla="*/ 914400 h 914400"/>
                  <a:gd name="connsiteX4" fmla="*/ 0 w 520862"/>
                  <a:gd name="connsiteY4" fmla="*/ 457200 h 914400"/>
                  <a:gd name="connsiteX0" fmla="*/ 260431 w 520862"/>
                  <a:gd name="connsiteY0" fmla="*/ 914400 h 1005840"/>
                  <a:gd name="connsiteX1" fmla="*/ 0 w 520862"/>
                  <a:gd name="connsiteY1" fmla="*/ 457200 h 1005840"/>
                  <a:gd name="connsiteX2" fmla="*/ 260431 w 520862"/>
                  <a:gd name="connsiteY2" fmla="*/ 0 h 1005840"/>
                  <a:gd name="connsiteX3" fmla="*/ 520862 w 520862"/>
                  <a:gd name="connsiteY3" fmla="*/ 457200 h 1005840"/>
                  <a:gd name="connsiteX4" fmla="*/ 351871 w 520862"/>
                  <a:gd name="connsiteY4" fmla="*/ 1005840 h 1005840"/>
                  <a:gd name="connsiteX0" fmla="*/ 260431 w 520862"/>
                  <a:gd name="connsiteY0" fmla="*/ 914400 h 914400"/>
                  <a:gd name="connsiteX1" fmla="*/ 0 w 520862"/>
                  <a:gd name="connsiteY1" fmla="*/ 457200 h 914400"/>
                  <a:gd name="connsiteX2" fmla="*/ 260431 w 520862"/>
                  <a:gd name="connsiteY2" fmla="*/ 0 h 914400"/>
                  <a:gd name="connsiteX3" fmla="*/ 520862 w 520862"/>
                  <a:gd name="connsiteY3" fmla="*/ 457200 h 914400"/>
                  <a:gd name="connsiteX0" fmla="*/ 260431 w 260431"/>
                  <a:gd name="connsiteY0" fmla="*/ 914400 h 914400"/>
                  <a:gd name="connsiteX1" fmla="*/ 0 w 260431"/>
                  <a:gd name="connsiteY1" fmla="*/ 457200 h 914400"/>
                  <a:gd name="connsiteX2" fmla="*/ 260431 w 260431"/>
                  <a:gd name="connsiteY2" fmla="*/ 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431" h="914400">
                    <a:moveTo>
                      <a:pt x="260431" y="914400"/>
                    </a:moveTo>
                    <a:lnTo>
                      <a:pt x="0" y="457200"/>
                    </a:lnTo>
                    <a:lnTo>
                      <a:pt x="260431" y="0"/>
                    </a:lnTo>
                  </a:path>
                </a:pathLst>
              </a:custGeom>
              <a:noFill/>
              <a:ln w="28575" cap="rnd" algn="ctr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endParaRPr>
              </a:p>
            </p:txBody>
          </p:sp>
          <p:sp>
            <p:nvSpPr>
              <p:cNvPr id="57" name="Raute 132">
                <a:extLst>
                  <a:ext uri="{FF2B5EF4-FFF2-40B4-BE49-F238E27FC236}">
                    <a16:creationId xmlns:a16="http://schemas.microsoft.com/office/drawing/2014/main" id="{5F8A952A-DB33-4FFF-AD53-55585C528FAA}"/>
                  </a:ext>
                </a:extLst>
              </p:cNvPr>
              <p:cNvSpPr/>
              <p:nvPr/>
            </p:nvSpPr>
            <p:spPr bwMode="gray">
              <a:xfrm flipH="1">
                <a:off x="5688912" y="2651118"/>
                <a:ext cx="361753" cy="1114475"/>
              </a:xfrm>
              <a:custGeom>
                <a:avLst/>
                <a:gdLst>
                  <a:gd name="connsiteX0" fmla="*/ 0 w 520862"/>
                  <a:gd name="connsiteY0" fmla="*/ 457200 h 914400"/>
                  <a:gd name="connsiteX1" fmla="*/ 260431 w 520862"/>
                  <a:gd name="connsiteY1" fmla="*/ 0 h 914400"/>
                  <a:gd name="connsiteX2" fmla="*/ 520862 w 520862"/>
                  <a:gd name="connsiteY2" fmla="*/ 457200 h 914400"/>
                  <a:gd name="connsiteX3" fmla="*/ 260431 w 520862"/>
                  <a:gd name="connsiteY3" fmla="*/ 914400 h 914400"/>
                  <a:gd name="connsiteX4" fmla="*/ 0 w 520862"/>
                  <a:gd name="connsiteY4" fmla="*/ 457200 h 914400"/>
                  <a:gd name="connsiteX0" fmla="*/ 260431 w 520862"/>
                  <a:gd name="connsiteY0" fmla="*/ 914400 h 1005840"/>
                  <a:gd name="connsiteX1" fmla="*/ 0 w 520862"/>
                  <a:gd name="connsiteY1" fmla="*/ 457200 h 1005840"/>
                  <a:gd name="connsiteX2" fmla="*/ 260431 w 520862"/>
                  <a:gd name="connsiteY2" fmla="*/ 0 h 1005840"/>
                  <a:gd name="connsiteX3" fmla="*/ 520862 w 520862"/>
                  <a:gd name="connsiteY3" fmla="*/ 457200 h 1005840"/>
                  <a:gd name="connsiteX4" fmla="*/ 351871 w 520862"/>
                  <a:gd name="connsiteY4" fmla="*/ 1005840 h 1005840"/>
                  <a:gd name="connsiteX0" fmla="*/ 260431 w 520862"/>
                  <a:gd name="connsiteY0" fmla="*/ 914400 h 914400"/>
                  <a:gd name="connsiteX1" fmla="*/ 0 w 520862"/>
                  <a:gd name="connsiteY1" fmla="*/ 457200 h 914400"/>
                  <a:gd name="connsiteX2" fmla="*/ 260431 w 520862"/>
                  <a:gd name="connsiteY2" fmla="*/ 0 h 914400"/>
                  <a:gd name="connsiteX3" fmla="*/ 520862 w 520862"/>
                  <a:gd name="connsiteY3" fmla="*/ 457200 h 914400"/>
                  <a:gd name="connsiteX0" fmla="*/ 260431 w 260431"/>
                  <a:gd name="connsiteY0" fmla="*/ 914400 h 914400"/>
                  <a:gd name="connsiteX1" fmla="*/ 0 w 260431"/>
                  <a:gd name="connsiteY1" fmla="*/ 457200 h 914400"/>
                  <a:gd name="connsiteX2" fmla="*/ 260431 w 260431"/>
                  <a:gd name="connsiteY2" fmla="*/ 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431" h="914400">
                    <a:moveTo>
                      <a:pt x="260431" y="914400"/>
                    </a:moveTo>
                    <a:lnTo>
                      <a:pt x="0" y="457200"/>
                    </a:lnTo>
                    <a:lnTo>
                      <a:pt x="260431" y="0"/>
                    </a:lnTo>
                  </a:path>
                </a:pathLst>
              </a:custGeom>
              <a:noFill/>
              <a:ln w="28575" cap="rnd" algn="ctr">
                <a:solidFill>
                  <a:schemeClr val="tx2">
                    <a:lumMod val="20000"/>
                    <a:lumOff val="8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CBF07B5-239B-4C54-89D9-377A423778D4}"/>
              </a:ext>
            </a:extLst>
          </p:cNvPr>
          <p:cNvGrpSpPr/>
          <p:nvPr/>
        </p:nvGrpSpPr>
        <p:grpSpPr>
          <a:xfrm flipH="1">
            <a:off x="982662" y="5161913"/>
            <a:ext cx="3797966" cy="795467"/>
            <a:chOff x="6133876" y="3280689"/>
            <a:chExt cx="5798805" cy="795467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A266629-D7A9-4E36-88B4-D84BD8A3E68F}"/>
                </a:ext>
              </a:extLst>
            </p:cNvPr>
            <p:cNvSpPr>
              <a:spLocks/>
            </p:cNvSpPr>
            <p:nvPr/>
          </p:nvSpPr>
          <p:spPr>
            <a:xfrm>
              <a:off x="6614160" y="3280689"/>
              <a:ext cx="5318521" cy="7954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>
                  <a:solidFill>
                    <a:schemeClr val="tx1"/>
                  </a:solidFill>
                </a:rPr>
                <a:t>As we were forced to change to a less powerful instance, the result is a longer training time but also significantly less cost for model training per year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B0CDAD3-CB05-4CF9-9914-4B43A53ED6E9}"/>
                </a:ext>
              </a:extLst>
            </p:cNvPr>
            <p:cNvGrpSpPr>
              <a:grpSpLocks/>
            </p:cNvGrpSpPr>
            <p:nvPr/>
          </p:nvGrpSpPr>
          <p:grpSpPr>
            <a:xfrm>
              <a:off x="6133876" y="3431779"/>
              <a:ext cx="148278" cy="493286"/>
              <a:chOff x="5688912" y="2372505"/>
              <a:chExt cx="712725" cy="1671702"/>
            </a:xfrm>
          </p:grpSpPr>
          <p:sp>
            <p:nvSpPr>
              <p:cNvPr id="62" name="Raute 132">
                <a:extLst>
                  <a:ext uri="{FF2B5EF4-FFF2-40B4-BE49-F238E27FC236}">
                    <a16:creationId xmlns:a16="http://schemas.microsoft.com/office/drawing/2014/main" id="{EF2E2E0B-E4BF-4A50-9448-CE4F2DE9EA4A}"/>
                  </a:ext>
                </a:extLst>
              </p:cNvPr>
              <p:cNvSpPr/>
              <p:nvPr/>
            </p:nvSpPr>
            <p:spPr bwMode="gray">
              <a:xfrm flipH="1">
                <a:off x="5859016" y="2372505"/>
                <a:ext cx="542621" cy="1671702"/>
              </a:xfrm>
              <a:custGeom>
                <a:avLst/>
                <a:gdLst>
                  <a:gd name="connsiteX0" fmla="*/ 0 w 520862"/>
                  <a:gd name="connsiteY0" fmla="*/ 457200 h 914400"/>
                  <a:gd name="connsiteX1" fmla="*/ 260431 w 520862"/>
                  <a:gd name="connsiteY1" fmla="*/ 0 h 914400"/>
                  <a:gd name="connsiteX2" fmla="*/ 520862 w 520862"/>
                  <a:gd name="connsiteY2" fmla="*/ 457200 h 914400"/>
                  <a:gd name="connsiteX3" fmla="*/ 260431 w 520862"/>
                  <a:gd name="connsiteY3" fmla="*/ 914400 h 914400"/>
                  <a:gd name="connsiteX4" fmla="*/ 0 w 520862"/>
                  <a:gd name="connsiteY4" fmla="*/ 457200 h 914400"/>
                  <a:gd name="connsiteX0" fmla="*/ 260431 w 520862"/>
                  <a:gd name="connsiteY0" fmla="*/ 914400 h 1005840"/>
                  <a:gd name="connsiteX1" fmla="*/ 0 w 520862"/>
                  <a:gd name="connsiteY1" fmla="*/ 457200 h 1005840"/>
                  <a:gd name="connsiteX2" fmla="*/ 260431 w 520862"/>
                  <a:gd name="connsiteY2" fmla="*/ 0 h 1005840"/>
                  <a:gd name="connsiteX3" fmla="*/ 520862 w 520862"/>
                  <a:gd name="connsiteY3" fmla="*/ 457200 h 1005840"/>
                  <a:gd name="connsiteX4" fmla="*/ 351871 w 520862"/>
                  <a:gd name="connsiteY4" fmla="*/ 1005840 h 1005840"/>
                  <a:gd name="connsiteX0" fmla="*/ 260431 w 520862"/>
                  <a:gd name="connsiteY0" fmla="*/ 914400 h 914400"/>
                  <a:gd name="connsiteX1" fmla="*/ 0 w 520862"/>
                  <a:gd name="connsiteY1" fmla="*/ 457200 h 914400"/>
                  <a:gd name="connsiteX2" fmla="*/ 260431 w 520862"/>
                  <a:gd name="connsiteY2" fmla="*/ 0 h 914400"/>
                  <a:gd name="connsiteX3" fmla="*/ 520862 w 520862"/>
                  <a:gd name="connsiteY3" fmla="*/ 457200 h 914400"/>
                  <a:gd name="connsiteX0" fmla="*/ 260431 w 260431"/>
                  <a:gd name="connsiteY0" fmla="*/ 914400 h 914400"/>
                  <a:gd name="connsiteX1" fmla="*/ 0 w 260431"/>
                  <a:gd name="connsiteY1" fmla="*/ 457200 h 914400"/>
                  <a:gd name="connsiteX2" fmla="*/ 260431 w 260431"/>
                  <a:gd name="connsiteY2" fmla="*/ 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431" h="914400">
                    <a:moveTo>
                      <a:pt x="260431" y="914400"/>
                    </a:moveTo>
                    <a:lnTo>
                      <a:pt x="0" y="457200"/>
                    </a:lnTo>
                    <a:lnTo>
                      <a:pt x="260431" y="0"/>
                    </a:lnTo>
                  </a:path>
                </a:pathLst>
              </a:custGeom>
              <a:noFill/>
              <a:ln w="28575" cap="rnd" algn="ctr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endParaRPr>
              </a:p>
            </p:txBody>
          </p:sp>
          <p:sp>
            <p:nvSpPr>
              <p:cNvPr id="63" name="Raute 132">
                <a:extLst>
                  <a:ext uri="{FF2B5EF4-FFF2-40B4-BE49-F238E27FC236}">
                    <a16:creationId xmlns:a16="http://schemas.microsoft.com/office/drawing/2014/main" id="{CD6D2589-44B7-4D54-9FFF-FCCFDB6FCD06}"/>
                  </a:ext>
                </a:extLst>
              </p:cNvPr>
              <p:cNvSpPr/>
              <p:nvPr/>
            </p:nvSpPr>
            <p:spPr bwMode="gray">
              <a:xfrm flipH="1">
                <a:off x="5688912" y="2651118"/>
                <a:ext cx="361753" cy="1114475"/>
              </a:xfrm>
              <a:custGeom>
                <a:avLst/>
                <a:gdLst>
                  <a:gd name="connsiteX0" fmla="*/ 0 w 520862"/>
                  <a:gd name="connsiteY0" fmla="*/ 457200 h 914400"/>
                  <a:gd name="connsiteX1" fmla="*/ 260431 w 520862"/>
                  <a:gd name="connsiteY1" fmla="*/ 0 h 914400"/>
                  <a:gd name="connsiteX2" fmla="*/ 520862 w 520862"/>
                  <a:gd name="connsiteY2" fmla="*/ 457200 h 914400"/>
                  <a:gd name="connsiteX3" fmla="*/ 260431 w 520862"/>
                  <a:gd name="connsiteY3" fmla="*/ 914400 h 914400"/>
                  <a:gd name="connsiteX4" fmla="*/ 0 w 520862"/>
                  <a:gd name="connsiteY4" fmla="*/ 457200 h 914400"/>
                  <a:gd name="connsiteX0" fmla="*/ 260431 w 520862"/>
                  <a:gd name="connsiteY0" fmla="*/ 914400 h 1005840"/>
                  <a:gd name="connsiteX1" fmla="*/ 0 w 520862"/>
                  <a:gd name="connsiteY1" fmla="*/ 457200 h 1005840"/>
                  <a:gd name="connsiteX2" fmla="*/ 260431 w 520862"/>
                  <a:gd name="connsiteY2" fmla="*/ 0 h 1005840"/>
                  <a:gd name="connsiteX3" fmla="*/ 520862 w 520862"/>
                  <a:gd name="connsiteY3" fmla="*/ 457200 h 1005840"/>
                  <a:gd name="connsiteX4" fmla="*/ 351871 w 520862"/>
                  <a:gd name="connsiteY4" fmla="*/ 1005840 h 1005840"/>
                  <a:gd name="connsiteX0" fmla="*/ 260431 w 520862"/>
                  <a:gd name="connsiteY0" fmla="*/ 914400 h 914400"/>
                  <a:gd name="connsiteX1" fmla="*/ 0 w 520862"/>
                  <a:gd name="connsiteY1" fmla="*/ 457200 h 914400"/>
                  <a:gd name="connsiteX2" fmla="*/ 260431 w 520862"/>
                  <a:gd name="connsiteY2" fmla="*/ 0 h 914400"/>
                  <a:gd name="connsiteX3" fmla="*/ 520862 w 520862"/>
                  <a:gd name="connsiteY3" fmla="*/ 457200 h 914400"/>
                  <a:gd name="connsiteX0" fmla="*/ 260431 w 260431"/>
                  <a:gd name="connsiteY0" fmla="*/ 914400 h 914400"/>
                  <a:gd name="connsiteX1" fmla="*/ 0 w 260431"/>
                  <a:gd name="connsiteY1" fmla="*/ 457200 h 914400"/>
                  <a:gd name="connsiteX2" fmla="*/ 260431 w 260431"/>
                  <a:gd name="connsiteY2" fmla="*/ 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431" h="914400">
                    <a:moveTo>
                      <a:pt x="260431" y="914400"/>
                    </a:moveTo>
                    <a:lnTo>
                      <a:pt x="0" y="457200"/>
                    </a:lnTo>
                    <a:lnTo>
                      <a:pt x="260431" y="0"/>
                    </a:lnTo>
                  </a:path>
                </a:pathLst>
              </a:custGeom>
              <a:noFill/>
              <a:ln w="28575" cap="rnd" algn="ctr">
                <a:solidFill>
                  <a:schemeClr val="tx2">
                    <a:lumMod val="20000"/>
                    <a:lumOff val="8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endParaRPr>
              </a:p>
            </p:txBody>
          </p:sp>
        </p:grp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D0AD5DA8-44AD-491C-A0A5-6A30CA0A1E08}"/>
              </a:ext>
            </a:extLst>
          </p:cNvPr>
          <p:cNvSpPr txBox="1"/>
          <p:nvPr/>
        </p:nvSpPr>
        <p:spPr bwMode="gray">
          <a:xfrm>
            <a:off x="7276400" y="6270588"/>
            <a:ext cx="4507613" cy="6934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50" b="1" err="1"/>
              <a:t>Assumption</a:t>
            </a:r>
            <a:r>
              <a:rPr lang="de-DE" sz="1050" b="1"/>
              <a:t>: Deep </a:t>
            </a:r>
            <a:r>
              <a:rPr lang="de-DE" sz="1050" b="1" err="1"/>
              <a:t>ensemble</a:t>
            </a:r>
            <a:r>
              <a:rPr lang="de-DE" sz="1050" b="1"/>
              <a:t> </a:t>
            </a:r>
            <a:r>
              <a:rPr lang="de-DE" sz="1050" b="1" err="1"/>
              <a:t>with</a:t>
            </a:r>
            <a:r>
              <a:rPr lang="de-DE" sz="1050" b="1"/>
              <a:t> 15 </a:t>
            </a:r>
            <a:r>
              <a:rPr lang="de-DE" sz="1050" b="1" err="1"/>
              <a:t>models</a:t>
            </a:r>
            <a:r>
              <a:rPr lang="de-DE" sz="1050" b="1"/>
              <a:t> and 12 re-trainings per </a:t>
            </a:r>
            <a:r>
              <a:rPr lang="de-DE" sz="1050" b="1" err="1"/>
              <a:t>year</a:t>
            </a:r>
            <a:endParaRPr lang="de-DE" sz="1050" b="1"/>
          </a:p>
        </p:txBody>
      </p:sp>
    </p:spTree>
    <p:extLst>
      <p:ext uri="{BB962C8B-B14F-4D97-AF65-F5344CB8AC3E}">
        <p14:creationId xmlns:p14="http://schemas.microsoft.com/office/powerpoint/2010/main" val="424815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6FBF5D-C21B-4EF7-8CAB-E772A8492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66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6FBF5D-C21B-4EF7-8CAB-E772A8492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eep </a:t>
            </a:r>
            <a:r>
              <a:rPr lang="de-DE" err="1"/>
              <a:t>Dive</a:t>
            </a:r>
            <a:r>
              <a:rPr lang="de-DE"/>
              <a:t>: </a:t>
            </a:r>
            <a:br>
              <a:rPr lang="de-DE"/>
            </a:br>
            <a:r>
              <a:rPr lang="de-DE"/>
              <a:t>AI Infrastru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4414" y="2444854"/>
            <a:ext cx="1847775" cy="64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32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0910892A-103A-450B-8821-5A33598C37FA}"/>
              </a:ext>
            </a:extLst>
          </p:cNvPr>
          <p:cNvSpPr/>
          <p:nvPr/>
        </p:nvSpPr>
        <p:spPr bwMode="gray">
          <a:xfrm>
            <a:off x="2661127" y="2623435"/>
            <a:ext cx="1995339" cy="1446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26E8253-0E5F-4152-85DD-5EA7E576A403}"/>
              </a:ext>
            </a:extLst>
          </p:cNvPr>
          <p:cNvSpPr/>
          <p:nvPr/>
        </p:nvSpPr>
        <p:spPr bwMode="gray">
          <a:xfrm>
            <a:off x="5981701" y="2623435"/>
            <a:ext cx="716280" cy="1446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E758805-A917-4D57-87F6-9D890C89B051}"/>
              </a:ext>
            </a:extLst>
          </p:cNvPr>
          <p:cNvSpPr/>
          <p:nvPr/>
        </p:nvSpPr>
        <p:spPr bwMode="gray">
          <a:xfrm>
            <a:off x="5572260" y="2862134"/>
            <a:ext cx="1198973" cy="12187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504F8A3-4888-4A0F-AF03-D75DAC352740}"/>
              </a:ext>
            </a:extLst>
          </p:cNvPr>
          <p:cNvSpPr/>
          <p:nvPr/>
        </p:nvSpPr>
        <p:spPr bwMode="gray">
          <a:xfrm>
            <a:off x="3024291" y="4397630"/>
            <a:ext cx="1566026" cy="1446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Rectangle 100"/>
          <p:cNvSpPr/>
          <p:nvPr/>
        </p:nvSpPr>
        <p:spPr bwMode="gray">
          <a:xfrm>
            <a:off x="5836656" y="4199595"/>
            <a:ext cx="358404" cy="1315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0" name="Rectangle 99"/>
          <p:cNvSpPr/>
          <p:nvPr/>
        </p:nvSpPr>
        <p:spPr bwMode="gray">
          <a:xfrm>
            <a:off x="2860496" y="3495578"/>
            <a:ext cx="541072" cy="1140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9" name="Rectangle 98"/>
          <p:cNvSpPr/>
          <p:nvPr/>
        </p:nvSpPr>
        <p:spPr bwMode="gray">
          <a:xfrm>
            <a:off x="1092200" y="1887887"/>
            <a:ext cx="2531533" cy="1081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Main Challen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 quick recap - The Mod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6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27" r="1"/>
          <a:stretch/>
        </p:blipFill>
        <p:spPr>
          <a:xfrm>
            <a:off x="7843154" y="0"/>
            <a:ext cx="4571066" cy="6858000"/>
          </a:xfrm>
          <a:prstGeom prst="rect">
            <a:avLst/>
          </a:prstGeom>
        </p:spPr>
      </p:pic>
      <p:sp>
        <p:nvSpPr>
          <p:cNvPr id="10" name="Gleichschenkliges Dreieck 7">
            <a:extLst>
              <a:ext uri="{FF2B5EF4-FFF2-40B4-BE49-F238E27FC236}">
                <a16:creationId xmlns:a16="http://schemas.microsoft.com/office/drawing/2014/main" id="{99AF477C-819D-4EC8-ABAC-E85411ED6544}"/>
              </a:ext>
            </a:extLst>
          </p:cNvPr>
          <p:cNvSpPr>
            <a:spLocks/>
          </p:cNvSpPr>
          <p:nvPr/>
        </p:nvSpPr>
        <p:spPr bwMode="gray">
          <a:xfrm rot="10800000">
            <a:off x="7843154" y="0"/>
            <a:ext cx="1800199" cy="6867912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AD9179-7A6B-4268-BEB2-F3B8EB06115B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1976027" y="2090078"/>
            <a:ext cx="5434344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we do </a:t>
            </a:r>
            <a:r>
              <a:rPr lang="en-US" sz="1400" b="1">
                <a:solidFill>
                  <a:schemeClr val="tx1"/>
                </a:solidFill>
              </a:rPr>
              <a:t>not deal with numerical </a:t>
            </a:r>
            <a:r>
              <a:rPr lang="en-US" sz="1100">
                <a:solidFill>
                  <a:schemeClr val="tx1"/>
                </a:solidFill>
              </a:rPr>
              <a:t>but large amounts of </a:t>
            </a:r>
            <a:r>
              <a:rPr lang="en-US" sz="1400" b="1">
                <a:solidFill>
                  <a:schemeClr val="tx1"/>
                </a:solidFill>
              </a:rPr>
              <a:t>text data</a:t>
            </a:r>
            <a:r>
              <a:rPr lang="en-US" sz="1100">
                <a:solidFill>
                  <a:schemeClr val="tx1"/>
                </a:solidFill>
              </a:rPr>
              <a:t>. Furthermore, this text data consists of non-standardized </a:t>
            </a:r>
            <a:r>
              <a:rPr lang="en-US" sz="1400" b="1">
                <a:solidFill>
                  <a:schemeClr val="tx1"/>
                </a:solidFill>
              </a:rPr>
              <a:t>medical terms</a:t>
            </a:r>
            <a:r>
              <a:rPr lang="en-US" sz="110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76659" y="5220906"/>
            <a:ext cx="6025274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Open Sans"/>
              </a:rPr>
              <a:t>To solve these challenges and meet all business and regulatory requirements, we need very specific ML methodologies and the ability to transfer research results into a scalable solution. It is impossible to achieve the current results by standard approaches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A6A66C4-6846-1943-B1EE-DB85329D95BB}"/>
              </a:ext>
            </a:extLst>
          </p:cNvPr>
          <p:cNvGrpSpPr/>
          <p:nvPr/>
        </p:nvGrpSpPr>
        <p:grpSpPr>
          <a:xfrm rot="5400000">
            <a:off x="3850340" y="4456593"/>
            <a:ext cx="194204" cy="1287241"/>
            <a:chOff x="5688912" y="2372505"/>
            <a:chExt cx="712725" cy="1671702"/>
          </a:xfrm>
        </p:grpSpPr>
        <p:sp>
          <p:nvSpPr>
            <p:cNvPr id="48" name="Raute 132">
              <a:extLst>
                <a:ext uri="{FF2B5EF4-FFF2-40B4-BE49-F238E27FC236}">
                  <a16:creationId xmlns:a16="http://schemas.microsoft.com/office/drawing/2014/main" id="{2217CBDB-202A-F246-8722-B06C04A84306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  <p:sp>
          <p:nvSpPr>
            <p:cNvPr id="49" name="Raute 132">
              <a:extLst>
                <a:ext uri="{FF2B5EF4-FFF2-40B4-BE49-F238E27FC236}">
                  <a16:creationId xmlns:a16="http://schemas.microsoft.com/office/drawing/2014/main" id="{64168741-57E3-9048-82C8-7710F52BC50E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3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</p:grpSp>
      <p:sp>
        <p:nvSpPr>
          <p:cNvPr id="50" name="Rectangle 49"/>
          <p:cNvSpPr/>
          <p:nvPr/>
        </p:nvSpPr>
        <p:spPr>
          <a:xfrm>
            <a:off x="976659" y="1694582"/>
            <a:ext cx="2946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Unlike basic ML problems, 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976027" y="2913354"/>
            <a:ext cx="4962332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there are </a:t>
            </a:r>
            <a:r>
              <a:rPr lang="en-US" sz="1400" b="1">
                <a:solidFill>
                  <a:schemeClr val="tx1"/>
                </a:solidFill>
              </a:rPr>
              <a:t>73.000</a:t>
            </a:r>
            <a:r>
              <a:rPr lang="en-US" sz="1100">
                <a:solidFill>
                  <a:schemeClr val="tx1"/>
                </a:solidFill>
              </a:rPr>
              <a:t> MedDRA classes each term can be mapped to, increasing the complexity of the classification task exponentially;</a:t>
            </a: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1976027" y="3736629"/>
            <a:ext cx="5163914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in our historical data, which we use for training the model, </a:t>
            </a:r>
            <a:r>
              <a:rPr lang="en-US" sz="1400" b="1">
                <a:solidFill>
                  <a:schemeClr val="tx1"/>
                </a:solidFill>
              </a:rPr>
              <a:t>80%</a:t>
            </a:r>
            <a:r>
              <a:rPr lang="en-US" sz="1100">
                <a:solidFill>
                  <a:schemeClr val="tx1"/>
                </a:solidFill>
              </a:rPr>
              <a:t> of the classes appear </a:t>
            </a:r>
            <a:r>
              <a:rPr lang="en-US" sz="1400" b="1">
                <a:solidFill>
                  <a:schemeClr val="tx1"/>
                </a:solidFill>
              </a:rPr>
              <a:t>less than 10 times</a:t>
            </a:r>
            <a:r>
              <a:rPr lang="en-US" sz="1100">
                <a:solidFill>
                  <a:schemeClr val="tx1"/>
                </a:solidFill>
              </a:rPr>
              <a:t>. This again makes it very hard for basic approaches to reach acceptable results.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4C6FCED-2309-4DC8-9B83-B766C9325111}"/>
              </a:ext>
            </a:extLst>
          </p:cNvPr>
          <p:cNvGrpSpPr>
            <a:grpSpLocks/>
          </p:cNvGrpSpPr>
          <p:nvPr/>
        </p:nvGrpSpPr>
        <p:grpSpPr>
          <a:xfrm>
            <a:off x="1290894" y="2518951"/>
            <a:ext cx="318473" cy="508864"/>
            <a:chOff x="647700" y="2470150"/>
            <a:chExt cx="730250" cy="1166812"/>
          </a:xfrm>
          <a:solidFill>
            <a:schemeClr val="tx1"/>
          </a:solidFill>
        </p:grpSpPr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13FDC353-98FA-451F-A2EA-00C30159A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700" y="2470150"/>
              <a:ext cx="730250" cy="1166812"/>
            </a:xfrm>
            <a:custGeom>
              <a:avLst/>
              <a:gdLst>
                <a:gd name="T0" fmla="*/ 643 w 647"/>
                <a:gd name="T1" fmla="*/ 476 h 1033"/>
                <a:gd name="T2" fmla="*/ 15 w 647"/>
                <a:gd name="T3" fmla="*/ 175 h 1033"/>
                <a:gd name="T4" fmla="*/ 19 w 647"/>
                <a:gd name="T5" fmla="*/ 547 h 1033"/>
                <a:gd name="T6" fmla="*/ 381 w 647"/>
                <a:gd name="T7" fmla="*/ 1033 h 1033"/>
                <a:gd name="T8" fmla="*/ 437 w 647"/>
                <a:gd name="T9" fmla="*/ 279 h 1033"/>
                <a:gd name="T10" fmla="*/ 328 w 647"/>
                <a:gd name="T11" fmla="*/ 342 h 1033"/>
                <a:gd name="T12" fmla="*/ 140 w 647"/>
                <a:gd name="T13" fmla="*/ 244 h 1033"/>
                <a:gd name="T14" fmla="*/ 301 w 647"/>
                <a:gd name="T15" fmla="*/ 360 h 1033"/>
                <a:gd name="T16" fmla="*/ 373 w 647"/>
                <a:gd name="T17" fmla="*/ 338 h 1033"/>
                <a:gd name="T18" fmla="*/ 430 w 647"/>
                <a:gd name="T19" fmla="*/ 313 h 1033"/>
                <a:gd name="T20" fmla="*/ 463 w 647"/>
                <a:gd name="T21" fmla="*/ 345 h 1033"/>
                <a:gd name="T22" fmla="*/ 337 w 647"/>
                <a:gd name="T23" fmla="*/ 391 h 1033"/>
                <a:gd name="T24" fmla="*/ 187 w 647"/>
                <a:gd name="T25" fmla="*/ 312 h 1033"/>
                <a:gd name="T26" fmla="*/ 202 w 647"/>
                <a:gd name="T27" fmla="*/ 340 h 1033"/>
                <a:gd name="T28" fmla="*/ 292 w 647"/>
                <a:gd name="T29" fmla="*/ 416 h 1033"/>
                <a:gd name="T30" fmla="*/ 376 w 647"/>
                <a:gd name="T31" fmla="*/ 407 h 1033"/>
                <a:gd name="T32" fmla="*/ 461 w 647"/>
                <a:gd name="T33" fmla="*/ 358 h 1033"/>
                <a:gd name="T34" fmla="*/ 416 w 647"/>
                <a:gd name="T35" fmla="*/ 426 h 1033"/>
                <a:gd name="T36" fmla="*/ 326 w 647"/>
                <a:gd name="T37" fmla="*/ 459 h 1033"/>
                <a:gd name="T38" fmla="*/ 48 w 647"/>
                <a:gd name="T39" fmla="*/ 308 h 1033"/>
                <a:gd name="T40" fmla="*/ 343 w 647"/>
                <a:gd name="T41" fmla="*/ 482 h 1033"/>
                <a:gd name="T42" fmla="*/ 487 w 647"/>
                <a:gd name="T43" fmla="*/ 395 h 1033"/>
                <a:gd name="T44" fmla="*/ 406 w 647"/>
                <a:gd name="T45" fmla="*/ 480 h 1033"/>
                <a:gd name="T46" fmla="*/ 306 w 647"/>
                <a:gd name="T47" fmla="*/ 513 h 1033"/>
                <a:gd name="T48" fmla="*/ 126 w 647"/>
                <a:gd name="T49" fmla="*/ 432 h 1033"/>
                <a:gd name="T50" fmla="*/ 329 w 647"/>
                <a:gd name="T51" fmla="*/ 539 h 1033"/>
                <a:gd name="T52" fmla="*/ 383 w 647"/>
                <a:gd name="T53" fmla="*/ 509 h 1033"/>
                <a:gd name="T54" fmla="*/ 456 w 647"/>
                <a:gd name="T55" fmla="*/ 463 h 1033"/>
                <a:gd name="T56" fmla="*/ 457 w 647"/>
                <a:gd name="T57" fmla="*/ 531 h 1033"/>
                <a:gd name="T58" fmla="*/ 321 w 647"/>
                <a:gd name="T59" fmla="*/ 583 h 1033"/>
                <a:gd name="T60" fmla="*/ 115 w 647"/>
                <a:gd name="T61" fmla="*/ 432 h 1033"/>
                <a:gd name="T62" fmla="*/ 172 w 647"/>
                <a:gd name="T63" fmla="*/ 509 h 1033"/>
                <a:gd name="T64" fmla="*/ 362 w 647"/>
                <a:gd name="T65" fmla="*/ 603 h 1033"/>
                <a:gd name="T66" fmla="*/ 422 w 647"/>
                <a:gd name="T67" fmla="*/ 562 h 1033"/>
                <a:gd name="T68" fmla="*/ 508 w 647"/>
                <a:gd name="T69" fmla="*/ 558 h 1033"/>
                <a:gd name="T70" fmla="*/ 335 w 647"/>
                <a:gd name="T71" fmla="*/ 627 h 1033"/>
                <a:gd name="T72" fmla="*/ 35 w 647"/>
                <a:gd name="T73" fmla="*/ 553 h 1033"/>
                <a:gd name="T74" fmla="*/ 327 w 647"/>
                <a:gd name="T75" fmla="*/ 645 h 1033"/>
                <a:gd name="T76" fmla="*/ 481 w 647"/>
                <a:gd name="T77" fmla="*/ 591 h 1033"/>
                <a:gd name="T78" fmla="*/ 413 w 647"/>
                <a:gd name="T79" fmla="*/ 667 h 1033"/>
                <a:gd name="T80" fmla="*/ 324 w 647"/>
                <a:gd name="T81" fmla="*/ 718 h 1033"/>
                <a:gd name="T82" fmla="*/ 48 w 647"/>
                <a:gd name="T83" fmla="*/ 561 h 1033"/>
                <a:gd name="T84" fmla="*/ 317 w 647"/>
                <a:gd name="T85" fmla="*/ 730 h 1033"/>
                <a:gd name="T86" fmla="*/ 382 w 647"/>
                <a:gd name="T87" fmla="*/ 708 h 1033"/>
                <a:gd name="T88" fmla="*/ 445 w 647"/>
                <a:gd name="T89" fmla="*/ 681 h 1033"/>
                <a:gd name="T90" fmla="*/ 460 w 647"/>
                <a:gd name="T91" fmla="*/ 719 h 1033"/>
                <a:gd name="T92" fmla="*/ 316 w 647"/>
                <a:gd name="T93" fmla="*/ 772 h 1033"/>
                <a:gd name="T94" fmla="*/ 120 w 647"/>
                <a:gd name="T95" fmla="*/ 624 h 1033"/>
                <a:gd name="T96" fmla="*/ 216 w 647"/>
                <a:gd name="T97" fmla="*/ 728 h 1033"/>
                <a:gd name="T98" fmla="*/ 330 w 647"/>
                <a:gd name="T99" fmla="*/ 779 h 1033"/>
                <a:gd name="T100" fmla="*/ 431 w 647"/>
                <a:gd name="T101" fmla="*/ 744 h 1033"/>
                <a:gd name="T102" fmla="*/ 472 w 647"/>
                <a:gd name="T103" fmla="*/ 764 h 1033"/>
                <a:gd name="T104" fmla="*/ 236 w 647"/>
                <a:gd name="T105" fmla="*/ 780 h 1033"/>
                <a:gd name="T106" fmla="*/ 179 w 647"/>
                <a:gd name="T107" fmla="*/ 763 h 1033"/>
                <a:gd name="T108" fmla="*/ 509 w 647"/>
                <a:gd name="T109" fmla="*/ 755 h 1033"/>
                <a:gd name="T110" fmla="*/ 368 w 647"/>
                <a:gd name="T111" fmla="*/ 879 h 1033"/>
                <a:gd name="T112" fmla="*/ 285 w 647"/>
                <a:gd name="T113" fmla="*/ 886 h 1033"/>
                <a:gd name="T114" fmla="*/ 387 w 647"/>
                <a:gd name="T115" fmla="*/ 881 h 1033"/>
                <a:gd name="T116" fmla="*/ 540 w 647"/>
                <a:gd name="T117" fmla="*/ 785 h 1033"/>
                <a:gd name="T118" fmla="*/ 129 w 647"/>
                <a:gd name="T119" fmla="*/ 812 h 1033"/>
                <a:gd name="T120" fmla="*/ 374 w 647"/>
                <a:gd name="T121" fmla="*/ 970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7" h="1033">
                  <a:moveTo>
                    <a:pt x="644" y="843"/>
                  </a:moveTo>
                  <a:cubicBezTo>
                    <a:pt x="624" y="833"/>
                    <a:pt x="624" y="833"/>
                    <a:pt x="624" y="833"/>
                  </a:cubicBezTo>
                  <a:cubicBezTo>
                    <a:pt x="551" y="779"/>
                    <a:pt x="551" y="779"/>
                    <a:pt x="551" y="779"/>
                  </a:cubicBezTo>
                  <a:cubicBezTo>
                    <a:pt x="614" y="739"/>
                    <a:pt x="614" y="739"/>
                    <a:pt x="614" y="739"/>
                  </a:cubicBezTo>
                  <a:cubicBezTo>
                    <a:pt x="616" y="738"/>
                    <a:pt x="617" y="736"/>
                    <a:pt x="617" y="734"/>
                  </a:cubicBezTo>
                  <a:cubicBezTo>
                    <a:pt x="617" y="732"/>
                    <a:pt x="616" y="730"/>
                    <a:pt x="614" y="729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639" y="673"/>
                    <a:pt x="639" y="673"/>
                    <a:pt x="639" y="673"/>
                  </a:cubicBezTo>
                  <a:cubicBezTo>
                    <a:pt x="641" y="672"/>
                    <a:pt x="642" y="670"/>
                    <a:pt x="642" y="668"/>
                  </a:cubicBezTo>
                  <a:cubicBezTo>
                    <a:pt x="642" y="666"/>
                    <a:pt x="641" y="664"/>
                    <a:pt x="639" y="663"/>
                  </a:cubicBezTo>
                  <a:cubicBezTo>
                    <a:pt x="621" y="653"/>
                    <a:pt x="621" y="653"/>
                    <a:pt x="621" y="653"/>
                  </a:cubicBezTo>
                  <a:cubicBezTo>
                    <a:pt x="555" y="598"/>
                    <a:pt x="555" y="598"/>
                    <a:pt x="555" y="598"/>
                  </a:cubicBezTo>
                  <a:cubicBezTo>
                    <a:pt x="625" y="557"/>
                    <a:pt x="625" y="557"/>
                    <a:pt x="625" y="557"/>
                  </a:cubicBezTo>
                  <a:cubicBezTo>
                    <a:pt x="627" y="556"/>
                    <a:pt x="628" y="554"/>
                    <a:pt x="628" y="552"/>
                  </a:cubicBezTo>
                  <a:cubicBezTo>
                    <a:pt x="628" y="550"/>
                    <a:pt x="627" y="548"/>
                    <a:pt x="625" y="547"/>
                  </a:cubicBezTo>
                  <a:cubicBezTo>
                    <a:pt x="581" y="522"/>
                    <a:pt x="581" y="522"/>
                    <a:pt x="581" y="522"/>
                  </a:cubicBezTo>
                  <a:cubicBezTo>
                    <a:pt x="640" y="481"/>
                    <a:pt x="640" y="481"/>
                    <a:pt x="640" y="481"/>
                  </a:cubicBezTo>
                  <a:cubicBezTo>
                    <a:pt x="642" y="480"/>
                    <a:pt x="643" y="478"/>
                    <a:pt x="643" y="476"/>
                  </a:cubicBezTo>
                  <a:cubicBezTo>
                    <a:pt x="643" y="474"/>
                    <a:pt x="641" y="472"/>
                    <a:pt x="640" y="471"/>
                  </a:cubicBezTo>
                  <a:cubicBezTo>
                    <a:pt x="620" y="461"/>
                    <a:pt x="620" y="461"/>
                    <a:pt x="620" y="461"/>
                  </a:cubicBezTo>
                  <a:cubicBezTo>
                    <a:pt x="547" y="407"/>
                    <a:pt x="547" y="407"/>
                    <a:pt x="547" y="407"/>
                  </a:cubicBezTo>
                  <a:cubicBezTo>
                    <a:pt x="610" y="367"/>
                    <a:pt x="610" y="367"/>
                    <a:pt x="610" y="367"/>
                  </a:cubicBezTo>
                  <a:cubicBezTo>
                    <a:pt x="612" y="366"/>
                    <a:pt x="613" y="364"/>
                    <a:pt x="613" y="362"/>
                  </a:cubicBezTo>
                  <a:cubicBezTo>
                    <a:pt x="613" y="360"/>
                    <a:pt x="612" y="358"/>
                    <a:pt x="610" y="357"/>
                  </a:cubicBezTo>
                  <a:cubicBezTo>
                    <a:pt x="576" y="339"/>
                    <a:pt x="576" y="339"/>
                    <a:pt x="576" y="339"/>
                  </a:cubicBezTo>
                  <a:cubicBezTo>
                    <a:pt x="635" y="301"/>
                    <a:pt x="635" y="301"/>
                    <a:pt x="635" y="301"/>
                  </a:cubicBezTo>
                  <a:cubicBezTo>
                    <a:pt x="637" y="300"/>
                    <a:pt x="638" y="298"/>
                    <a:pt x="638" y="296"/>
                  </a:cubicBezTo>
                  <a:cubicBezTo>
                    <a:pt x="638" y="294"/>
                    <a:pt x="637" y="292"/>
                    <a:pt x="635" y="291"/>
                  </a:cubicBezTo>
                  <a:cubicBezTo>
                    <a:pt x="617" y="281"/>
                    <a:pt x="617" y="281"/>
                    <a:pt x="617" y="281"/>
                  </a:cubicBezTo>
                  <a:cubicBezTo>
                    <a:pt x="551" y="226"/>
                    <a:pt x="551" y="226"/>
                    <a:pt x="551" y="226"/>
                  </a:cubicBezTo>
                  <a:cubicBezTo>
                    <a:pt x="621" y="185"/>
                    <a:pt x="621" y="185"/>
                    <a:pt x="621" y="185"/>
                  </a:cubicBezTo>
                  <a:cubicBezTo>
                    <a:pt x="623" y="184"/>
                    <a:pt x="624" y="182"/>
                    <a:pt x="624" y="180"/>
                  </a:cubicBezTo>
                  <a:cubicBezTo>
                    <a:pt x="624" y="178"/>
                    <a:pt x="623" y="176"/>
                    <a:pt x="621" y="175"/>
                  </a:cubicBezTo>
                  <a:cubicBezTo>
                    <a:pt x="320" y="1"/>
                    <a:pt x="320" y="1"/>
                    <a:pt x="320" y="1"/>
                  </a:cubicBezTo>
                  <a:cubicBezTo>
                    <a:pt x="318" y="0"/>
                    <a:pt x="316" y="0"/>
                    <a:pt x="314" y="1"/>
                  </a:cubicBezTo>
                  <a:cubicBezTo>
                    <a:pt x="15" y="175"/>
                    <a:pt x="15" y="175"/>
                    <a:pt x="15" y="175"/>
                  </a:cubicBezTo>
                  <a:cubicBezTo>
                    <a:pt x="13" y="176"/>
                    <a:pt x="12" y="178"/>
                    <a:pt x="12" y="180"/>
                  </a:cubicBezTo>
                  <a:cubicBezTo>
                    <a:pt x="12" y="182"/>
                    <a:pt x="13" y="184"/>
                    <a:pt x="15" y="185"/>
                  </a:cubicBezTo>
                  <a:cubicBezTo>
                    <a:pt x="28" y="193"/>
                    <a:pt x="28" y="193"/>
                    <a:pt x="28" y="193"/>
                  </a:cubicBezTo>
                  <a:cubicBezTo>
                    <a:pt x="105" y="258"/>
                    <a:pt x="105" y="258"/>
                    <a:pt x="105" y="258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31" y="305"/>
                    <a:pt x="30" y="307"/>
                    <a:pt x="30" y="309"/>
                  </a:cubicBezTo>
                  <a:cubicBezTo>
                    <a:pt x="31" y="311"/>
                    <a:pt x="32" y="313"/>
                    <a:pt x="34" y="314"/>
                  </a:cubicBezTo>
                  <a:cubicBezTo>
                    <a:pt x="54" y="325"/>
                    <a:pt x="54" y="325"/>
                    <a:pt x="54" y="325"/>
                  </a:cubicBezTo>
                  <a:cubicBezTo>
                    <a:pt x="3" y="357"/>
                    <a:pt x="3" y="357"/>
                    <a:pt x="3" y="357"/>
                  </a:cubicBezTo>
                  <a:cubicBezTo>
                    <a:pt x="1" y="358"/>
                    <a:pt x="0" y="360"/>
                    <a:pt x="0" y="362"/>
                  </a:cubicBezTo>
                  <a:cubicBezTo>
                    <a:pt x="0" y="364"/>
                    <a:pt x="1" y="366"/>
                    <a:pt x="3" y="367"/>
                  </a:cubicBezTo>
                  <a:cubicBezTo>
                    <a:pt x="18" y="375"/>
                    <a:pt x="18" y="375"/>
                    <a:pt x="18" y="375"/>
                  </a:cubicBezTo>
                  <a:cubicBezTo>
                    <a:pt x="105" y="439"/>
                    <a:pt x="105" y="439"/>
                    <a:pt x="105" y="439"/>
                  </a:cubicBezTo>
                  <a:cubicBezTo>
                    <a:pt x="40" y="484"/>
                    <a:pt x="40" y="484"/>
                    <a:pt x="40" y="484"/>
                  </a:cubicBezTo>
                  <a:cubicBezTo>
                    <a:pt x="38" y="485"/>
                    <a:pt x="37" y="487"/>
                    <a:pt x="37" y="489"/>
                  </a:cubicBezTo>
                  <a:cubicBezTo>
                    <a:pt x="37" y="491"/>
                    <a:pt x="39" y="493"/>
                    <a:pt x="41" y="494"/>
                  </a:cubicBezTo>
                  <a:cubicBezTo>
                    <a:pt x="78" y="513"/>
                    <a:pt x="78" y="513"/>
                    <a:pt x="78" y="513"/>
                  </a:cubicBezTo>
                  <a:cubicBezTo>
                    <a:pt x="19" y="547"/>
                    <a:pt x="19" y="547"/>
                    <a:pt x="19" y="547"/>
                  </a:cubicBezTo>
                  <a:cubicBezTo>
                    <a:pt x="17" y="548"/>
                    <a:pt x="16" y="550"/>
                    <a:pt x="16" y="552"/>
                  </a:cubicBezTo>
                  <a:cubicBezTo>
                    <a:pt x="16" y="554"/>
                    <a:pt x="17" y="556"/>
                    <a:pt x="19" y="557"/>
                  </a:cubicBezTo>
                  <a:cubicBezTo>
                    <a:pt x="32" y="565"/>
                    <a:pt x="32" y="565"/>
                    <a:pt x="32" y="565"/>
                  </a:cubicBezTo>
                  <a:cubicBezTo>
                    <a:pt x="109" y="630"/>
                    <a:pt x="109" y="630"/>
                    <a:pt x="109" y="630"/>
                  </a:cubicBezTo>
                  <a:cubicBezTo>
                    <a:pt x="37" y="676"/>
                    <a:pt x="37" y="676"/>
                    <a:pt x="37" y="676"/>
                  </a:cubicBezTo>
                  <a:cubicBezTo>
                    <a:pt x="35" y="677"/>
                    <a:pt x="34" y="679"/>
                    <a:pt x="34" y="681"/>
                  </a:cubicBezTo>
                  <a:cubicBezTo>
                    <a:pt x="35" y="683"/>
                    <a:pt x="36" y="685"/>
                    <a:pt x="38" y="686"/>
                  </a:cubicBezTo>
                  <a:cubicBezTo>
                    <a:pt x="58" y="697"/>
                    <a:pt x="58" y="697"/>
                    <a:pt x="58" y="697"/>
                  </a:cubicBezTo>
                  <a:cubicBezTo>
                    <a:pt x="7" y="729"/>
                    <a:pt x="7" y="729"/>
                    <a:pt x="7" y="729"/>
                  </a:cubicBezTo>
                  <a:cubicBezTo>
                    <a:pt x="5" y="730"/>
                    <a:pt x="4" y="732"/>
                    <a:pt x="4" y="734"/>
                  </a:cubicBezTo>
                  <a:cubicBezTo>
                    <a:pt x="4" y="736"/>
                    <a:pt x="5" y="738"/>
                    <a:pt x="7" y="739"/>
                  </a:cubicBezTo>
                  <a:cubicBezTo>
                    <a:pt x="22" y="747"/>
                    <a:pt x="22" y="747"/>
                    <a:pt x="22" y="747"/>
                  </a:cubicBezTo>
                  <a:cubicBezTo>
                    <a:pt x="109" y="811"/>
                    <a:pt x="109" y="811"/>
                    <a:pt x="109" y="811"/>
                  </a:cubicBezTo>
                  <a:cubicBezTo>
                    <a:pt x="44" y="856"/>
                    <a:pt x="44" y="856"/>
                    <a:pt x="44" y="856"/>
                  </a:cubicBezTo>
                  <a:cubicBezTo>
                    <a:pt x="42" y="857"/>
                    <a:pt x="41" y="859"/>
                    <a:pt x="41" y="861"/>
                  </a:cubicBezTo>
                  <a:cubicBezTo>
                    <a:pt x="41" y="863"/>
                    <a:pt x="43" y="865"/>
                    <a:pt x="45" y="866"/>
                  </a:cubicBezTo>
                  <a:cubicBezTo>
                    <a:pt x="378" y="1032"/>
                    <a:pt x="378" y="1032"/>
                    <a:pt x="378" y="1032"/>
                  </a:cubicBezTo>
                  <a:cubicBezTo>
                    <a:pt x="379" y="1032"/>
                    <a:pt x="380" y="1033"/>
                    <a:pt x="381" y="1033"/>
                  </a:cubicBezTo>
                  <a:cubicBezTo>
                    <a:pt x="382" y="1033"/>
                    <a:pt x="383" y="1032"/>
                    <a:pt x="384" y="1032"/>
                  </a:cubicBezTo>
                  <a:cubicBezTo>
                    <a:pt x="644" y="853"/>
                    <a:pt x="644" y="853"/>
                    <a:pt x="644" y="853"/>
                  </a:cubicBezTo>
                  <a:cubicBezTo>
                    <a:pt x="646" y="852"/>
                    <a:pt x="647" y="850"/>
                    <a:pt x="647" y="848"/>
                  </a:cubicBezTo>
                  <a:cubicBezTo>
                    <a:pt x="647" y="846"/>
                    <a:pt x="645" y="844"/>
                    <a:pt x="644" y="843"/>
                  </a:cubicBezTo>
                  <a:close/>
                  <a:moveTo>
                    <a:pt x="37" y="185"/>
                  </a:moveTo>
                  <a:cubicBezTo>
                    <a:pt x="31" y="181"/>
                    <a:pt x="31" y="181"/>
                    <a:pt x="31" y="181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317" y="13"/>
                    <a:pt x="317" y="13"/>
                    <a:pt x="317" y="13"/>
                  </a:cubicBezTo>
                  <a:cubicBezTo>
                    <a:pt x="606" y="180"/>
                    <a:pt x="606" y="180"/>
                    <a:pt x="606" y="180"/>
                  </a:cubicBezTo>
                  <a:cubicBezTo>
                    <a:pt x="542" y="218"/>
                    <a:pt x="542" y="218"/>
                    <a:pt x="542" y="218"/>
                  </a:cubicBezTo>
                  <a:cubicBezTo>
                    <a:pt x="536" y="221"/>
                    <a:pt x="536" y="221"/>
                    <a:pt x="536" y="221"/>
                  </a:cubicBezTo>
                  <a:cubicBezTo>
                    <a:pt x="531" y="224"/>
                    <a:pt x="531" y="224"/>
                    <a:pt x="531" y="224"/>
                  </a:cubicBezTo>
                  <a:cubicBezTo>
                    <a:pt x="522" y="229"/>
                    <a:pt x="522" y="229"/>
                    <a:pt x="522" y="229"/>
                  </a:cubicBezTo>
                  <a:cubicBezTo>
                    <a:pt x="516" y="233"/>
                    <a:pt x="516" y="233"/>
                    <a:pt x="516" y="233"/>
                  </a:cubicBezTo>
                  <a:cubicBezTo>
                    <a:pt x="509" y="237"/>
                    <a:pt x="509" y="237"/>
                    <a:pt x="509" y="237"/>
                  </a:cubicBezTo>
                  <a:cubicBezTo>
                    <a:pt x="449" y="272"/>
                    <a:pt x="449" y="272"/>
                    <a:pt x="449" y="272"/>
                  </a:cubicBezTo>
                  <a:cubicBezTo>
                    <a:pt x="443" y="275"/>
                    <a:pt x="443" y="275"/>
                    <a:pt x="443" y="275"/>
                  </a:cubicBezTo>
                  <a:cubicBezTo>
                    <a:pt x="437" y="279"/>
                    <a:pt x="437" y="279"/>
                    <a:pt x="437" y="279"/>
                  </a:cubicBezTo>
                  <a:cubicBezTo>
                    <a:pt x="418" y="290"/>
                    <a:pt x="418" y="290"/>
                    <a:pt x="418" y="290"/>
                  </a:cubicBezTo>
                  <a:cubicBezTo>
                    <a:pt x="409" y="295"/>
                    <a:pt x="409" y="295"/>
                    <a:pt x="409" y="295"/>
                  </a:cubicBezTo>
                  <a:cubicBezTo>
                    <a:pt x="402" y="299"/>
                    <a:pt x="402" y="299"/>
                    <a:pt x="402" y="299"/>
                  </a:cubicBezTo>
                  <a:cubicBezTo>
                    <a:pt x="396" y="302"/>
                    <a:pt x="396" y="302"/>
                    <a:pt x="396" y="302"/>
                  </a:cubicBezTo>
                  <a:cubicBezTo>
                    <a:pt x="391" y="306"/>
                    <a:pt x="391" y="306"/>
                    <a:pt x="391" y="306"/>
                  </a:cubicBezTo>
                  <a:cubicBezTo>
                    <a:pt x="391" y="306"/>
                    <a:pt x="391" y="306"/>
                    <a:pt x="391" y="306"/>
                  </a:cubicBezTo>
                  <a:cubicBezTo>
                    <a:pt x="387" y="307"/>
                    <a:pt x="387" y="307"/>
                    <a:pt x="387" y="307"/>
                  </a:cubicBezTo>
                  <a:cubicBezTo>
                    <a:pt x="382" y="311"/>
                    <a:pt x="382" y="311"/>
                    <a:pt x="382" y="311"/>
                  </a:cubicBezTo>
                  <a:cubicBezTo>
                    <a:pt x="378" y="313"/>
                    <a:pt x="378" y="313"/>
                    <a:pt x="378" y="313"/>
                  </a:cubicBezTo>
                  <a:cubicBezTo>
                    <a:pt x="363" y="321"/>
                    <a:pt x="363" y="321"/>
                    <a:pt x="363" y="321"/>
                  </a:cubicBezTo>
                  <a:cubicBezTo>
                    <a:pt x="358" y="325"/>
                    <a:pt x="358" y="325"/>
                    <a:pt x="358" y="325"/>
                  </a:cubicBezTo>
                  <a:cubicBezTo>
                    <a:pt x="355" y="327"/>
                    <a:pt x="355" y="327"/>
                    <a:pt x="355" y="327"/>
                  </a:cubicBezTo>
                  <a:cubicBezTo>
                    <a:pt x="352" y="328"/>
                    <a:pt x="352" y="328"/>
                    <a:pt x="352" y="328"/>
                  </a:cubicBezTo>
                  <a:cubicBezTo>
                    <a:pt x="348" y="330"/>
                    <a:pt x="348" y="330"/>
                    <a:pt x="348" y="330"/>
                  </a:cubicBezTo>
                  <a:cubicBezTo>
                    <a:pt x="346" y="332"/>
                    <a:pt x="346" y="332"/>
                    <a:pt x="346" y="332"/>
                  </a:cubicBezTo>
                  <a:cubicBezTo>
                    <a:pt x="340" y="335"/>
                    <a:pt x="340" y="335"/>
                    <a:pt x="340" y="335"/>
                  </a:cubicBezTo>
                  <a:cubicBezTo>
                    <a:pt x="336" y="337"/>
                    <a:pt x="336" y="337"/>
                    <a:pt x="336" y="337"/>
                  </a:cubicBezTo>
                  <a:cubicBezTo>
                    <a:pt x="328" y="342"/>
                    <a:pt x="328" y="342"/>
                    <a:pt x="328" y="342"/>
                  </a:cubicBezTo>
                  <a:cubicBezTo>
                    <a:pt x="327" y="342"/>
                    <a:pt x="327" y="342"/>
                    <a:pt x="327" y="342"/>
                  </a:cubicBezTo>
                  <a:cubicBezTo>
                    <a:pt x="320" y="346"/>
                    <a:pt x="320" y="346"/>
                    <a:pt x="320" y="346"/>
                  </a:cubicBezTo>
                  <a:cubicBezTo>
                    <a:pt x="319" y="347"/>
                    <a:pt x="319" y="347"/>
                    <a:pt x="319" y="347"/>
                  </a:cubicBezTo>
                  <a:cubicBezTo>
                    <a:pt x="290" y="331"/>
                    <a:pt x="290" y="331"/>
                    <a:pt x="290" y="331"/>
                  </a:cubicBezTo>
                  <a:cubicBezTo>
                    <a:pt x="287" y="329"/>
                    <a:pt x="287" y="329"/>
                    <a:pt x="287" y="329"/>
                  </a:cubicBezTo>
                  <a:cubicBezTo>
                    <a:pt x="281" y="326"/>
                    <a:pt x="281" y="326"/>
                    <a:pt x="281" y="326"/>
                  </a:cubicBezTo>
                  <a:cubicBezTo>
                    <a:pt x="276" y="322"/>
                    <a:pt x="276" y="322"/>
                    <a:pt x="276" y="322"/>
                  </a:cubicBezTo>
                  <a:cubicBezTo>
                    <a:pt x="264" y="316"/>
                    <a:pt x="264" y="316"/>
                    <a:pt x="264" y="316"/>
                  </a:cubicBezTo>
                  <a:cubicBezTo>
                    <a:pt x="238" y="300"/>
                    <a:pt x="238" y="300"/>
                    <a:pt x="238" y="300"/>
                  </a:cubicBezTo>
                  <a:cubicBezTo>
                    <a:pt x="230" y="296"/>
                    <a:pt x="230" y="296"/>
                    <a:pt x="230" y="296"/>
                  </a:cubicBezTo>
                  <a:cubicBezTo>
                    <a:pt x="223" y="292"/>
                    <a:pt x="223" y="292"/>
                    <a:pt x="223" y="292"/>
                  </a:cubicBezTo>
                  <a:cubicBezTo>
                    <a:pt x="217" y="288"/>
                    <a:pt x="217" y="288"/>
                    <a:pt x="217" y="288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174" y="264"/>
                    <a:pt x="174" y="264"/>
                    <a:pt x="174" y="264"/>
                  </a:cubicBezTo>
                  <a:cubicBezTo>
                    <a:pt x="168" y="260"/>
                    <a:pt x="168" y="260"/>
                    <a:pt x="168" y="260"/>
                  </a:cubicBezTo>
                  <a:cubicBezTo>
                    <a:pt x="163" y="257"/>
                    <a:pt x="163" y="257"/>
                    <a:pt x="163" y="257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40" y="244"/>
                    <a:pt x="140" y="244"/>
                    <a:pt x="140" y="244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44" y="189"/>
                    <a:pt x="44" y="189"/>
                    <a:pt x="44" y="189"/>
                  </a:cubicBezTo>
                  <a:lnTo>
                    <a:pt x="37" y="185"/>
                  </a:lnTo>
                  <a:close/>
                  <a:moveTo>
                    <a:pt x="87" y="227"/>
                  </a:moveTo>
                  <a:cubicBezTo>
                    <a:pt x="122" y="248"/>
                    <a:pt x="122" y="248"/>
                    <a:pt x="122" y="248"/>
                  </a:cubicBezTo>
                  <a:cubicBezTo>
                    <a:pt x="128" y="251"/>
                    <a:pt x="128" y="251"/>
                    <a:pt x="128" y="251"/>
                  </a:cubicBezTo>
                  <a:cubicBezTo>
                    <a:pt x="134" y="254"/>
                    <a:pt x="134" y="254"/>
                    <a:pt x="134" y="254"/>
                  </a:cubicBezTo>
                  <a:cubicBezTo>
                    <a:pt x="151" y="264"/>
                    <a:pt x="151" y="264"/>
                    <a:pt x="151" y="264"/>
                  </a:cubicBezTo>
                  <a:cubicBezTo>
                    <a:pt x="157" y="268"/>
                    <a:pt x="157" y="268"/>
                    <a:pt x="157" y="268"/>
                  </a:cubicBezTo>
                  <a:cubicBezTo>
                    <a:pt x="163" y="271"/>
                    <a:pt x="163" y="271"/>
                    <a:pt x="163" y="271"/>
                  </a:cubicBezTo>
                  <a:cubicBezTo>
                    <a:pt x="202" y="293"/>
                    <a:pt x="202" y="293"/>
                    <a:pt x="202" y="293"/>
                  </a:cubicBezTo>
                  <a:cubicBezTo>
                    <a:pt x="208" y="297"/>
                    <a:pt x="208" y="297"/>
                    <a:pt x="208" y="297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65" y="330"/>
                    <a:pt x="265" y="330"/>
                    <a:pt x="265" y="330"/>
                  </a:cubicBezTo>
                  <a:cubicBezTo>
                    <a:pt x="269" y="332"/>
                    <a:pt x="269" y="332"/>
                    <a:pt x="269" y="332"/>
                  </a:cubicBezTo>
                  <a:cubicBezTo>
                    <a:pt x="270" y="333"/>
                    <a:pt x="270" y="333"/>
                    <a:pt x="270" y="333"/>
                  </a:cubicBezTo>
                  <a:cubicBezTo>
                    <a:pt x="275" y="337"/>
                    <a:pt x="275" y="337"/>
                    <a:pt x="275" y="337"/>
                  </a:cubicBezTo>
                  <a:cubicBezTo>
                    <a:pt x="301" y="360"/>
                    <a:pt x="301" y="360"/>
                    <a:pt x="301" y="360"/>
                  </a:cubicBezTo>
                  <a:cubicBezTo>
                    <a:pt x="304" y="362"/>
                    <a:pt x="308" y="362"/>
                    <a:pt x="311" y="361"/>
                  </a:cubicBezTo>
                  <a:cubicBezTo>
                    <a:pt x="313" y="361"/>
                    <a:pt x="314" y="359"/>
                    <a:pt x="313" y="358"/>
                  </a:cubicBezTo>
                  <a:cubicBezTo>
                    <a:pt x="316" y="359"/>
                    <a:pt x="316" y="359"/>
                    <a:pt x="316" y="359"/>
                  </a:cubicBezTo>
                  <a:cubicBezTo>
                    <a:pt x="317" y="360"/>
                    <a:pt x="318" y="360"/>
                    <a:pt x="319" y="360"/>
                  </a:cubicBezTo>
                  <a:cubicBezTo>
                    <a:pt x="320" y="360"/>
                    <a:pt x="321" y="360"/>
                    <a:pt x="322" y="359"/>
                  </a:cubicBezTo>
                  <a:cubicBezTo>
                    <a:pt x="324" y="358"/>
                    <a:pt x="324" y="358"/>
                    <a:pt x="324" y="358"/>
                  </a:cubicBezTo>
                  <a:cubicBezTo>
                    <a:pt x="331" y="354"/>
                    <a:pt x="331" y="354"/>
                    <a:pt x="331" y="354"/>
                  </a:cubicBezTo>
                  <a:cubicBezTo>
                    <a:pt x="333" y="353"/>
                    <a:pt x="333" y="353"/>
                    <a:pt x="333" y="353"/>
                  </a:cubicBezTo>
                  <a:cubicBezTo>
                    <a:pt x="338" y="350"/>
                    <a:pt x="338" y="350"/>
                    <a:pt x="338" y="350"/>
                  </a:cubicBezTo>
                  <a:cubicBezTo>
                    <a:pt x="340" y="350"/>
                    <a:pt x="341" y="350"/>
                    <a:pt x="343" y="350"/>
                  </a:cubicBezTo>
                  <a:cubicBezTo>
                    <a:pt x="343" y="350"/>
                    <a:pt x="343" y="350"/>
                    <a:pt x="343" y="350"/>
                  </a:cubicBezTo>
                  <a:cubicBezTo>
                    <a:pt x="345" y="349"/>
                    <a:pt x="346" y="347"/>
                    <a:pt x="345" y="346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59" y="338"/>
                    <a:pt x="359" y="338"/>
                    <a:pt x="359" y="338"/>
                  </a:cubicBezTo>
                  <a:cubicBezTo>
                    <a:pt x="361" y="337"/>
                    <a:pt x="361" y="337"/>
                    <a:pt x="361" y="337"/>
                  </a:cubicBezTo>
                  <a:cubicBezTo>
                    <a:pt x="364" y="335"/>
                    <a:pt x="364" y="335"/>
                    <a:pt x="364" y="335"/>
                  </a:cubicBezTo>
                  <a:cubicBezTo>
                    <a:pt x="366" y="336"/>
                    <a:pt x="366" y="336"/>
                    <a:pt x="366" y="336"/>
                  </a:cubicBezTo>
                  <a:cubicBezTo>
                    <a:pt x="368" y="338"/>
                    <a:pt x="371" y="339"/>
                    <a:pt x="373" y="338"/>
                  </a:cubicBezTo>
                  <a:cubicBezTo>
                    <a:pt x="374" y="338"/>
                    <a:pt x="375" y="338"/>
                    <a:pt x="375" y="338"/>
                  </a:cubicBezTo>
                  <a:cubicBezTo>
                    <a:pt x="377" y="337"/>
                    <a:pt x="378" y="337"/>
                    <a:pt x="378" y="336"/>
                  </a:cubicBezTo>
                  <a:cubicBezTo>
                    <a:pt x="378" y="335"/>
                    <a:pt x="378" y="333"/>
                    <a:pt x="376" y="332"/>
                  </a:cubicBezTo>
                  <a:cubicBezTo>
                    <a:pt x="373" y="330"/>
                    <a:pt x="373" y="330"/>
                    <a:pt x="373" y="330"/>
                  </a:cubicBezTo>
                  <a:cubicBezTo>
                    <a:pt x="390" y="320"/>
                    <a:pt x="390" y="320"/>
                    <a:pt x="390" y="320"/>
                  </a:cubicBezTo>
                  <a:cubicBezTo>
                    <a:pt x="392" y="319"/>
                    <a:pt x="392" y="319"/>
                    <a:pt x="392" y="319"/>
                  </a:cubicBezTo>
                  <a:cubicBezTo>
                    <a:pt x="397" y="323"/>
                    <a:pt x="397" y="323"/>
                    <a:pt x="397" y="323"/>
                  </a:cubicBezTo>
                  <a:cubicBezTo>
                    <a:pt x="398" y="325"/>
                    <a:pt x="398" y="325"/>
                    <a:pt x="398" y="325"/>
                  </a:cubicBezTo>
                  <a:cubicBezTo>
                    <a:pt x="399" y="325"/>
                    <a:pt x="401" y="326"/>
                    <a:pt x="403" y="326"/>
                  </a:cubicBezTo>
                  <a:cubicBezTo>
                    <a:pt x="404" y="327"/>
                    <a:pt x="406" y="327"/>
                    <a:pt x="408" y="326"/>
                  </a:cubicBezTo>
                  <a:cubicBezTo>
                    <a:pt x="411" y="325"/>
                    <a:pt x="411" y="323"/>
                    <a:pt x="409" y="321"/>
                  </a:cubicBezTo>
                  <a:cubicBezTo>
                    <a:pt x="403" y="316"/>
                    <a:pt x="403" y="316"/>
                    <a:pt x="403" y="316"/>
                  </a:cubicBezTo>
                  <a:cubicBezTo>
                    <a:pt x="400" y="314"/>
                    <a:pt x="400" y="314"/>
                    <a:pt x="400" y="314"/>
                  </a:cubicBezTo>
                  <a:cubicBezTo>
                    <a:pt x="401" y="313"/>
                    <a:pt x="401" y="313"/>
                    <a:pt x="401" y="313"/>
                  </a:cubicBezTo>
                  <a:cubicBezTo>
                    <a:pt x="407" y="310"/>
                    <a:pt x="407" y="310"/>
                    <a:pt x="407" y="310"/>
                  </a:cubicBezTo>
                  <a:cubicBezTo>
                    <a:pt x="412" y="307"/>
                    <a:pt x="412" y="307"/>
                    <a:pt x="412" y="307"/>
                  </a:cubicBezTo>
                  <a:cubicBezTo>
                    <a:pt x="419" y="303"/>
                    <a:pt x="419" y="303"/>
                    <a:pt x="419" y="303"/>
                  </a:cubicBezTo>
                  <a:cubicBezTo>
                    <a:pt x="430" y="313"/>
                    <a:pt x="430" y="313"/>
                    <a:pt x="430" y="313"/>
                  </a:cubicBezTo>
                  <a:cubicBezTo>
                    <a:pt x="433" y="315"/>
                    <a:pt x="437" y="316"/>
                    <a:pt x="440" y="314"/>
                  </a:cubicBezTo>
                  <a:cubicBezTo>
                    <a:pt x="443" y="313"/>
                    <a:pt x="443" y="311"/>
                    <a:pt x="441" y="309"/>
                  </a:cubicBezTo>
                  <a:cubicBezTo>
                    <a:pt x="428" y="298"/>
                    <a:pt x="428" y="298"/>
                    <a:pt x="428" y="298"/>
                  </a:cubicBezTo>
                  <a:cubicBezTo>
                    <a:pt x="449" y="286"/>
                    <a:pt x="449" y="286"/>
                    <a:pt x="449" y="286"/>
                  </a:cubicBezTo>
                  <a:cubicBezTo>
                    <a:pt x="455" y="282"/>
                    <a:pt x="455" y="282"/>
                    <a:pt x="455" y="282"/>
                  </a:cubicBezTo>
                  <a:cubicBezTo>
                    <a:pt x="461" y="278"/>
                    <a:pt x="461" y="278"/>
                    <a:pt x="461" y="278"/>
                  </a:cubicBezTo>
                  <a:cubicBezTo>
                    <a:pt x="522" y="243"/>
                    <a:pt x="522" y="243"/>
                    <a:pt x="522" y="243"/>
                  </a:cubicBezTo>
                  <a:cubicBezTo>
                    <a:pt x="528" y="240"/>
                    <a:pt x="528" y="240"/>
                    <a:pt x="528" y="240"/>
                  </a:cubicBezTo>
                  <a:cubicBezTo>
                    <a:pt x="534" y="236"/>
                    <a:pt x="534" y="236"/>
                    <a:pt x="534" y="236"/>
                  </a:cubicBezTo>
                  <a:cubicBezTo>
                    <a:pt x="540" y="232"/>
                    <a:pt x="540" y="232"/>
                    <a:pt x="540" y="232"/>
                  </a:cubicBezTo>
                  <a:cubicBezTo>
                    <a:pt x="565" y="253"/>
                    <a:pt x="565" y="253"/>
                    <a:pt x="565" y="253"/>
                  </a:cubicBezTo>
                  <a:cubicBezTo>
                    <a:pt x="587" y="272"/>
                    <a:pt x="587" y="272"/>
                    <a:pt x="587" y="272"/>
                  </a:cubicBezTo>
                  <a:cubicBezTo>
                    <a:pt x="610" y="291"/>
                    <a:pt x="610" y="291"/>
                    <a:pt x="610" y="291"/>
                  </a:cubicBezTo>
                  <a:cubicBezTo>
                    <a:pt x="610" y="291"/>
                    <a:pt x="610" y="291"/>
                    <a:pt x="610" y="291"/>
                  </a:cubicBezTo>
                  <a:cubicBezTo>
                    <a:pt x="536" y="318"/>
                    <a:pt x="536" y="318"/>
                    <a:pt x="536" y="318"/>
                  </a:cubicBezTo>
                  <a:cubicBezTo>
                    <a:pt x="529" y="321"/>
                    <a:pt x="529" y="321"/>
                    <a:pt x="529" y="321"/>
                  </a:cubicBezTo>
                  <a:cubicBezTo>
                    <a:pt x="521" y="323"/>
                    <a:pt x="521" y="323"/>
                    <a:pt x="521" y="323"/>
                  </a:cubicBezTo>
                  <a:cubicBezTo>
                    <a:pt x="463" y="345"/>
                    <a:pt x="463" y="345"/>
                    <a:pt x="463" y="345"/>
                  </a:cubicBezTo>
                  <a:cubicBezTo>
                    <a:pt x="459" y="346"/>
                    <a:pt x="459" y="346"/>
                    <a:pt x="459" y="346"/>
                  </a:cubicBezTo>
                  <a:cubicBezTo>
                    <a:pt x="456" y="347"/>
                    <a:pt x="456" y="347"/>
                    <a:pt x="456" y="347"/>
                  </a:cubicBezTo>
                  <a:cubicBezTo>
                    <a:pt x="450" y="349"/>
                    <a:pt x="450" y="349"/>
                    <a:pt x="450" y="349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22" y="359"/>
                    <a:pt x="422" y="359"/>
                    <a:pt x="422" y="359"/>
                  </a:cubicBezTo>
                  <a:cubicBezTo>
                    <a:pt x="418" y="361"/>
                    <a:pt x="418" y="361"/>
                    <a:pt x="418" y="361"/>
                  </a:cubicBezTo>
                  <a:cubicBezTo>
                    <a:pt x="410" y="364"/>
                    <a:pt x="410" y="364"/>
                    <a:pt x="410" y="364"/>
                  </a:cubicBezTo>
                  <a:cubicBezTo>
                    <a:pt x="410" y="364"/>
                    <a:pt x="410" y="364"/>
                    <a:pt x="410" y="364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385" y="373"/>
                    <a:pt x="385" y="373"/>
                    <a:pt x="385" y="373"/>
                  </a:cubicBezTo>
                  <a:cubicBezTo>
                    <a:pt x="376" y="376"/>
                    <a:pt x="376" y="376"/>
                    <a:pt x="376" y="376"/>
                  </a:cubicBezTo>
                  <a:cubicBezTo>
                    <a:pt x="373" y="377"/>
                    <a:pt x="373" y="377"/>
                    <a:pt x="373" y="377"/>
                  </a:cubicBezTo>
                  <a:cubicBezTo>
                    <a:pt x="365" y="380"/>
                    <a:pt x="365" y="380"/>
                    <a:pt x="365" y="380"/>
                  </a:cubicBezTo>
                  <a:cubicBezTo>
                    <a:pt x="349" y="386"/>
                    <a:pt x="349" y="386"/>
                    <a:pt x="349" y="386"/>
                  </a:cubicBezTo>
                  <a:cubicBezTo>
                    <a:pt x="348" y="387"/>
                    <a:pt x="348" y="387"/>
                    <a:pt x="348" y="387"/>
                  </a:cubicBezTo>
                  <a:cubicBezTo>
                    <a:pt x="341" y="389"/>
                    <a:pt x="341" y="389"/>
                    <a:pt x="341" y="389"/>
                  </a:cubicBezTo>
                  <a:cubicBezTo>
                    <a:pt x="340" y="389"/>
                    <a:pt x="340" y="389"/>
                    <a:pt x="340" y="389"/>
                  </a:cubicBezTo>
                  <a:cubicBezTo>
                    <a:pt x="337" y="391"/>
                    <a:pt x="337" y="391"/>
                    <a:pt x="337" y="391"/>
                  </a:cubicBezTo>
                  <a:cubicBezTo>
                    <a:pt x="333" y="392"/>
                    <a:pt x="333" y="392"/>
                    <a:pt x="333" y="392"/>
                  </a:cubicBezTo>
                  <a:cubicBezTo>
                    <a:pt x="330" y="393"/>
                    <a:pt x="330" y="393"/>
                    <a:pt x="330" y="393"/>
                  </a:cubicBezTo>
                  <a:cubicBezTo>
                    <a:pt x="322" y="396"/>
                    <a:pt x="322" y="396"/>
                    <a:pt x="322" y="396"/>
                  </a:cubicBezTo>
                  <a:cubicBezTo>
                    <a:pt x="312" y="399"/>
                    <a:pt x="312" y="399"/>
                    <a:pt x="312" y="399"/>
                  </a:cubicBezTo>
                  <a:cubicBezTo>
                    <a:pt x="312" y="400"/>
                    <a:pt x="312" y="400"/>
                    <a:pt x="312" y="400"/>
                  </a:cubicBezTo>
                  <a:cubicBezTo>
                    <a:pt x="306" y="402"/>
                    <a:pt x="306" y="402"/>
                    <a:pt x="306" y="402"/>
                  </a:cubicBezTo>
                  <a:cubicBezTo>
                    <a:pt x="300" y="404"/>
                    <a:pt x="300" y="404"/>
                    <a:pt x="300" y="404"/>
                  </a:cubicBezTo>
                  <a:cubicBezTo>
                    <a:pt x="297" y="405"/>
                    <a:pt x="297" y="405"/>
                    <a:pt x="297" y="405"/>
                  </a:cubicBezTo>
                  <a:cubicBezTo>
                    <a:pt x="293" y="401"/>
                    <a:pt x="293" y="401"/>
                    <a:pt x="293" y="401"/>
                  </a:cubicBezTo>
                  <a:cubicBezTo>
                    <a:pt x="290" y="398"/>
                    <a:pt x="290" y="398"/>
                    <a:pt x="290" y="398"/>
                  </a:cubicBezTo>
                  <a:cubicBezTo>
                    <a:pt x="288" y="397"/>
                    <a:pt x="288" y="397"/>
                    <a:pt x="288" y="397"/>
                  </a:cubicBezTo>
                  <a:cubicBezTo>
                    <a:pt x="284" y="393"/>
                    <a:pt x="284" y="393"/>
                    <a:pt x="284" y="393"/>
                  </a:cubicBezTo>
                  <a:cubicBezTo>
                    <a:pt x="273" y="384"/>
                    <a:pt x="273" y="384"/>
                    <a:pt x="273" y="384"/>
                  </a:cubicBezTo>
                  <a:cubicBezTo>
                    <a:pt x="254" y="368"/>
                    <a:pt x="254" y="368"/>
                    <a:pt x="254" y="368"/>
                  </a:cubicBezTo>
                  <a:cubicBezTo>
                    <a:pt x="243" y="359"/>
                    <a:pt x="243" y="359"/>
                    <a:pt x="243" y="359"/>
                  </a:cubicBezTo>
                  <a:cubicBezTo>
                    <a:pt x="239" y="355"/>
                    <a:pt x="239" y="355"/>
                    <a:pt x="239" y="355"/>
                  </a:cubicBezTo>
                  <a:cubicBezTo>
                    <a:pt x="234" y="351"/>
                    <a:pt x="234" y="351"/>
                    <a:pt x="234" y="351"/>
                  </a:cubicBezTo>
                  <a:cubicBezTo>
                    <a:pt x="187" y="312"/>
                    <a:pt x="187" y="312"/>
                    <a:pt x="187" y="312"/>
                  </a:cubicBezTo>
                  <a:cubicBezTo>
                    <a:pt x="182" y="307"/>
                    <a:pt x="182" y="307"/>
                    <a:pt x="182" y="307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49" y="280"/>
                    <a:pt x="149" y="280"/>
                    <a:pt x="149" y="280"/>
                  </a:cubicBezTo>
                  <a:cubicBezTo>
                    <a:pt x="144" y="276"/>
                    <a:pt x="144" y="276"/>
                    <a:pt x="144" y="276"/>
                  </a:cubicBezTo>
                  <a:cubicBezTo>
                    <a:pt x="139" y="271"/>
                    <a:pt x="139" y="271"/>
                    <a:pt x="139" y="271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16" y="252"/>
                    <a:pt x="116" y="252"/>
                    <a:pt x="116" y="252"/>
                  </a:cubicBezTo>
                  <a:lnTo>
                    <a:pt x="87" y="227"/>
                  </a:lnTo>
                  <a:close/>
                  <a:moveTo>
                    <a:pt x="48" y="308"/>
                  </a:moveTo>
                  <a:cubicBezTo>
                    <a:pt x="115" y="266"/>
                    <a:pt x="115" y="266"/>
                    <a:pt x="115" y="266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4" y="282"/>
                    <a:pt x="134" y="282"/>
                    <a:pt x="134" y="282"/>
                  </a:cubicBezTo>
                  <a:cubicBezTo>
                    <a:pt x="138" y="286"/>
                    <a:pt x="138" y="286"/>
                    <a:pt x="138" y="286"/>
                  </a:cubicBezTo>
                  <a:cubicBezTo>
                    <a:pt x="164" y="308"/>
                    <a:pt x="164" y="308"/>
                    <a:pt x="164" y="308"/>
                  </a:cubicBezTo>
                  <a:cubicBezTo>
                    <a:pt x="169" y="312"/>
                    <a:pt x="169" y="312"/>
                    <a:pt x="169" y="312"/>
                  </a:cubicBezTo>
                  <a:cubicBezTo>
                    <a:pt x="174" y="317"/>
                    <a:pt x="174" y="317"/>
                    <a:pt x="174" y="317"/>
                  </a:cubicBezTo>
                  <a:cubicBezTo>
                    <a:pt x="202" y="340"/>
                    <a:pt x="202" y="340"/>
                    <a:pt x="202" y="340"/>
                  </a:cubicBezTo>
                  <a:cubicBezTo>
                    <a:pt x="166" y="320"/>
                    <a:pt x="166" y="320"/>
                    <a:pt x="166" y="320"/>
                  </a:cubicBezTo>
                  <a:cubicBezTo>
                    <a:pt x="159" y="316"/>
                    <a:pt x="159" y="316"/>
                    <a:pt x="159" y="316"/>
                  </a:cubicBezTo>
                  <a:cubicBezTo>
                    <a:pt x="156" y="315"/>
                    <a:pt x="156" y="315"/>
                    <a:pt x="156" y="315"/>
                  </a:cubicBezTo>
                  <a:cubicBezTo>
                    <a:pt x="153" y="313"/>
                    <a:pt x="149" y="313"/>
                    <a:pt x="146" y="315"/>
                  </a:cubicBezTo>
                  <a:cubicBezTo>
                    <a:pt x="144" y="316"/>
                    <a:pt x="144" y="319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54" y="324"/>
                    <a:pt x="154" y="324"/>
                    <a:pt x="154" y="324"/>
                  </a:cubicBezTo>
                  <a:cubicBezTo>
                    <a:pt x="212" y="356"/>
                    <a:pt x="212" y="356"/>
                    <a:pt x="212" y="356"/>
                  </a:cubicBezTo>
                  <a:cubicBezTo>
                    <a:pt x="220" y="360"/>
                    <a:pt x="220" y="360"/>
                    <a:pt x="220" y="360"/>
                  </a:cubicBezTo>
                  <a:cubicBezTo>
                    <a:pt x="226" y="364"/>
                    <a:pt x="226" y="364"/>
                    <a:pt x="226" y="364"/>
                  </a:cubicBezTo>
                  <a:cubicBezTo>
                    <a:pt x="232" y="367"/>
                    <a:pt x="232" y="367"/>
                    <a:pt x="232" y="367"/>
                  </a:cubicBezTo>
                  <a:cubicBezTo>
                    <a:pt x="237" y="370"/>
                    <a:pt x="237" y="370"/>
                    <a:pt x="237" y="370"/>
                  </a:cubicBezTo>
                  <a:cubicBezTo>
                    <a:pt x="256" y="385"/>
                    <a:pt x="256" y="385"/>
                    <a:pt x="256" y="385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73" y="399"/>
                    <a:pt x="273" y="399"/>
                    <a:pt x="273" y="399"/>
                  </a:cubicBezTo>
                  <a:cubicBezTo>
                    <a:pt x="277" y="404"/>
                    <a:pt x="277" y="404"/>
                    <a:pt x="277" y="404"/>
                  </a:cubicBezTo>
                  <a:cubicBezTo>
                    <a:pt x="282" y="408"/>
                    <a:pt x="282" y="408"/>
                    <a:pt x="282" y="408"/>
                  </a:cubicBezTo>
                  <a:cubicBezTo>
                    <a:pt x="292" y="416"/>
                    <a:pt x="292" y="416"/>
                    <a:pt x="292" y="416"/>
                  </a:cubicBezTo>
                  <a:cubicBezTo>
                    <a:pt x="293" y="417"/>
                    <a:pt x="295" y="418"/>
                    <a:pt x="296" y="418"/>
                  </a:cubicBezTo>
                  <a:cubicBezTo>
                    <a:pt x="297" y="418"/>
                    <a:pt x="298" y="418"/>
                    <a:pt x="298" y="417"/>
                  </a:cubicBezTo>
                  <a:cubicBezTo>
                    <a:pt x="303" y="416"/>
                    <a:pt x="303" y="416"/>
                    <a:pt x="303" y="416"/>
                  </a:cubicBezTo>
                  <a:cubicBezTo>
                    <a:pt x="309" y="413"/>
                    <a:pt x="309" y="413"/>
                    <a:pt x="309" y="413"/>
                  </a:cubicBezTo>
                  <a:cubicBezTo>
                    <a:pt x="314" y="412"/>
                    <a:pt x="314" y="412"/>
                    <a:pt x="314" y="412"/>
                  </a:cubicBezTo>
                  <a:cubicBezTo>
                    <a:pt x="339" y="425"/>
                    <a:pt x="339" y="425"/>
                    <a:pt x="339" y="425"/>
                  </a:cubicBezTo>
                  <a:cubicBezTo>
                    <a:pt x="341" y="426"/>
                    <a:pt x="344" y="426"/>
                    <a:pt x="347" y="425"/>
                  </a:cubicBezTo>
                  <a:cubicBezTo>
                    <a:pt x="347" y="425"/>
                    <a:pt x="348" y="425"/>
                    <a:pt x="348" y="425"/>
                  </a:cubicBezTo>
                  <a:cubicBezTo>
                    <a:pt x="348" y="424"/>
                    <a:pt x="349" y="424"/>
                    <a:pt x="349" y="424"/>
                  </a:cubicBezTo>
                  <a:cubicBezTo>
                    <a:pt x="351" y="423"/>
                    <a:pt x="350" y="420"/>
                    <a:pt x="348" y="419"/>
                  </a:cubicBezTo>
                  <a:cubicBezTo>
                    <a:pt x="326" y="407"/>
                    <a:pt x="326" y="407"/>
                    <a:pt x="326" y="407"/>
                  </a:cubicBezTo>
                  <a:cubicBezTo>
                    <a:pt x="334" y="404"/>
                    <a:pt x="334" y="404"/>
                    <a:pt x="334" y="404"/>
                  </a:cubicBezTo>
                  <a:cubicBezTo>
                    <a:pt x="344" y="401"/>
                    <a:pt x="344" y="401"/>
                    <a:pt x="344" y="401"/>
                  </a:cubicBezTo>
                  <a:cubicBezTo>
                    <a:pt x="346" y="400"/>
                    <a:pt x="346" y="400"/>
                    <a:pt x="346" y="400"/>
                  </a:cubicBezTo>
                  <a:cubicBezTo>
                    <a:pt x="351" y="398"/>
                    <a:pt x="351" y="398"/>
                    <a:pt x="351" y="398"/>
                  </a:cubicBezTo>
                  <a:cubicBezTo>
                    <a:pt x="367" y="407"/>
                    <a:pt x="367" y="407"/>
                    <a:pt x="367" y="407"/>
                  </a:cubicBezTo>
                  <a:cubicBezTo>
                    <a:pt x="369" y="408"/>
                    <a:pt x="371" y="408"/>
                    <a:pt x="373" y="408"/>
                  </a:cubicBezTo>
                  <a:cubicBezTo>
                    <a:pt x="374" y="408"/>
                    <a:pt x="375" y="408"/>
                    <a:pt x="376" y="407"/>
                  </a:cubicBezTo>
                  <a:cubicBezTo>
                    <a:pt x="376" y="407"/>
                    <a:pt x="376" y="407"/>
                    <a:pt x="377" y="407"/>
                  </a:cubicBezTo>
                  <a:cubicBezTo>
                    <a:pt x="378" y="406"/>
                    <a:pt x="378" y="405"/>
                    <a:pt x="378" y="404"/>
                  </a:cubicBezTo>
                  <a:cubicBezTo>
                    <a:pt x="378" y="403"/>
                    <a:pt x="378" y="402"/>
                    <a:pt x="376" y="401"/>
                  </a:cubicBezTo>
                  <a:cubicBezTo>
                    <a:pt x="363" y="394"/>
                    <a:pt x="363" y="394"/>
                    <a:pt x="363" y="394"/>
                  </a:cubicBezTo>
                  <a:cubicBezTo>
                    <a:pt x="379" y="388"/>
                    <a:pt x="379" y="388"/>
                    <a:pt x="379" y="388"/>
                  </a:cubicBezTo>
                  <a:cubicBezTo>
                    <a:pt x="388" y="385"/>
                    <a:pt x="388" y="385"/>
                    <a:pt x="388" y="385"/>
                  </a:cubicBezTo>
                  <a:cubicBezTo>
                    <a:pt x="395" y="389"/>
                    <a:pt x="395" y="389"/>
                    <a:pt x="395" y="389"/>
                  </a:cubicBezTo>
                  <a:cubicBezTo>
                    <a:pt x="397" y="390"/>
                    <a:pt x="400" y="390"/>
                    <a:pt x="403" y="390"/>
                  </a:cubicBezTo>
                  <a:cubicBezTo>
                    <a:pt x="403" y="390"/>
                    <a:pt x="404" y="389"/>
                    <a:pt x="405" y="389"/>
                  </a:cubicBezTo>
                  <a:cubicBezTo>
                    <a:pt x="407" y="387"/>
                    <a:pt x="407" y="385"/>
                    <a:pt x="404" y="383"/>
                  </a:cubicBezTo>
                  <a:cubicBezTo>
                    <a:pt x="399" y="380"/>
                    <a:pt x="399" y="380"/>
                    <a:pt x="399" y="380"/>
                  </a:cubicBezTo>
                  <a:cubicBezTo>
                    <a:pt x="418" y="374"/>
                    <a:pt x="418" y="374"/>
                    <a:pt x="418" y="374"/>
                  </a:cubicBezTo>
                  <a:cubicBezTo>
                    <a:pt x="424" y="371"/>
                    <a:pt x="424" y="371"/>
                    <a:pt x="424" y="371"/>
                  </a:cubicBezTo>
                  <a:cubicBezTo>
                    <a:pt x="425" y="372"/>
                    <a:pt x="426" y="372"/>
                    <a:pt x="427" y="372"/>
                  </a:cubicBezTo>
                  <a:cubicBezTo>
                    <a:pt x="429" y="372"/>
                    <a:pt x="432" y="372"/>
                    <a:pt x="433" y="371"/>
                  </a:cubicBezTo>
                  <a:cubicBezTo>
                    <a:pt x="434" y="370"/>
                    <a:pt x="435" y="370"/>
                    <a:pt x="435" y="369"/>
                  </a:cubicBezTo>
                  <a:cubicBezTo>
                    <a:pt x="435" y="369"/>
                    <a:pt x="435" y="368"/>
                    <a:pt x="435" y="368"/>
                  </a:cubicBezTo>
                  <a:cubicBezTo>
                    <a:pt x="461" y="358"/>
                    <a:pt x="461" y="358"/>
                    <a:pt x="461" y="358"/>
                  </a:cubicBezTo>
                  <a:cubicBezTo>
                    <a:pt x="468" y="356"/>
                    <a:pt x="468" y="356"/>
                    <a:pt x="468" y="356"/>
                  </a:cubicBezTo>
                  <a:cubicBezTo>
                    <a:pt x="475" y="353"/>
                    <a:pt x="475" y="353"/>
                    <a:pt x="475" y="353"/>
                  </a:cubicBezTo>
                  <a:cubicBezTo>
                    <a:pt x="535" y="331"/>
                    <a:pt x="535" y="331"/>
                    <a:pt x="535" y="331"/>
                  </a:cubicBezTo>
                  <a:cubicBezTo>
                    <a:pt x="543" y="328"/>
                    <a:pt x="543" y="328"/>
                    <a:pt x="543" y="328"/>
                  </a:cubicBezTo>
                  <a:cubicBezTo>
                    <a:pt x="551" y="325"/>
                    <a:pt x="551" y="325"/>
                    <a:pt x="551" y="325"/>
                  </a:cubicBezTo>
                  <a:cubicBezTo>
                    <a:pt x="606" y="305"/>
                    <a:pt x="606" y="305"/>
                    <a:pt x="606" y="305"/>
                  </a:cubicBezTo>
                  <a:cubicBezTo>
                    <a:pt x="564" y="332"/>
                    <a:pt x="564" y="332"/>
                    <a:pt x="564" y="332"/>
                  </a:cubicBezTo>
                  <a:cubicBezTo>
                    <a:pt x="558" y="336"/>
                    <a:pt x="558" y="336"/>
                    <a:pt x="558" y="336"/>
                  </a:cubicBezTo>
                  <a:cubicBezTo>
                    <a:pt x="552" y="340"/>
                    <a:pt x="552" y="340"/>
                    <a:pt x="552" y="340"/>
                  </a:cubicBezTo>
                  <a:cubicBezTo>
                    <a:pt x="500" y="372"/>
                    <a:pt x="500" y="372"/>
                    <a:pt x="500" y="372"/>
                  </a:cubicBezTo>
                  <a:cubicBezTo>
                    <a:pt x="495" y="376"/>
                    <a:pt x="495" y="376"/>
                    <a:pt x="495" y="376"/>
                  </a:cubicBezTo>
                  <a:cubicBezTo>
                    <a:pt x="489" y="379"/>
                    <a:pt x="489" y="379"/>
                    <a:pt x="489" y="379"/>
                  </a:cubicBezTo>
                  <a:cubicBezTo>
                    <a:pt x="474" y="389"/>
                    <a:pt x="474" y="389"/>
                    <a:pt x="474" y="389"/>
                  </a:cubicBezTo>
                  <a:cubicBezTo>
                    <a:pt x="468" y="392"/>
                    <a:pt x="468" y="392"/>
                    <a:pt x="468" y="392"/>
                  </a:cubicBezTo>
                  <a:cubicBezTo>
                    <a:pt x="462" y="396"/>
                    <a:pt x="462" y="396"/>
                    <a:pt x="462" y="396"/>
                  </a:cubicBezTo>
                  <a:cubicBezTo>
                    <a:pt x="440" y="410"/>
                    <a:pt x="440" y="410"/>
                    <a:pt x="440" y="410"/>
                  </a:cubicBezTo>
                  <a:cubicBezTo>
                    <a:pt x="432" y="415"/>
                    <a:pt x="432" y="415"/>
                    <a:pt x="432" y="415"/>
                  </a:cubicBezTo>
                  <a:cubicBezTo>
                    <a:pt x="416" y="426"/>
                    <a:pt x="416" y="426"/>
                    <a:pt x="416" y="426"/>
                  </a:cubicBezTo>
                  <a:cubicBezTo>
                    <a:pt x="413" y="427"/>
                    <a:pt x="413" y="427"/>
                    <a:pt x="413" y="427"/>
                  </a:cubicBezTo>
                  <a:cubicBezTo>
                    <a:pt x="410" y="429"/>
                    <a:pt x="410" y="429"/>
                    <a:pt x="410" y="429"/>
                  </a:cubicBezTo>
                  <a:cubicBezTo>
                    <a:pt x="406" y="432"/>
                    <a:pt x="406" y="432"/>
                    <a:pt x="406" y="432"/>
                  </a:cubicBezTo>
                  <a:cubicBezTo>
                    <a:pt x="404" y="433"/>
                    <a:pt x="404" y="433"/>
                    <a:pt x="404" y="433"/>
                  </a:cubicBezTo>
                  <a:cubicBezTo>
                    <a:pt x="387" y="444"/>
                    <a:pt x="387" y="444"/>
                    <a:pt x="387" y="444"/>
                  </a:cubicBezTo>
                  <a:cubicBezTo>
                    <a:pt x="386" y="444"/>
                    <a:pt x="386" y="444"/>
                    <a:pt x="386" y="444"/>
                  </a:cubicBezTo>
                  <a:cubicBezTo>
                    <a:pt x="379" y="449"/>
                    <a:pt x="379" y="449"/>
                    <a:pt x="379" y="449"/>
                  </a:cubicBezTo>
                  <a:cubicBezTo>
                    <a:pt x="379" y="449"/>
                    <a:pt x="379" y="449"/>
                    <a:pt x="379" y="449"/>
                  </a:cubicBezTo>
                  <a:cubicBezTo>
                    <a:pt x="379" y="449"/>
                    <a:pt x="379" y="449"/>
                    <a:pt x="379" y="449"/>
                  </a:cubicBezTo>
                  <a:cubicBezTo>
                    <a:pt x="374" y="452"/>
                    <a:pt x="374" y="452"/>
                    <a:pt x="374" y="452"/>
                  </a:cubicBezTo>
                  <a:cubicBezTo>
                    <a:pt x="368" y="456"/>
                    <a:pt x="368" y="456"/>
                    <a:pt x="368" y="456"/>
                  </a:cubicBezTo>
                  <a:cubicBezTo>
                    <a:pt x="362" y="460"/>
                    <a:pt x="362" y="460"/>
                    <a:pt x="362" y="460"/>
                  </a:cubicBezTo>
                  <a:cubicBezTo>
                    <a:pt x="359" y="462"/>
                    <a:pt x="359" y="462"/>
                    <a:pt x="359" y="462"/>
                  </a:cubicBezTo>
                  <a:cubicBezTo>
                    <a:pt x="354" y="465"/>
                    <a:pt x="354" y="465"/>
                    <a:pt x="354" y="465"/>
                  </a:cubicBezTo>
                  <a:cubicBezTo>
                    <a:pt x="352" y="466"/>
                    <a:pt x="352" y="466"/>
                    <a:pt x="352" y="466"/>
                  </a:cubicBezTo>
                  <a:cubicBezTo>
                    <a:pt x="352" y="466"/>
                    <a:pt x="352" y="466"/>
                    <a:pt x="352" y="466"/>
                  </a:cubicBezTo>
                  <a:cubicBezTo>
                    <a:pt x="346" y="470"/>
                    <a:pt x="346" y="470"/>
                    <a:pt x="346" y="470"/>
                  </a:cubicBezTo>
                  <a:cubicBezTo>
                    <a:pt x="326" y="459"/>
                    <a:pt x="326" y="459"/>
                    <a:pt x="326" y="459"/>
                  </a:cubicBezTo>
                  <a:cubicBezTo>
                    <a:pt x="319" y="456"/>
                    <a:pt x="319" y="456"/>
                    <a:pt x="319" y="456"/>
                  </a:cubicBezTo>
                  <a:cubicBezTo>
                    <a:pt x="312" y="452"/>
                    <a:pt x="312" y="452"/>
                    <a:pt x="312" y="452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59" y="423"/>
                    <a:pt x="259" y="423"/>
                    <a:pt x="259" y="423"/>
                  </a:cubicBezTo>
                  <a:cubicBezTo>
                    <a:pt x="257" y="422"/>
                    <a:pt x="257" y="422"/>
                    <a:pt x="257" y="422"/>
                  </a:cubicBezTo>
                  <a:cubicBezTo>
                    <a:pt x="251" y="419"/>
                    <a:pt x="251" y="419"/>
                    <a:pt x="251" y="419"/>
                  </a:cubicBezTo>
                  <a:cubicBezTo>
                    <a:pt x="245" y="415"/>
                    <a:pt x="245" y="415"/>
                    <a:pt x="245" y="415"/>
                  </a:cubicBezTo>
                  <a:cubicBezTo>
                    <a:pt x="232" y="408"/>
                    <a:pt x="232" y="408"/>
                    <a:pt x="232" y="408"/>
                  </a:cubicBezTo>
                  <a:cubicBezTo>
                    <a:pt x="198" y="390"/>
                    <a:pt x="198" y="390"/>
                    <a:pt x="198" y="390"/>
                  </a:cubicBezTo>
                  <a:cubicBezTo>
                    <a:pt x="192" y="387"/>
                    <a:pt x="192" y="387"/>
                    <a:pt x="192" y="387"/>
                  </a:cubicBezTo>
                  <a:cubicBezTo>
                    <a:pt x="186" y="383"/>
                    <a:pt x="186" y="383"/>
                    <a:pt x="186" y="383"/>
                  </a:cubicBezTo>
                  <a:cubicBezTo>
                    <a:pt x="109" y="341"/>
                    <a:pt x="109" y="341"/>
                    <a:pt x="109" y="341"/>
                  </a:cubicBezTo>
                  <a:cubicBezTo>
                    <a:pt x="102" y="338"/>
                    <a:pt x="102" y="338"/>
                    <a:pt x="102" y="338"/>
                  </a:cubicBezTo>
                  <a:cubicBezTo>
                    <a:pt x="95" y="334"/>
                    <a:pt x="95" y="334"/>
                    <a:pt x="95" y="334"/>
                  </a:cubicBezTo>
                  <a:cubicBezTo>
                    <a:pt x="77" y="324"/>
                    <a:pt x="77" y="324"/>
                    <a:pt x="77" y="324"/>
                  </a:cubicBezTo>
                  <a:cubicBezTo>
                    <a:pt x="71" y="321"/>
                    <a:pt x="71" y="321"/>
                    <a:pt x="71" y="321"/>
                  </a:cubicBezTo>
                  <a:cubicBezTo>
                    <a:pt x="65" y="318"/>
                    <a:pt x="65" y="318"/>
                    <a:pt x="65" y="318"/>
                  </a:cubicBezTo>
                  <a:lnTo>
                    <a:pt x="48" y="308"/>
                  </a:lnTo>
                  <a:close/>
                  <a:moveTo>
                    <a:pt x="27" y="366"/>
                  </a:moveTo>
                  <a:cubicBezTo>
                    <a:pt x="20" y="362"/>
                    <a:pt x="20" y="362"/>
                    <a:pt x="20" y="362"/>
                  </a:cubicBezTo>
                  <a:cubicBezTo>
                    <a:pt x="18" y="361"/>
                    <a:pt x="18" y="361"/>
                    <a:pt x="18" y="361"/>
                  </a:cubicBezTo>
                  <a:cubicBezTo>
                    <a:pt x="66" y="332"/>
                    <a:pt x="66" y="332"/>
                    <a:pt x="66" y="332"/>
                  </a:cubicBezTo>
                  <a:cubicBezTo>
                    <a:pt x="80" y="339"/>
                    <a:pt x="80" y="339"/>
                    <a:pt x="80" y="339"/>
                  </a:cubicBezTo>
                  <a:cubicBezTo>
                    <a:pt x="87" y="343"/>
                    <a:pt x="87" y="343"/>
                    <a:pt x="87" y="343"/>
                  </a:cubicBezTo>
                  <a:cubicBezTo>
                    <a:pt x="94" y="347"/>
                    <a:pt x="94" y="347"/>
                    <a:pt x="94" y="347"/>
                  </a:cubicBezTo>
                  <a:cubicBezTo>
                    <a:pt x="175" y="391"/>
                    <a:pt x="175" y="391"/>
                    <a:pt x="175" y="391"/>
                  </a:cubicBezTo>
                  <a:cubicBezTo>
                    <a:pt x="181" y="394"/>
                    <a:pt x="181" y="394"/>
                    <a:pt x="181" y="394"/>
                  </a:cubicBezTo>
                  <a:cubicBezTo>
                    <a:pt x="187" y="398"/>
                    <a:pt x="187" y="398"/>
                    <a:pt x="187" y="398"/>
                  </a:cubicBezTo>
                  <a:cubicBezTo>
                    <a:pt x="233" y="422"/>
                    <a:pt x="233" y="422"/>
                    <a:pt x="233" y="422"/>
                  </a:cubicBezTo>
                  <a:cubicBezTo>
                    <a:pt x="239" y="426"/>
                    <a:pt x="239" y="426"/>
                    <a:pt x="239" y="426"/>
                  </a:cubicBezTo>
                  <a:cubicBezTo>
                    <a:pt x="245" y="429"/>
                    <a:pt x="245" y="429"/>
                    <a:pt x="245" y="429"/>
                  </a:cubicBezTo>
                  <a:cubicBezTo>
                    <a:pt x="297" y="457"/>
                    <a:pt x="297" y="457"/>
                    <a:pt x="297" y="457"/>
                  </a:cubicBezTo>
                  <a:cubicBezTo>
                    <a:pt x="300" y="459"/>
                    <a:pt x="300" y="459"/>
                    <a:pt x="300" y="459"/>
                  </a:cubicBezTo>
                  <a:cubicBezTo>
                    <a:pt x="304" y="461"/>
                    <a:pt x="304" y="461"/>
                    <a:pt x="304" y="461"/>
                  </a:cubicBezTo>
                  <a:cubicBezTo>
                    <a:pt x="311" y="465"/>
                    <a:pt x="311" y="465"/>
                    <a:pt x="311" y="465"/>
                  </a:cubicBezTo>
                  <a:cubicBezTo>
                    <a:pt x="343" y="482"/>
                    <a:pt x="343" y="482"/>
                    <a:pt x="343" y="482"/>
                  </a:cubicBezTo>
                  <a:cubicBezTo>
                    <a:pt x="344" y="483"/>
                    <a:pt x="345" y="483"/>
                    <a:pt x="346" y="483"/>
                  </a:cubicBezTo>
                  <a:cubicBezTo>
                    <a:pt x="346" y="483"/>
                    <a:pt x="347" y="483"/>
                    <a:pt x="347" y="483"/>
                  </a:cubicBezTo>
                  <a:cubicBezTo>
                    <a:pt x="348" y="483"/>
                    <a:pt x="348" y="482"/>
                    <a:pt x="349" y="482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4" y="473"/>
                    <a:pt x="364" y="473"/>
                    <a:pt x="364" y="473"/>
                  </a:cubicBezTo>
                  <a:cubicBezTo>
                    <a:pt x="364" y="472"/>
                    <a:pt x="364" y="472"/>
                    <a:pt x="364" y="472"/>
                  </a:cubicBezTo>
                  <a:cubicBezTo>
                    <a:pt x="372" y="467"/>
                    <a:pt x="372" y="467"/>
                    <a:pt x="372" y="467"/>
                  </a:cubicBezTo>
                  <a:cubicBezTo>
                    <a:pt x="378" y="464"/>
                    <a:pt x="378" y="464"/>
                    <a:pt x="378" y="464"/>
                  </a:cubicBezTo>
                  <a:cubicBezTo>
                    <a:pt x="383" y="460"/>
                    <a:pt x="383" y="460"/>
                    <a:pt x="383" y="460"/>
                  </a:cubicBezTo>
                  <a:cubicBezTo>
                    <a:pt x="388" y="457"/>
                    <a:pt x="388" y="457"/>
                    <a:pt x="388" y="457"/>
                  </a:cubicBezTo>
                  <a:cubicBezTo>
                    <a:pt x="389" y="457"/>
                    <a:pt x="389" y="457"/>
                    <a:pt x="389" y="457"/>
                  </a:cubicBezTo>
                  <a:cubicBezTo>
                    <a:pt x="397" y="452"/>
                    <a:pt x="397" y="452"/>
                    <a:pt x="397" y="452"/>
                  </a:cubicBezTo>
                  <a:cubicBezTo>
                    <a:pt x="416" y="440"/>
                    <a:pt x="416" y="440"/>
                    <a:pt x="416" y="440"/>
                  </a:cubicBezTo>
                  <a:cubicBezTo>
                    <a:pt x="422" y="436"/>
                    <a:pt x="422" y="436"/>
                    <a:pt x="422" y="436"/>
                  </a:cubicBezTo>
                  <a:cubicBezTo>
                    <a:pt x="427" y="433"/>
                    <a:pt x="427" y="433"/>
                    <a:pt x="427" y="433"/>
                  </a:cubicBezTo>
                  <a:cubicBezTo>
                    <a:pt x="475" y="402"/>
                    <a:pt x="475" y="402"/>
                    <a:pt x="475" y="402"/>
                  </a:cubicBezTo>
                  <a:cubicBezTo>
                    <a:pt x="481" y="399"/>
                    <a:pt x="481" y="399"/>
                    <a:pt x="481" y="399"/>
                  </a:cubicBezTo>
                  <a:cubicBezTo>
                    <a:pt x="487" y="395"/>
                    <a:pt x="487" y="395"/>
                    <a:pt x="487" y="395"/>
                  </a:cubicBezTo>
                  <a:cubicBezTo>
                    <a:pt x="500" y="387"/>
                    <a:pt x="500" y="387"/>
                    <a:pt x="500" y="387"/>
                  </a:cubicBezTo>
                  <a:cubicBezTo>
                    <a:pt x="505" y="383"/>
                    <a:pt x="505" y="383"/>
                    <a:pt x="505" y="383"/>
                  </a:cubicBezTo>
                  <a:cubicBezTo>
                    <a:pt x="511" y="380"/>
                    <a:pt x="511" y="380"/>
                    <a:pt x="511" y="380"/>
                  </a:cubicBezTo>
                  <a:cubicBezTo>
                    <a:pt x="564" y="346"/>
                    <a:pt x="564" y="346"/>
                    <a:pt x="564" y="346"/>
                  </a:cubicBezTo>
                  <a:cubicBezTo>
                    <a:pt x="595" y="362"/>
                    <a:pt x="595" y="362"/>
                    <a:pt x="595" y="362"/>
                  </a:cubicBezTo>
                  <a:cubicBezTo>
                    <a:pt x="536" y="399"/>
                    <a:pt x="536" y="399"/>
                    <a:pt x="536" y="399"/>
                  </a:cubicBezTo>
                  <a:cubicBezTo>
                    <a:pt x="531" y="402"/>
                    <a:pt x="531" y="402"/>
                    <a:pt x="531" y="402"/>
                  </a:cubicBezTo>
                  <a:cubicBezTo>
                    <a:pt x="525" y="406"/>
                    <a:pt x="525" y="406"/>
                    <a:pt x="525" y="406"/>
                  </a:cubicBezTo>
                  <a:cubicBezTo>
                    <a:pt x="518" y="410"/>
                    <a:pt x="518" y="410"/>
                    <a:pt x="518" y="410"/>
                  </a:cubicBezTo>
                  <a:cubicBezTo>
                    <a:pt x="512" y="414"/>
                    <a:pt x="512" y="414"/>
                    <a:pt x="512" y="414"/>
                  </a:cubicBezTo>
                  <a:cubicBezTo>
                    <a:pt x="506" y="418"/>
                    <a:pt x="506" y="418"/>
                    <a:pt x="506" y="418"/>
                  </a:cubicBezTo>
                  <a:cubicBezTo>
                    <a:pt x="456" y="449"/>
                    <a:pt x="456" y="449"/>
                    <a:pt x="456" y="449"/>
                  </a:cubicBezTo>
                  <a:cubicBezTo>
                    <a:pt x="450" y="453"/>
                    <a:pt x="450" y="453"/>
                    <a:pt x="450" y="453"/>
                  </a:cubicBezTo>
                  <a:cubicBezTo>
                    <a:pt x="444" y="456"/>
                    <a:pt x="444" y="456"/>
                    <a:pt x="444" y="456"/>
                  </a:cubicBezTo>
                  <a:cubicBezTo>
                    <a:pt x="422" y="470"/>
                    <a:pt x="422" y="470"/>
                    <a:pt x="422" y="470"/>
                  </a:cubicBezTo>
                  <a:cubicBezTo>
                    <a:pt x="414" y="475"/>
                    <a:pt x="414" y="475"/>
                    <a:pt x="414" y="475"/>
                  </a:cubicBezTo>
                  <a:cubicBezTo>
                    <a:pt x="412" y="477"/>
                    <a:pt x="412" y="477"/>
                    <a:pt x="412" y="477"/>
                  </a:cubicBezTo>
                  <a:cubicBezTo>
                    <a:pt x="406" y="480"/>
                    <a:pt x="406" y="480"/>
                    <a:pt x="406" y="480"/>
                  </a:cubicBezTo>
                  <a:cubicBezTo>
                    <a:pt x="401" y="483"/>
                    <a:pt x="401" y="483"/>
                    <a:pt x="401" y="483"/>
                  </a:cubicBezTo>
                  <a:cubicBezTo>
                    <a:pt x="397" y="486"/>
                    <a:pt x="397" y="486"/>
                    <a:pt x="397" y="486"/>
                  </a:cubicBezTo>
                  <a:cubicBezTo>
                    <a:pt x="394" y="488"/>
                    <a:pt x="394" y="488"/>
                    <a:pt x="394" y="488"/>
                  </a:cubicBezTo>
                  <a:cubicBezTo>
                    <a:pt x="389" y="491"/>
                    <a:pt x="389" y="491"/>
                    <a:pt x="389" y="491"/>
                  </a:cubicBezTo>
                  <a:cubicBezTo>
                    <a:pt x="386" y="493"/>
                    <a:pt x="386" y="493"/>
                    <a:pt x="386" y="493"/>
                  </a:cubicBezTo>
                  <a:cubicBezTo>
                    <a:pt x="372" y="501"/>
                    <a:pt x="372" y="501"/>
                    <a:pt x="372" y="501"/>
                  </a:cubicBezTo>
                  <a:cubicBezTo>
                    <a:pt x="367" y="505"/>
                    <a:pt x="367" y="505"/>
                    <a:pt x="367" y="505"/>
                  </a:cubicBezTo>
                  <a:cubicBezTo>
                    <a:pt x="364" y="507"/>
                    <a:pt x="364" y="507"/>
                    <a:pt x="364" y="507"/>
                  </a:cubicBezTo>
                  <a:cubicBezTo>
                    <a:pt x="358" y="510"/>
                    <a:pt x="358" y="510"/>
                    <a:pt x="358" y="510"/>
                  </a:cubicBezTo>
                  <a:cubicBezTo>
                    <a:pt x="358" y="510"/>
                    <a:pt x="358" y="510"/>
                    <a:pt x="358" y="510"/>
                  </a:cubicBezTo>
                  <a:cubicBezTo>
                    <a:pt x="352" y="514"/>
                    <a:pt x="352" y="514"/>
                    <a:pt x="352" y="514"/>
                  </a:cubicBezTo>
                  <a:cubicBezTo>
                    <a:pt x="347" y="517"/>
                    <a:pt x="347" y="517"/>
                    <a:pt x="347" y="517"/>
                  </a:cubicBezTo>
                  <a:cubicBezTo>
                    <a:pt x="346" y="518"/>
                    <a:pt x="346" y="518"/>
                    <a:pt x="346" y="518"/>
                  </a:cubicBezTo>
                  <a:cubicBezTo>
                    <a:pt x="340" y="522"/>
                    <a:pt x="340" y="522"/>
                    <a:pt x="340" y="522"/>
                  </a:cubicBezTo>
                  <a:cubicBezTo>
                    <a:pt x="339" y="522"/>
                    <a:pt x="339" y="522"/>
                    <a:pt x="339" y="522"/>
                  </a:cubicBezTo>
                  <a:cubicBezTo>
                    <a:pt x="332" y="527"/>
                    <a:pt x="332" y="527"/>
                    <a:pt x="332" y="527"/>
                  </a:cubicBezTo>
                  <a:cubicBezTo>
                    <a:pt x="312" y="516"/>
                    <a:pt x="312" y="516"/>
                    <a:pt x="312" y="516"/>
                  </a:cubicBezTo>
                  <a:cubicBezTo>
                    <a:pt x="306" y="513"/>
                    <a:pt x="306" y="513"/>
                    <a:pt x="306" y="513"/>
                  </a:cubicBezTo>
                  <a:cubicBezTo>
                    <a:pt x="300" y="510"/>
                    <a:pt x="300" y="510"/>
                    <a:pt x="300" y="510"/>
                  </a:cubicBezTo>
                  <a:cubicBezTo>
                    <a:pt x="270" y="494"/>
                    <a:pt x="270" y="494"/>
                    <a:pt x="270" y="494"/>
                  </a:cubicBezTo>
                  <a:cubicBezTo>
                    <a:pt x="254" y="486"/>
                    <a:pt x="254" y="486"/>
                    <a:pt x="254" y="486"/>
                  </a:cubicBezTo>
                  <a:cubicBezTo>
                    <a:pt x="247" y="482"/>
                    <a:pt x="247" y="482"/>
                    <a:pt x="247" y="482"/>
                  </a:cubicBezTo>
                  <a:cubicBezTo>
                    <a:pt x="244" y="480"/>
                    <a:pt x="244" y="480"/>
                    <a:pt x="244" y="480"/>
                  </a:cubicBezTo>
                  <a:cubicBezTo>
                    <a:pt x="240" y="478"/>
                    <a:pt x="240" y="478"/>
                    <a:pt x="240" y="478"/>
                  </a:cubicBezTo>
                  <a:cubicBezTo>
                    <a:pt x="219" y="467"/>
                    <a:pt x="219" y="467"/>
                    <a:pt x="21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86" y="450"/>
                    <a:pt x="186" y="450"/>
                    <a:pt x="186" y="450"/>
                  </a:cubicBezTo>
                  <a:cubicBezTo>
                    <a:pt x="144" y="427"/>
                    <a:pt x="144" y="427"/>
                    <a:pt x="144" y="427"/>
                  </a:cubicBezTo>
                  <a:cubicBezTo>
                    <a:pt x="138" y="424"/>
                    <a:pt x="138" y="424"/>
                    <a:pt x="138" y="424"/>
                  </a:cubicBezTo>
                  <a:cubicBezTo>
                    <a:pt x="132" y="421"/>
                    <a:pt x="132" y="421"/>
                    <a:pt x="132" y="421"/>
                  </a:cubicBezTo>
                  <a:cubicBezTo>
                    <a:pt x="34" y="370"/>
                    <a:pt x="34" y="370"/>
                    <a:pt x="34" y="370"/>
                  </a:cubicBezTo>
                  <a:lnTo>
                    <a:pt x="27" y="366"/>
                  </a:lnTo>
                  <a:close/>
                  <a:moveTo>
                    <a:pt x="87" y="411"/>
                  </a:moveTo>
                  <a:cubicBezTo>
                    <a:pt x="120" y="429"/>
                    <a:pt x="120" y="429"/>
                    <a:pt x="120" y="429"/>
                  </a:cubicBezTo>
                  <a:cubicBezTo>
                    <a:pt x="126" y="432"/>
                    <a:pt x="126" y="432"/>
                    <a:pt x="126" y="432"/>
                  </a:cubicBezTo>
                  <a:cubicBezTo>
                    <a:pt x="132" y="435"/>
                    <a:pt x="132" y="435"/>
                    <a:pt x="132" y="435"/>
                  </a:cubicBezTo>
                  <a:cubicBezTo>
                    <a:pt x="174" y="457"/>
                    <a:pt x="174" y="457"/>
                    <a:pt x="174" y="457"/>
                  </a:cubicBezTo>
                  <a:cubicBezTo>
                    <a:pt x="180" y="460"/>
                    <a:pt x="180" y="460"/>
                    <a:pt x="180" y="460"/>
                  </a:cubicBezTo>
                  <a:cubicBezTo>
                    <a:pt x="186" y="463"/>
                    <a:pt x="186" y="463"/>
                    <a:pt x="186" y="463"/>
                  </a:cubicBezTo>
                  <a:cubicBezTo>
                    <a:pt x="224" y="484"/>
                    <a:pt x="224" y="484"/>
                    <a:pt x="224" y="484"/>
                  </a:cubicBezTo>
                  <a:cubicBezTo>
                    <a:pt x="232" y="487"/>
                    <a:pt x="232" y="487"/>
                    <a:pt x="232" y="487"/>
                  </a:cubicBezTo>
                  <a:cubicBezTo>
                    <a:pt x="239" y="491"/>
                    <a:pt x="239" y="491"/>
                    <a:pt x="239" y="491"/>
                  </a:cubicBezTo>
                  <a:cubicBezTo>
                    <a:pt x="252" y="498"/>
                    <a:pt x="252" y="498"/>
                    <a:pt x="252" y="498"/>
                  </a:cubicBezTo>
                  <a:cubicBezTo>
                    <a:pt x="281" y="514"/>
                    <a:pt x="281" y="514"/>
                    <a:pt x="281" y="514"/>
                  </a:cubicBezTo>
                  <a:cubicBezTo>
                    <a:pt x="287" y="518"/>
                    <a:pt x="287" y="518"/>
                    <a:pt x="287" y="518"/>
                  </a:cubicBezTo>
                  <a:cubicBezTo>
                    <a:pt x="290" y="520"/>
                    <a:pt x="290" y="520"/>
                    <a:pt x="290" y="520"/>
                  </a:cubicBezTo>
                  <a:cubicBezTo>
                    <a:pt x="292" y="522"/>
                    <a:pt x="292" y="522"/>
                    <a:pt x="292" y="522"/>
                  </a:cubicBezTo>
                  <a:cubicBezTo>
                    <a:pt x="297" y="526"/>
                    <a:pt x="297" y="526"/>
                    <a:pt x="297" y="526"/>
                  </a:cubicBezTo>
                  <a:cubicBezTo>
                    <a:pt x="316" y="539"/>
                    <a:pt x="316" y="539"/>
                    <a:pt x="316" y="539"/>
                  </a:cubicBezTo>
                  <a:cubicBezTo>
                    <a:pt x="318" y="541"/>
                    <a:pt x="323" y="542"/>
                    <a:pt x="325" y="541"/>
                  </a:cubicBezTo>
                  <a:cubicBezTo>
                    <a:pt x="325" y="541"/>
                    <a:pt x="325" y="541"/>
                    <a:pt x="325" y="541"/>
                  </a:cubicBezTo>
                  <a:cubicBezTo>
                    <a:pt x="327" y="540"/>
                    <a:pt x="328" y="539"/>
                    <a:pt x="327" y="538"/>
                  </a:cubicBezTo>
                  <a:cubicBezTo>
                    <a:pt x="329" y="539"/>
                    <a:pt x="329" y="539"/>
                    <a:pt x="329" y="539"/>
                  </a:cubicBezTo>
                  <a:cubicBezTo>
                    <a:pt x="330" y="539"/>
                    <a:pt x="331" y="540"/>
                    <a:pt x="332" y="540"/>
                  </a:cubicBezTo>
                  <a:cubicBezTo>
                    <a:pt x="333" y="540"/>
                    <a:pt x="334" y="539"/>
                    <a:pt x="335" y="539"/>
                  </a:cubicBezTo>
                  <a:cubicBezTo>
                    <a:pt x="338" y="537"/>
                    <a:pt x="338" y="537"/>
                    <a:pt x="338" y="537"/>
                  </a:cubicBezTo>
                  <a:cubicBezTo>
                    <a:pt x="344" y="533"/>
                    <a:pt x="344" y="533"/>
                    <a:pt x="344" y="533"/>
                  </a:cubicBezTo>
                  <a:cubicBezTo>
                    <a:pt x="350" y="529"/>
                    <a:pt x="350" y="529"/>
                    <a:pt x="350" y="529"/>
                  </a:cubicBezTo>
                  <a:cubicBezTo>
                    <a:pt x="352" y="530"/>
                    <a:pt x="354" y="530"/>
                    <a:pt x="355" y="529"/>
                  </a:cubicBezTo>
                  <a:cubicBezTo>
                    <a:pt x="356" y="529"/>
                    <a:pt x="356" y="529"/>
                    <a:pt x="356" y="529"/>
                  </a:cubicBezTo>
                  <a:cubicBezTo>
                    <a:pt x="358" y="528"/>
                    <a:pt x="358" y="527"/>
                    <a:pt x="357" y="525"/>
                  </a:cubicBezTo>
                  <a:cubicBezTo>
                    <a:pt x="358" y="524"/>
                    <a:pt x="358" y="524"/>
                    <a:pt x="358" y="524"/>
                  </a:cubicBezTo>
                  <a:cubicBezTo>
                    <a:pt x="364" y="521"/>
                    <a:pt x="364" y="521"/>
                    <a:pt x="364" y="521"/>
                  </a:cubicBezTo>
                  <a:cubicBezTo>
                    <a:pt x="370" y="517"/>
                    <a:pt x="370" y="517"/>
                    <a:pt x="370" y="517"/>
                  </a:cubicBezTo>
                  <a:cubicBezTo>
                    <a:pt x="371" y="516"/>
                    <a:pt x="371" y="516"/>
                    <a:pt x="371" y="516"/>
                  </a:cubicBezTo>
                  <a:cubicBezTo>
                    <a:pt x="375" y="514"/>
                    <a:pt x="375" y="514"/>
                    <a:pt x="375" y="514"/>
                  </a:cubicBezTo>
                  <a:cubicBezTo>
                    <a:pt x="377" y="516"/>
                    <a:pt x="377" y="516"/>
                    <a:pt x="377" y="516"/>
                  </a:cubicBezTo>
                  <a:cubicBezTo>
                    <a:pt x="379" y="518"/>
                    <a:pt x="384" y="519"/>
                    <a:pt x="386" y="518"/>
                  </a:cubicBezTo>
                  <a:cubicBezTo>
                    <a:pt x="388" y="517"/>
                    <a:pt x="388" y="516"/>
                    <a:pt x="388" y="515"/>
                  </a:cubicBezTo>
                  <a:cubicBezTo>
                    <a:pt x="389" y="514"/>
                    <a:pt x="388" y="513"/>
                    <a:pt x="387" y="512"/>
                  </a:cubicBezTo>
                  <a:cubicBezTo>
                    <a:pt x="383" y="509"/>
                    <a:pt x="383" y="509"/>
                    <a:pt x="383" y="509"/>
                  </a:cubicBezTo>
                  <a:cubicBezTo>
                    <a:pt x="398" y="499"/>
                    <a:pt x="398" y="499"/>
                    <a:pt x="398" y="499"/>
                  </a:cubicBezTo>
                  <a:cubicBezTo>
                    <a:pt x="400" y="499"/>
                    <a:pt x="400" y="499"/>
                    <a:pt x="400" y="499"/>
                  </a:cubicBezTo>
                  <a:cubicBezTo>
                    <a:pt x="406" y="503"/>
                    <a:pt x="406" y="503"/>
                    <a:pt x="406" y="503"/>
                  </a:cubicBezTo>
                  <a:cubicBezTo>
                    <a:pt x="407" y="504"/>
                    <a:pt x="407" y="504"/>
                    <a:pt x="407" y="504"/>
                  </a:cubicBezTo>
                  <a:cubicBezTo>
                    <a:pt x="408" y="505"/>
                    <a:pt x="410" y="506"/>
                    <a:pt x="412" y="506"/>
                  </a:cubicBezTo>
                  <a:cubicBezTo>
                    <a:pt x="414" y="507"/>
                    <a:pt x="416" y="506"/>
                    <a:pt x="417" y="506"/>
                  </a:cubicBezTo>
                  <a:cubicBezTo>
                    <a:pt x="420" y="505"/>
                    <a:pt x="420" y="502"/>
                    <a:pt x="417" y="501"/>
                  </a:cubicBezTo>
                  <a:cubicBezTo>
                    <a:pt x="411" y="496"/>
                    <a:pt x="411" y="496"/>
                    <a:pt x="411" y="496"/>
                  </a:cubicBezTo>
                  <a:cubicBezTo>
                    <a:pt x="408" y="493"/>
                    <a:pt x="408" y="493"/>
                    <a:pt x="408" y="493"/>
                  </a:cubicBezTo>
                  <a:cubicBezTo>
                    <a:pt x="411" y="492"/>
                    <a:pt x="411" y="492"/>
                    <a:pt x="411" y="492"/>
                  </a:cubicBezTo>
                  <a:cubicBezTo>
                    <a:pt x="416" y="488"/>
                    <a:pt x="416" y="488"/>
                    <a:pt x="416" y="488"/>
                  </a:cubicBezTo>
                  <a:cubicBezTo>
                    <a:pt x="421" y="485"/>
                    <a:pt x="421" y="485"/>
                    <a:pt x="421" y="485"/>
                  </a:cubicBezTo>
                  <a:cubicBezTo>
                    <a:pt x="425" y="483"/>
                    <a:pt x="425" y="483"/>
                    <a:pt x="425" y="483"/>
                  </a:cubicBezTo>
                  <a:cubicBezTo>
                    <a:pt x="438" y="493"/>
                    <a:pt x="438" y="493"/>
                    <a:pt x="438" y="493"/>
                  </a:cubicBezTo>
                  <a:cubicBezTo>
                    <a:pt x="440" y="495"/>
                    <a:pt x="445" y="495"/>
                    <a:pt x="447" y="494"/>
                  </a:cubicBezTo>
                  <a:cubicBezTo>
                    <a:pt x="450" y="493"/>
                    <a:pt x="450" y="491"/>
                    <a:pt x="448" y="489"/>
                  </a:cubicBezTo>
                  <a:cubicBezTo>
                    <a:pt x="433" y="478"/>
                    <a:pt x="433" y="478"/>
                    <a:pt x="433" y="478"/>
                  </a:cubicBezTo>
                  <a:cubicBezTo>
                    <a:pt x="456" y="463"/>
                    <a:pt x="456" y="463"/>
                    <a:pt x="456" y="463"/>
                  </a:cubicBezTo>
                  <a:cubicBezTo>
                    <a:pt x="462" y="460"/>
                    <a:pt x="462" y="460"/>
                    <a:pt x="462" y="460"/>
                  </a:cubicBezTo>
                  <a:cubicBezTo>
                    <a:pt x="468" y="456"/>
                    <a:pt x="468" y="456"/>
                    <a:pt x="468" y="456"/>
                  </a:cubicBezTo>
                  <a:cubicBezTo>
                    <a:pt x="519" y="424"/>
                    <a:pt x="519" y="424"/>
                    <a:pt x="519" y="424"/>
                  </a:cubicBezTo>
                  <a:cubicBezTo>
                    <a:pt x="525" y="420"/>
                    <a:pt x="525" y="420"/>
                    <a:pt x="525" y="420"/>
                  </a:cubicBezTo>
                  <a:cubicBezTo>
                    <a:pt x="531" y="417"/>
                    <a:pt x="531" y="417"/>
                    <a:pt x="531" y="417"/>
                  </a:cubicBezTo>
                  <a:cubicBezTo>
                    <a:pt x="536" y="413"/>
                    <a:pt x="536" y="413"/>
                    <a:pt x="536" y="413"/>
                  </a:cubicBezTo>
                  <a:cubicBezTo>
                    <a:pt x="559" y="431"/>
                    <a:pt x="559" y="431"/>
                    <a:pt x="559" y="431"/>
                  </a:cubicBezTo>
                  <a:cubicBezTo>
                    <a:pt x="587" y="451"/>
                    <a:pt x="587" y="451"/>
                    <a:pt x="587" y="451"/>
                  </a:cubicBezTo>
                  <a:cubicBezTo>
                    <a:pt x="614" y="472"/>
                    <a:pt x="614" y="472"/>
                    <a:pt x="614" y="472"/>
                  </a:cubicBezTo>
                  <a:cubicBezTo>
                    <a:pt x="614" y="472"/>
                    <a:pt x="614" y="472"/>
                    <a:pt x="614" y="472"/>
                  </a:cubicBezTo>
                  <a:cubicBezTo>
                    <a:pt x="542" y="499"/>
                    <a:pt x="542" y="499"/>
                    <a:pt x="542" y="499"/>
                  </a:cubicBezTo>
                  <a:cubicBezTo>
                    <a:pt x="535" y="502"/>
                    <a:pt x="535" y="502"/>
                    <a:pt x="535" y="502"/>
                  </a:cubicBezTo>
                  <a:cubicBezTo>
                    <a:pt x="528" y="504"/>
                    <a:pt x="528" y="504"/>
                    <a:pt x="528" y="504"/>
                  </a:cubicBezTo>
                  <a:cubicBezTo>
                    <a:pt x="471" y="526"/>
                    <a:pt x="471" y="526"/>
                    <a:pt x="471" y="526"/>
                  </a:cubicBezTo>
                  <a:cubicBezTo>
                    <a:pt x="470" y="526"/>
                    <a:pt x="470" y="526"/>
                    <a:pt x="470" y="526"/>
                  </a:cubicBezTo>
                  <a:cubicBezTo>
                    <a:pt x="464" y="529"/>
                    <a:pt x="464" y="529"/>
                    <a:pt x="464" y="529"/>
                  </a:cubicBezTo>
                  <a:cubicBezTo>
                    <a:pt x="460" y="530"/>
                    <a:pt x="460" y="530"/>
                    <a:pt x="460" y="530"/>
                  </a:cubicBezTo>
                  <a:cubicBezTo>
                    <a:pt x="457" y="531"/>
                    <a:pt x="457" y="531"/>
                    <a:pt x="457" y="531"/>
                  </a:cubicBezTo>
                  <a:cubicBezTo>
                    <a:pt x="436" y="539"/>
                    <a:pt x="436" y="539"/>
                    <a:pt x="436" y="539"/>
                  </a:cubicBezTo>
                  <a:cubicBezTo>
                    <a:pt x="425" y="543"/>
                    <a:pt x="425" y="543"/>
                    <a:pt x="425" y="543"/>
                  </a:cubicBezTo>
                  <a:cubicBezTo>
                    <a:pt x="421" y="545"/>
                    <a:pt x="421" y="545"/>
                    <a:pt x="421" y="545"/>
                  </a:cubicBezTo>
                  <a:cubicBezTo>
                    <a:pt x="414" y="547"/>
                    <a:pt x="414" y="547"/>
                    <a:pt x="414" y="547"/>
                  </a:cubicBezTo>
                  <a:cubicBezTo>
                    <a:pt x="406" y="550"/>
                    <a:pt x="406" y="550"/>
                    <a:pt x="406" y="550"/>
                  </a:cubicBezTo>
                  <a:cubicBezTo>
                    <a:pt x="402" y="552"/>
                    <a:pt x="402" y="552"/>
                    <a:pt x="402" y="552"/>
                  </a:cubicBezTo>
                  <a:cubicBezTo>
                    <a:pt x="390" y="556"/>
                    <a:pt x="390" y="556"/>
                    <a:pt x="390" y="556"/>
                  </a:cubicBezTo>
                  <a:cubicBezTo>
                    <a:pt x="379" y="560"/>
                    <a:pt x="379" y="560"/>
                    <a:pt x="379" y="560"/>
                  </a:cubicBezTo>
                  <a:cubicBezTo>
                    <a:pt x="368" y="565"/>
                    <a:pt x="368" y="565"/>
                    <a:pt x="368" y="565"/>
                  </a:cubicBezTo>
                  <a:cubicBezTo>
                    <a:pt x="367" y="565"/>
                    <a:pt x="367" y="565"/>
                    <a:pt x="367" y="565"/>
                  </a:cubicBezTo>
                  <a:cubicBezTo>
                    <a:pt x="355" y="570"/>
                    <a:pt x="355" y="570"/>
                    <a:pt x="355" y="570"/>
                  </a:cubicBezTo>
                  <a:cubicBezTo>
                    <a:pt x="343" y="574"/>
                    <a:pt x="343" y="574"/>
                    <a:pt x="343" y="574"/>
                  </a:cubicBezTo>
                  <a:cubicBezTo>
                    <a:pt x="332" y="578"/>
                    <a:pt x="332" y="578"/>
                    <a:pt x="332" y="578"/>
                  </a:cubicBezTo>
                  <a:cubicBezTo>
                    <a:pt x="332" y="579"/>
                    <a:pt x="332" y="579"/>
                    <a:pt x="332" y="579"/>
                  </a:cubicBezTo>
                  <a:cubicBezTo>
                    <a:pt x="330" y="579"/>
                    <a:pt x="330" y="579"/>
                    <a:pt x="330" y="579"/>
                  </a:cubicBezTo>
                  <a:cubicBezTo>
                    <a:pt x="326" y="581"/>
                    <a:pt x="326" y="581"/>
                    <a:pt x="326" y="581"/>
                  </a:cubicBezTo>
                  <a:cubicBezTo>
                    <a:pt x="322" y="582"/>
                    <a:pt x="322" y="582"/>
                    <a:pt x="322" y="582"/>
                  </a:cubicBezTo>
                  <a:cubicBezTo>
                    <a:pt x="321" y="583"/>
                    <a:pt x="321" y="583"/>
                    <a:pt x="321" y="583"/>
                  </a:cubicBezTo>
                  <a:cubicBezTo>
                    <a:pt x="319" y="583"/>
                    <a:pt x="319" y="583"/>
                    <a:pt x="319" y="583"/>
                  </a:cubicBezTo>
                  <a:cubicBezTo>
                    <a:pt x="311" y="578"/>
                    <a:pt x="311" y="578"/>
                    <a:pt x="311" y="578"/>
                  </a:cubicBezTo>
                  <a:cubicBezTo>
                    <a:pt x="303" y="572"/>
                    <a:pt x="303" y="572"/>
                    <a:pt x="303" y="572"/>
                  </a:cubicBezTo>
                  <a:cubicBezTo>
                    <a:pt x="283" y="557"/>
                    <a:pt x="283" y="557"/>
                    <a:pt x="283" y="557"/>
                  </a:cubicBezTo>
                  <a:cubicBezTo>
                    <a:pt x="282" y="556"/>
                    <a:pt x="282" y="556"/>
                    <a:pt x="282" y="556"/>
                  </a:cubicBezTo>
                  <a:cubicBezTo>
                    <a:pt x="271" y="548"/>
                    <a:pt x="271" y="548"/>
                    <a:pt x="271" y="548"/>
                  </a:cubicBezTo>
                  <a:cubicBezTo>
                    <a:pt x="267" y="545"/>
                    <a:pt x="267" y="545"/>
                    <a:pt x="267" y="545"/>
                  </a:cubicBezTo>
                  <a:cubicBezTo>
                    <a:pt x="262" y="541"/>
                    <a:pt x="262" y="541"/>
                    <a:pt x="262" y="541"/>
                  </a:cubicBezTo>
                  <a:cubicBezTo>
                    <a:pt x="256" y="537"/>
                    <a:pt x="256" y="537"/>
                    <a:pt x="256" y="53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3" y="498"/>
                    <a:pt x="203" y="498"/>
                    <a:pt x="203" y="498"/>
                  </a:cubicBezTo>
                  <a:cubicBezTo>
                    <a:pt x="198" y="493"/>
                    <a:pt x="198" y="493"/>
                    <a:pt x="198" y="493"/>
                  </a:cubicBezTo>
                  <a:cubicBezTo>
                    <a:pt x="170" y="473"/>
                    <a:pt x="170" y="473"/>
                    <a:pt x="170" y="473"/>
                  </a:cubicBezTo>
                  <a:cubicBezTo>
                    <a:pt x="165" y="469"/>
                    <a:pt x="165" y="469"/>
                    <a:pt x="165" y="469"/>
                  </a:cubicBezTo>
                  <a:cubicBezTo>
                    <a:pt x="159" y="465"/>
                    <a:pt x="159" y="465"/>
                    <a:pt x="159" y="465"/>
                  </a:cubicBezTo>
                  <a:cubicBezTo>
                    <a:pt x="125" y="440"/>
                    <a:pt x="125" y="440"/>
                    <a:pt x="125" y="440"/>
                  </a:cubicBezTo>
                  <a:cubicBezTo>
                    <a:pt x="120" y="436"/>
                    <a:pt x="120" y="436"/>
                    <a:pt x="120" y="436"/>
                  </a:cubicBezTo>
                  <a:cubicBezTo>
                    <a:pt x="115" y="432"/>
                    <a:pt x="115" y="432"/>
                    <a:pt x="115" y="432"/>
                  </a:cubicBezTo>
                  <a:lnTo>
                    <a:pt x="87" y="411"/>
                  </a:lnTo>
                  <a:close/>
                  <a:moveTo>
                    <a:pt x="55" y="488"/>
                  </a:moveTo>
                  <a:cubicBezTo>
                    <a:pt x="115" y="447"/>
                    <a:pt x="115" y="447"/>
                    <a:pt x="115" y="447"/>
                  </a:cubicBezTo>
                  <a:cubicBezTo>
                    <a:pt x="148" y="472"/>
                    <a:pt x="148" y="472"/>
                    <a:pt x="148" y="472"/>
                  </a:cubicBezTo>
                  <a:cubicBezTo>
                    <a:pt x="153" y="476"/>
                    <a:pt x="153" y="476"/>
                    <a:pt x="153" y="476"/>
                  </a:cubicBezTo>
                  <a:cubicBezTo>
                    <a:pt x="159" y="479"/>
                    <a:pt x="159" y="479"/>
                    <a:pt x="159" y="479"/>
                  </a:cubicBezTo>
                  <a:cubicBezTo>
                    <a:pt x="184" y="498"/>
                    <a:pt x="184" y="498"/>
                    <a:pt x="184" y="498"/>
                  </a:cubicBezTo>
                  <a:cubicBezTo>
                    <a:pt x="190" y="503"/>
                    <a:pt x="190" y="503"/>
                    <a:pt x="190" y="503"/>
                  </a:cubicBezTo>
                  <a:cubicBezTo>
                    <a:pt x="196" y="507"/>
                    <a:pt x="196" y="507"/>
                    <a:pt x="196" y="507"/>
                  </a:cubicBezTo>
                  <a:cubicBezTo>
                    <a:pt x="211" y="518"/>
                    <a:pt x="211" y="518"/>
                    <a:pt x="211" y="518"/>
                  </a:cubicBezTo>
                  <a:cubicBezTo>
                    <a:pt x="191" y="508"/>
                    <a:pt x="191" y="508"/>
                    <a:pt x="191" y="508"/>
                  </a:cubicBezTo>
                  <a:cubicBezTo>
                    <a:pt x="184" y="505"/>
                    <a:pt x="184" y="505"/>
                    <a:pt x="184" y="505"/>
                  </a:cubicBezTo>
                  <a:cubicBezTo>
                    <a:pt x="176" y="501"/>
                    <a:pt x="176" y="501"/>
                    <a:pt x="176" y="501"/>
                  </a:cubicBezTo>
                  <a:cubicBezTo>
                    <a:pt x="163" y="495"/>
                    <a:pt x="163" y="495"/>
                    <a:pt x="163" y="495"/>
                  </a:cubicBezTo>
                  <a:cubicBezTo>
                    <a:pt x="160" y="493"/>
                    <a:pt x="156" y="493"/>
                    <a:pt x="154" y="495"/>
                  </a:cubicBezTo>
                  <a:cubicBezTo>
                    <a:pt x="152" y="496"/>
                    <a:pt x="152" y="499"/>
                    <a:pt x="155" y="500"/>
                  </a:cubicBezTo>
                  <a:cubicBezTo>
                    <a:pt x="165" y="505"/>
                    <a:pt x="165" y="505"/>
                    <a:pt x="165" y="505"/>
                  </a:cubicBezTo>
                  <a:cubicBezTo>
                    <a:pt x="172" y="509"/>
                    <a:pt x="172" y="509"/>
                    <a:pt x="172" y="509"/>
                  </a:cubicBezTo>
                  <a:cubicBezTo>
                    <a:pt x="180" y="513"/>
                    <a:pt x="180" y="513"/>
                    <a:pt x="180" y="513"/>
                  </a:cubicBezTo>
                  <a:cubicBezTo>
                    <a:pt x="244" y="545"/>
                    <a:pt x="244" y="545"/>
                    <a:pt x="244" y="545"/>
                  </a:cubicBezTo>
                  <a:cubicBezTo>
                    <a:pt x="251" y="548"/>
                    <a:pt x="251" y="548"/>
                    <a:pt x="251" y="548"/>
                  </a:cubicBezTo>
                  <a:cubicBezTo>
                    <a:pt x="251" y="548"/>
                    <a:pt x="251" y="548"/>
                    <a:pt x="251" y="548"/>
                  </a:cubicBezTo>
                  <a:cubicBezTo>
                    <a:pt x="256" y="552"/>
                    <a:pt x="256" y="552"/>
                    <a:pt x="256" y="552"/>
                  </a:cubicBezTo>
                  <a:cubicBezTo>
                    <a:pt x="272" y="563"/>
                    <a:pt x="272" y="563"/>
                    <a:pt x="272" y="563"/>
                  </a:cubicBezTo>
                  <a:cubicBezTo>
                    <a:pt x="277" y="567"/>
                    <a:pt x="277" y="567"/>
                    <a:pt x="277" y="567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93" y="579"/>
                    <a:pt x="293" y="579"/>
                    <a:pt x="293" y="579"/>
                  </a:cubicBezTo>
                  <a:cubicBezTo>
                    <a:pt x="314" y="595"/>
                    <a:pt x="314" y="595"/>
                    <a:pt x="314" y="595"/>
                  </a:cubicBezTo>
                  <a:cubicBezTo>
                    <a:pt x="315" y="596"/>
                    <a:pt x="316" y="596"/>
                    <a:pt x="318" y="596"/>
                  </a:cubicBezTo>
                  <a:cubicBezTo>
                    <a:pt x="318" y="596"/>
                    <a:pt x="319" y="596"/>
                    <a:pt x="320" y="596"/>
                  </a:cubicBezTo>
                  <a:cubicBezTo>
                    <a:pt x="321" y="595"/>
                    <a:pt x="321" y="595"/>
                    <a:pt x="321" y="595"/>
                  </a:cubicBezTo>
                  <a:cubicBezTo>
                    <a:pt x="326" y="593"/>
                    <a:pt x="326" y="593"/>
                    <a:pt x="326" y="593"/>
                  </a:cubicBezTo>
                  <a:cubicBezTo>
                    <a:pt x="329" y="592"/>
                    <a:pt x="329" y="592"/>
                    <a:pt x="329" y="592"/>
                  </a:cubicBezTo>
                  <a:cubicBezTo>
                    <a:pt x="335" y="590"/>
                    <a:pt x="335" y="590"/>
                    <a:pt x="335" y="590"/>
                  </a:cubicBezTo>
                  <a:cubicBezTo>
                    <a:pt x="340" y="592"/>
                    <a:pt x="340" y="592"/>
                    <a:pt x="340" y="592"/>
                  </a:cubicBezTo>
                  <a:cubicBezTo>
                    <a:pt x="362" y="603"/>
                    <a:pt x="362" y="603"/>
                    <a:pt x="362" y="603"/>
                  </a:cubicBezTo>
                  <a:cubicBezTo>
                    <a:pt x="363" y="604"/>
                    <a:pt x="364" y="604"/>
                    <a:pt x="364" y="604"/>
                  </a:cubicBezTo>
                  <a:cubicBezTo>
                    <a:pt x="367" y="605"/>
                    <a:pt x="370" y="604"/>
                    <a:pt x="372" y="603"/>
                  </a:cubicBezTo>
                  <a:cubicBezTo>
                    <a:pt x="372" y="603"/>
                    <a:pt x="372" y="602"/>
                    <a:pt x="373" y="602"/>
                  </a:cubicBezTo>
                  <a:cubicBezTo>
                    <a:pt x="373" y="602"/>
                    <a:pt x="373" y="602"/>
                    <a:pt x="373" y="602"/>
                  </a:cubicBezTo>
                  <a:cubicBezTo>
                    <a:pt x="373" y="600"/>
                    <a:pt x="373" y="599"/>
                    <a:pt x="370" y="598"/>
                  </a:cubicBezTo>
                  <a:cubicBezTo>
                    <a:pt x="347" y="586"/>
                    <a:pt x="347" y="586"/>
                    <a:pt x="347" y="586"/>
                  </a:cubicBezTo>
                  <a:cubicBezTo>
                    <a:pt x="357" y="582"/>
                    <a:pt x="357" y="582"/>
                    <a:pt x="357" y="582"/>
                  </a:cubicBezTo>
                  <a:cubicBezTo>
                    <a:pt x="370" y="577"/>
                    <a:pt x="370" y="577"/>
                    <a:pt x="370" y="577"/>
                  </a:cubicBezTo>
                  <a:cubicBezTo>
                    <a:pt x="388" y="586"/>
                    <a:pt x="388" y="586"/>
                    <a:pt x="388" y="586"/>
                  </a:cubicBezTo>
                  <a:cubicBezTo>
                    <a:pt x="391" y="587"/>
                    <a:pt x="395" y="587"/>
                    <a:pt x="397" y="585"/>
                  </a:cubicBezTo>
                  <a:cubicBezTo>
                    <a:pt x="398" y="585"/>
                    <a:pt x="399" y="584"/>
                    <a:pt x="399" y="583"/>
                  </a:cubicBezTo>
                  <a:cubicBezTo>
                    <a:pt x="399" y="582"/>
                    <a:pt x="398" y="581"/>
                    <a:pt x="396" y="580"/>
                  </a:cubicBezTo>
                  <a:cubicBezTo>
                    <a:pt x="381" y="573"/>
                    <a:pt x="381" y="573"/>
                    <a:pt x="381" y="573"/>
                  </a:cubicBezTo>
                  <a:cubicBezTo>
                    <a:pt x="393" y="568"/>
                    <a:pt x="393" y="568"/>
                    <a:pt x="393" y="568"/>
                  </a:cubicBezTo>
                  <a:cubicBezTo>
                    <a:pt x="405" y="564"/>
                    <a:pt x="405" y="564"/>
                    <a:pt x="405" y="564"/>
                  </a:cubicBezTo>
                  <a:cubicBezTo>
                    <a:pt x="414" y="568"/>
                    <a:pt x="414" y="568"/>
                    <a:pt x="414" y="568"/>
                  </a:cubicBezTo>
                  <a:cubicBezTo>
                    <a:pt x="416" y="569"/>
                    <a:pt x="421" y="569"/>
                    <a:pt x="423" y="568"/>
                  </a:cubicBezTo>
                  <a:cubicBezTo>
                    <a:pt x="425" y="566"/>
                    <a:pt x="425" y="564"/>
                    <a:pt x="422" y="562"/>
                  </a:cubicBezTo>
                  <a:cubicBezTo>
                    <a:pt x="416" y="559"/>
                    <a:pt x="416" y="559"/>
                    <a:pt x="416" y="559"/>
                  </a:cubicBezTo>
                  <a:cubicBezTo>
                    <a:pt x="420" y="558"/>
                    <a:pt x="420" y="558"/>
                    <a:pt x="420" y="558"/>
                  </a:cubicBezTo>
                  <a:cubicBezTo>
                    <a:pt x="428" y="555"/>
                    <a:pt x="428" y="555"/>
                    <a:pt x="428" y="555"/>
                  </a:cubicBezTo>
                  <a:cubicBezTo>
                    <a:pt x="435" y="552"/>
                    <a:pt x="435" y="552"/>
                    <a:pt x="435" y="552"/>
                  </a:cubicBezTo>
                  <a:cubicBezTo>
                    <a:pt x="440" y="550"/>
                    <a:pt x="440" y="550"/>
                    <a:pt x="440" y="550"/>
                  </a:cubicBezTo>
                  <a:cubicBezTo>
                    <a:pt x="443" y="552"/>
                    <a:pt x="447" y="552"/>
                    <a:pt x="449" y="550"/>
                  </a:cubicBezTo>
                  <a:cubicBezTo>
                    <a:pt x="450" y="549"/>
                    <a:pt x="451" y="548"/>
                    <a:pt x="450" y="547"/>
                  </a:cubicBezTo>
                  <a:cubicBezTo>
                    <a:pt x="468" y="540"/>
                    <a:pt x="468" y="540"/>
                    <a:pt x="468" y="540"/>
                  </a:cubicBezTo>
                  <a:cubicBezTo>
                    <a:pt x="474" y="537"/>
                    <a:pt x="474" y="537"/>
                    <a:pt x="474" y="537"/>
                  </a:cubicBezTo>
                  <a:cubicBezTo>
                    <a:pt x="481" y="535"/>
                    <a:pt x="481" y="535"/>
                    <a:pt x="481" y="535"/>
                  </a:cubicBezTo>
                  <a:cubicBezTo>
                    <a:pt x="541" y="512"/>
                    <a:pt x="541" y="512"/>
                    <a:pt x="541" y="512"/>
                  </a:cubicBezTo>
                  <a:cubicBezTo>
                    <a:pt x="548" y="509"/>
                    <a:pt x="548" y="509"/>
                    <a:pt x="548" y="509"/>
                  </a:cubicBezTo>
                  <a:cubicBezTo>
                    <a:pt x="555" y="507"/>
                    <a:pt x="555" y="507"/>
                    <a:pt x="555" y="507"/>
                  </a:cubicBezTo>
                  <a:cubicBezTo>
                    <a:pt x="615" y="484"/>
                    <a:pt x="615" y="484"/>
                    <a:pt x="615" y="484"/>
                  </a:cubicBezTo>
                  <a:cubicBezTo>
                    <a:pt x="570" y="515"/>
                    <a:pt x="570" y="515"/>
                    <a:pt x="570" y="515"/>
                  </a:cubicBezTo>
                  <a:cubicBezTo>
                    <a:pt x="564" y="519"/>
                    <a:pt x="564" y="519"/>
                    <a:pt x="564" y="519"/>
                  </a:cubicBezTo>
                  <a:cubicBezTo>
                    <a:pt x="559" y="522"/>
                    <a:pt x="559" y="522"/>
                    <a:pt x="559" y="522"/>
                  </a:cubicBezTo>
                  <a:cubicBezTo>
                    <a:pt x="508" y="558"/>
                    <a:pt x="508" y="558"/>
                    <a:pt x="508" y="558"/>
                  </a:cubicBezTo>
                  <a:cubicBezTo>
                    <a:pt x="502" y="561"/>
                    <a:pt x="502" y="561"/>
                    <a:pt x="502" y="561"/>
                  </a:cubicBezTo>
                  <a:cubicBezTo>
                    <a:pt x="497" y="565"/>
                    <a:pt x="497" y="565"/>
                    <a:pt x="497" y="565"/>
                  </a:cubicBezTo>
                  <a:cubicBezTo>
                    <a:pt x="480" y="577"/>
                    <a:pt x="480" y="577"/>
                    <a:pt x="480" y="577"/>
                  </a:cubicBezTo>
                  <a:cubicBezTo>
                    <a:pt x="474" y="580"/>
                    <a:pt x="474" y="580"/>
                    <a:pt x="474" y="580"/>
                  </a:cubicBezTo>
                  <a:cubicBezTo>
                    <a:pt x="469" y="584"/>
                    <a:pt x="469" y="584"/>
                    <a:pt x="469" y="584"/>
                  </a:cubicBezTo>
                  <a:cubicBezTo>
                    <a:pt x="447" y="599"/>
                    <a:pt x="447" y="599"/>
                    <a:pt x="447" y="599"/>
                  </a:cubicBezTo>
                  <a:cubicBezTo>
                    <a:pt x="438" y="605"/>
                    <a:pt x="438" y="605"/>
                    <a:pt x="438" y="605"/>
                  </a:cubicBezTo>
                  <a:cubicBezTo>
                    <a:pt x="419" y="618"/>
                    <a:pt x="419" y="618"/>
                    <a:pt x="419" y="618"/>
                  </a:cubicBezTo>
                  <a:cubicBezTo>
                    <a:pt x="413" y="623"/>
                    <a:pt x="413" y="623"/>
                    <a:pt x="413" y="623"/>
                  </a:cubicBezTo>
                  <a:cubicBezTo>
                    <a:pt x="412" y="623"/>
                    <a:pt x="412" y="623"/>
                    <a:pt x="412" y="623"/>
                  </a:cubicBezTo>
                  <a:cubicBezTo>
                    <a:pt x="407" y="627"/>
                    <a:pt x="407" y="627"/>
                    <a:pt x="407" y="627"/>
                  </a:cubicBezTo>
                  <a:cubicBezTo>
                    <a:pt x="401" y="630"/>
                    <a:pt x="401" y="630"/>
                    <a:pt x="401" y="630"/>
                  </a:cubicBezTo>
                  <a:cubicBezTo>
                    <a:pt x="392" y="637"/>
                    <a:pt x="392" y="637"/>
                    <a:pt x="392" y="637"/>
                  </a:cubicBezTo>
                  <a:cubicBezTo>
                    <a:pt x="384" y="642"/>
                    <a:pt x="384" y="642"/>
                    <a:pt x="384" y="642"/>
                  </a:cubicBezTo>
                  <a:cubicBezTo>
                    <a:pt x="376" y="648"/>
                    <a:pt x="376" y="648"/>
                    <a:pt x="376" y="648"/>
                  </a:cubicBezTo>
                  <a:cubicBezTo>
                    <a:pt x="371" y="645"/>
                    <a:pt x="371" y="645"/>
                    <a:pt x="371" y="645"/>
                  </a:cubicBezTo>
                  <a:cubicBezTo>
                    <a:pt x="341" y="630"/>
                    <a:pt x="341" y="630"/>
                    <a:pt x="341" y="630"/>
                  </a:cubicBezTo>
                  <a:cubicBezTo>
                    <a:pt x="335" y="627"/>
                    <a:pt x="335" y="627"/>
                    <a:pt x="335" y="627"/>
                  </a:cubicBezTo>
                  <a:cubicBezTo>
                    <a:pt x="330" y="625"/>
                    <a:pt x="330" y="625"/>
                    <a:pt x="330" y="625"/>
                  </a:cubicBezTo>
                  <a:cubicBezTo>
                    <a:pt x="323" y="621"/>
                    <a:pt x="323" y="621"/>
                    <a:pt x="323" y="621"/>
                  </a:cubicBezTo>
                  <a:cubicBezTo>
                    <a:pt x="299" y="609"/>
                    <a:pt x="299" y="609"/>
                    <a:pt x="299" y="609"/>
                  </a:cubicBezTo>
                  <a:cubicBezTo>
                    <a:pt x="255" y="588"/>
                    <a:pt x="255" y="588"/>
                    <a:pt x="255" y="588"/>
                  </a:cubicBezTo>
                  <a:cubicBezTo>
                    <a:pt x="249" y="585"/>
                    <a:pt x="249" y="585"/>
                    <a:pt x="249" y="585"/>
                  </a:cubicBezTo>
                  <a:cubicBezTo>
                    <a:pt x="243" y="581"/>
                    <a:pt x="243" y="581"/>
                    <a:pt x="243" y="581"/>
                  </a:cubicBezTo>
                  <a:cubicBezTo>
                    <a:pt x="224" y="572"/>
                    <a:pt x="224" y="572"/>
                    <a:pt x="224" y="572"/>
                  </a:cubicBezTo>
                  <a:cubicBezTo>
                    <a:pt x="218" y="569"/>
                    <a:pt x="218" y="569"/>
                    <a:pt x="218" y="569"/>
                  </a:cubicBezTo>
                  <a:cubicBezTo>
                    <a:pt x="211" y="566"/>
                    <a:pt x="211" y="566"/>
                    <a:pt x="211" y="566"/>
                  </a:cubicBezTo>
                  <a:cubicBezTo>
                    <a:pt x="136" y="528"/>
                    <a:pt x="136" y="528"/>
                    <a:pt x="136" y="528"/>
                  </a:cubicBezTo>
                  <a:cubicBezTo>
                    <a:pt x="129" y="525"/>
                    <a:pt x="129" y="525"/>
                    <a:pt x="129" y="525"/>
                  </a:cubicBezTo>
                  <a:cubicBezTo>
                    <a:pt x="121" y="521"/>
                    <a:pt x="121" y="521"/>
                    <a:pt x="121" y="521"/>
                  </a:cubicBezTo>
                  <a:cubicBezTo>
                    <a:pt x="103" y="512"/>
                    <a:pt x="103" y="512"/>
                    <a:pt x="103" y="512"/>
                  </a:cubicBezTo>
                  <a:cubicBezTo>
                    <a:pt x="97" y="509"/>
                    <a:pt x="97" y="509"/>
                    <a:pt x="97" y="509"/>
                  </a:cubicBezTo>
                  <a:cubicBezTo>
                    <a:pt x="90" y="505"/>
                    <a:pt x="90" y="505"/>
                    <a:pt x="90" y="505"/>
                  </a:cubicBezTo>
                  <a:lnTo>
                    <a:pt x="55" y="488"/>
                  </a:lnTo>
                  <a:close/>
                  <a:moveTo>
                    <a:pt x="41" y="557"/>
                  </a:moveTo>
                  <a:cubicBezTo>
                    <a:pt x="35" y="553"/>
                    <a:pt x="35" y="553"/>
                    <a:pt x="35" y="553"/>
                  </a:cubicBezTo>
                  <a:cubicBezTo>
                    <a:pt x="34" y="552"/>
                    <a:pt x="34" y="552"/>
                    <a:pt x="34" y="552"/>
                  </a:cubicBezTo>
                  <a:cubicBezTo>
                    <a:pt x="91" y="519"/>
                    <a:pt x="91" y="519"/>
                    <a:pt x="91" y="519"/>
                  </a:cubicBezTo>
                  <a:cubicBezTo>
                    <a:pt x="106" y="527"/>
                    <a:pt x="106" y="527"/>
                    <a:pt x="106" y="527"/>
                  </a:cubicBezTo>
                  <a:cubicBezTo>
                    <a:pt x="113" y="530"/>
                    <a:pt x="113" y="530"/>
                    <a:pt x="113" y="530"/>
                  </a:cubicBezTo>
                  <a:cubicBezTo>
                    <a:pt x="121" y="534"/>
                    <a:pt x="121" y="534"/>
                    <a:pt x="121" y="534"/>
                  </a:cubicBezTo>
                  <a:cubicBezTo>
                    <a:pt x="199" y="573"/>
                    <a:pt x="199" y="573"/>
                    <a:pt x="199" y="573"/>
                  </a:cubicBezTo>
                  <a:cubicBezTo>
                    <a:pt x="206" y="576"/>
                    <a:pt x="206" y="576"/>
                    <a:pt x="206" y="576"/>
                  </a:cubicBezTo>
                  <a:cubicBezTo>
                    <a:pt x="212" y="580"/>
                    <a:pt x="212" y="580"/>
                    <a:pt x="212" y="580"/>
                  </a:cubicBezTo>
                  <a:cubicBezTo>
                    <a:pt x="231" y="589"/>
                    <a:pt x="231" y="589"/>
                    <a:pt x="231" y="589"/>
                  </a:cubicBezTo>
                  <a:cubicBezTo>
                    <a:pt x="231" y="589"/>
                    <a:pt x="231" y="589"/>
                    <a:pt x="231" y="589"/>
                  </a:cubicBezTo>
                  <a:cubicBezTo>
                    <a:pt x="235" y="591"/>
                    <a:pt x="235" y="591"/>
                    <a:pt x="235" y="591"/>
                  </a:cubicBezTo>
                  <a:cubicBezTo>
                    <a:pt x="237" y="592"/>
                    <a:pt x="237" y="592"/>
                    <a:pt x="237" y="592"/>
                  </a:cubicBezTo>
                  <a:cubicBezTo>
                    <a:pt x="243" y="596"/>
                    <a:pt x="243" y="596"/>
                    <a:pt x="243" y="596"/>
                  </a:cubicBezTo>
                  <a:cubicBezTo>
                    <a:pt x="271" y="612"/>
                    <a:pt x="271" y="612"/>
                    <a:pt x="271" y="612"/>
                  </a:cubicBezTo>
                  <a:cubicBezTo>
                    <a:pt x="301" y="629"/>
                    <a:pt x="301" y="629"/>
                    <a:pt x="301" y="629"/>
                  </a:cubicBezTo>
                  <a:cubicBezTo>
                    <a:pt x="308" y="633"/>
                    <a:pt x="308" y="633"/>
                    <a:pt x="308" y="633"/>
                  </a:cubicBezTo>
                  <a:cubicBezTo>
                    <a:pt x="314" y="637"/>
                    <a:pt x="314" y="637"/>
                    <a:pt x="314" y="637"/>
                  </a:cubicBezTo>
                  <a:cubicBezTo>
                    <a:pt x="327" y="645"/>
                    <a:pt x="327" y="645"/>
                    <a:pt x="327" y="645"/>
                  </a:cubicBezTo>
                  <a:cubicBezTo>
                    <a:pt x="349" y="657"/>
                    <a:pt x="349" y="657"/>
                    <a:pt x="349" y="657"/>
                  </a:cubicBezTo>
                  <a:cubicBezTo>
                    <a:pt x="349" y="657"/>
                    <a:pt x="351" y="658"/>
                    <a:pt x="352" y="658"/>
                  </a:cubicBezTo>
                  <a:cubicBezTo>
                    <a:pt x="353" y="658"/>
                    <a:pt x="355" y="658"/>
                    <a:pt x="356" y="658"/>
                  </a:cubicBezTo>
                  <a:cubicBezTo>
                    <a:pt x="357" y="658"/>
                    <a:pt x="358" y="657"/>
                    <a:pt x="358" y="657"/>
                  </a:cubicBezTo>
                  <a:cubicBezTo>
                    <a:pt x="360" y="656"/>
                    <a:pt x="361" y="654"/>
                    <a:pt x="360" y="653"/>
                  </a:cubicBezTo>
                  <a:cubicBezTo>
                    <a:pt x="365" y="656"/>
                    <a:pt x="365" y="656"/>
                    <a:pt x="365" y="656"/>
                  </a:cubicBezTo>
                  <a:cubicBezTo>
                    <a:pt x="374" y="660"/>
                    <a:pt x="374" y="660"/>
                    <a:pt x="374" y="660"/>
                  </a:cubicBezTo>
                  <a:cubicBezTo>
                    <a:pt x="374" y="660"/>
                    <a:pt x="374" y="660"/>
                    <a:pt x="374" y="660"/>
                  </a:cubicBezTo>
                  <a:cubicBezTo>
                    <a:pt x="375" y="660"/>
                    <a:pt x="376" y="661"/>
                    <a:pt x="377" y="661"/>
                  </a:cubicBezTo>
                  <a:cubicBezTo>
                    <a:pt x="378" y="661"/>
                    <a:pt x="379" y="660"/>
                    <a:pt x="380" y="660"/>
                  </a:cubicBezTo>
                  <a:cubicBezTo>
                    <a:pt x="380" y="659"/>
                    <a:pt x="380" y="659"/>
                    <a:pt x="380" y="659"/>
                  </a:cubicBezTo>
                  <a:cubicBezTo>
                    <a:pt x="385" y="656"/>
                    <a:pt x="385" y="656"/>
                    <a:pt x="385" y="656"/>
                  </a:cubicBezTo>
                  <a:cubicBezTo>
                    <a:pt x="394" y="650"/>
                    <a:pt x="394" y="650"/>
                    <a:pt x="394" y="650"/>
                  </a:cubicBezTo>
                  <a:cubicBezTo>
                    <a:pt x="402" y="645"/>
                    <a:pt x="402" y="645"/>
                    <a:pt x="402" y="645"/>
                  </a:cubicBezTo>
                  <a:cubicBezTo>
                    <a:pt x="413" y="637"/>
                    <a:pt x="413" y="637"/>
                    <a:pt x="413" y="637"/>
                  </a:cubicBezTo>
                  <a:cubicBezTo>
                    <a:pt x="419" y="633"/>
                    <a:pt x="419" y="633"/>
                    <a:pt x="419" y="633"/>
                  </a:cubicBezTo>
                  <a:cubicBezTo>
                    <a:pt x="425" y="629"/>
                    <a:pt x="425" y="629"/>
                    <a:pt x="425" y="629"/>
                  </a:cubicBezTo>
                  <a:cubicBezTo>
                    <a:pt x="481" y="591"/>
                    <a:pt x="481" y="591"/>
                    <a:pt x="481" y="591"/>
                  </a:cubicBezTo>
                  <a:cubicBezTo>
                    <a:pt x="486" y="587"/>
                    <a:pt x="486" y="587"/>
                    <a:pt x="486" y="587"/>
                  </a:cubicBezTo>
                  <a:cubicBezTo>
                    <a:pt x="492" y="583"/>
                    <a:pt x="492" y="583"/>
                    <a:pt x="492" y="583"/>
                  </a:cubicBezTo>
                  <a:cubicBezTo>
                    <a:pt x="507" y="573"/>
                    <a:pt x="507" y="573"/>
                    <a:pt x="507" y="573"/>
                  </a:cubicBezTo>
                  <a:cubicBezTo>
                    <a:pt x="512" y="569"/>
                    <a:pt x="512" y="569"/>
                    <a:pt x="512" y="569"/>
                  </a:cubicBezTo>
                  <a:cubicBezTo>
                    <a:pt x="517" y="566"/>
                    <a:pt x="517" y="566"/>
                    <a:pt x="517" y="566"/>
                  </a:cubicBezTo>
                  <a:cubicBezTo>
                    <a:pt x="570" y="529"/>
                    <a:pt x="570" y="529"/>
                    <a:pt x="570" y="529"/>
                  </a:cubicBezTo>
                  <a:cubicBezTo>
                    <a:pt x="610" y="552"/>
                    <a:pt x="610" y="552"/>
                    <a:pt x="610" y="552"/>
                  </a:cubicBezTo>
                  <a:cubicBezTo>
                    <a:pt x="546" y="590"/>
                    <a:pt x="546" y="590"/>
                    <a:pt x="546" y="590"/>
                  </a:cubicBezTo>
                  <a:cubicBezTo>
                    <a:pt x="540" y="593"/>
                    <a:pt x="540" y="593"/>
                    <a:pt x="540" y="593"/>
                  </a:cubicBezTo>
                  <a:cubicBezTo>
                    <a:pt x="535" y="596"/>
                    <a:pt x="535" y="596"/>
                    <a:pt x="535" y="596"/>
                  </a:cubicBezTo>
                  <a:cubicBezTo>
                    <a:pt x="526" y="601"/>
                    <a:pt x="526" y="601"/>
                    <a:pt x="526" y="601"/>
                  </a:cubicBezTo>
                  <a:cubicBezTo>
                    <a:pt x="520" y="605"/>
                    <a:pt x="520" y="605"/>
                    <a:pt x="520" y="605"/>
                  </a:cubicBezTo>
                  <a:cubicBezTo>
                    <a:pt x="513" y="609"/>
                    <a:pt x="513" y="609"/>
                    <a:pt x="513" y="609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47" y="647"/>
                    <a:pt x="447" y="647"/>
                    <a:pt x="447" y="647"/>
                  </a:cubicBezTo>
                  <a:cubicBezTo>
                    <a:pt x="441" y="651"/>
                    <a:pt x="441" y="651"/>
                    <a:pt x="441" y="651"/>
                  </a:cubicBezTo>
                  <a:cubicBezTo>
                    <a:pt x="422" y="662"/>
                    <a:pt x="422" y="662"/>
                    <a:pt x="422" y="662"/>
                  </a:cubicBezTo>
                  <a:cubicBezTo>
                    <a:pt x="413" y="667"/>
                    <a:pt x="413" y="667"/>
                    <a:pt x="413" y="667"/>
                  </a:cubicBezTo>
                  <a:cubicBezTo>
                    <a:pt x="406" y="671"/>
                    <a:pt x="406" y="671"/>
                    <a:pt x="406" y="671"/>
                  </a:cubicBezTo>
                  <a:cubicBezTo>
                    <a:pt x="400" y="674"/>
                    <a:pt x="400" y="674"/>
                    <a:pt x="400" y="674"/>
                  </a:cubicBezTo>
                  <a:cubicBezTo>
                    <a:pt x="395" y="678"/>
                    <a:pt x="395" y="678"/>
                    <a:pt x="395" y="678"/>
                  </a:cubicBezTo>
                  <a:cubicBezTo>
                    <a:pt x="395" y="678"/>
                    <a:pt x="395" y="678"/>
                    <a:pt x="395" y="678"/>
                  </a:cubicBezTo>
                  <a:cubicBezTo>
                    <a:pt x="391" y="679"/>
                    <a:pt x="391" y="679"/>
                    <a:pt x="391" y="679"/>
                  </a:cubicBezTo>
                  <a:cubicBezTo>
                    <a:pt x="386" y="683"/>
                    <a:pt x="386" y="683"/>
                    <a:pt x="386" y="683"/>
                  </a:cubicBezTo>
                  <a:cubicBezTo>
                    <a:pt x="382" y="685"/>
                    <a:pt x="382" y="685"/>
                    <a:pt x="382" y="685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62" y="697"/>
                    <a:pt x="362" y="697"/>
                    <a:pt x="362" y="697"/>
                  </a:cubicBezTo>
                  <a:cubicBezTo>
                    <a:pt x="359" y="699"/>
                    <a:pt x="359" y="699"/>
                    <a:pt x="359" y="699"/>
                  </a:cubicBezTo>
                  <a:cubicBezTo>
                    <a:pt x="356" y="700"/>
                    <a:pt x="356" y="700"/>
                    <a:pt x="356" y="700"/>
                  </a:cubicBezTo>
                  <a:cubicBezTo>
                    <a:pt x="352" y="702"/>
                    <a:pt x="352" y="702"/>
                    <a:pt x="352" y="702"/>
                  </a:cubicBezTo>
                  <a:cubicBezTo>
                    <a:pt x="350" y="704"/>
                    <a:pt x="350" y="704"/>
                    <a:pt x="350" y="704"/>
                  </a:cubicBezTo>
                  <a:cubicBezTo>
                    <a:pt x="344" y="707"/>
                    <a:pt x="344" y="707"/>
                    <a:pt x="344" y="707"/>
                  </a:cubicBezTo>
                  <a:cubicBezTo>
                    <a:pt x="340" y="709"/>
                    <a:pt x="340" y="709"/>
                    <a:pt x="340" y="709"/>
                  </a:cubicBezTo>
                  <a:cubicBezTo>
                    <a:pt x="332" y="714"/>
                    <a:pt x="332" y="714"/>
                    <a:pt x="332" y="714"/>
                  </a:cubicBezTo>
                  <a:cubicBezTo>
                    <a:pt x="331" y="714"/>
                    <a:pt x="331" y="714"/>
                    <a:pt x="331" y="714"/>
                  </a:cubicBezTo>
                  <a:cubicBezTo>
                    <a:pt x="324" y="718"/>
                    <a:pt x="324" y="718"/>
                    <a:pt x="324" y="718"/>
                  </a:cubicBezTo>
                  <a:cubicBezTo>
                    <a:pt x="323" y="719"/>
                    <a:pt x="323" y="719"/>
                    <a:pt x="323" y="719"/>
                  </a:cubicBezTo>
                  <a:cubicBezTo>
                    <a:pt x="294" y="703"/>
                    <a:pt x="294" y="703"/>
                    <a:pt x="294" y="703"/>
                  </a:cubicBezTo>
                  <a:cubicBezTo>
                    <a:pt x="291" y="701"/>
                    <a:pt x="291" y="701"/>
                    <a:pt x="291" y="701"/>
                  </a:cubicBezTo>
                  <a:cubicBezTo>
                    <a:pt x="285" y="698"/>
                    <a:pt x="285" y="698"/>
                    <a:pt x="285" y="698"/>
                  </a:cubicBezTo>
                  <a:cubicBezTo>
                    <a:pt x="280" y="694"/>
                    <a:pt x="280" y="694"/>
                    <a:pt x="280" y="694"/>
                  </a:cubicBezTo>
                  <a:cubicBezTo>
                    <a:pt x="268" y="688"/>
                    <a:pt x="268" y="688"/>
                    <a:pt x="268" y="688"/>
                  </a:cubicBezTo>
                  <a:cubicBezTo>
                    <a:pt x="242" y="672"/>
                    <a:pt x="242" y="672"/>
                    <a:pt x="242" y="672"/>
                  </a:cubicBezTo>
                  <a:cubicBezTo>
                    <a:pt x="234" y="668"/>
                    <a:pt x="234" y="668"/>
                    <a:pt x="234" y="668"/>
                  </a:cubicBezTo>
                  <a:cubicBezTo>
                    <a:pt x="227" y="664"/>
                    <a:pt x="227" y="664"/>
                    <a:pt x="227" y="664"/>
                  </a:cubicBezTo>
                  <a:cubicBezTo>
                    <a:pt x="221" y="660"/>
                    <a:pt x="221" y="660"/>
                    <a:pt x="221" y="660"/>
                  </a:cubicBezTo>
                  <a:cubicBezTo>
                    <a:pt x="220" y="660"/>
                    <a:pt x="220" y="660"/>
                    <a:pt x="220" y="660"/>
                  </a:cubicBezTo>
                  <a:cubicBezTo>
                    <a:pt x="178" y="636"/>
                    <a:pt x="178" y="636"/>
                    <a:pt x="178" y="636"/>
                  </a:cubicBezTo>
                  <a:cubicBezTo>
                    <a:pt x="172" y="632"/>
                    <a:pt x="172" y="632"/>
                    <a:pt x="172" y="632"/>
                  </a:cubicBezTo>
                  <a:cubicBezTo>
                    <a:pt x="167" y="629"/>
                    <a:pt x="167" y="629"/>
                    <a:pt x="167" y="629"/>
                  </a:cubicBezTo>
                  <a:cubicBezTo>
                    <a:pt x="149" y="619"/>
                    <a:pt x="149" y="619"/>
                    <a:pt x="149" y="619"/>
                  </a:cubicBezTo>
                  <a:cubicBezTo>
                    <a:pt x="144" y="616"/>
                    <a:pt x="144" y="616"/>
                    <a:pt x="144" y="616"/>
                  </a:cubicBezTo>
                  <a:cubicBezTo>
                    <a:pt x="138" y="612"/>
                    <a:pt x="138" y="612"/>
                    <a:pt x="138" y="612"/>
                  </a:cubicBezTo>
                  <a:cubicBezTo>
                    <a:pt x="48" y="561"/>
                    <a:pt x="48" y="561"/>
                    <a:pt x="48" y="561"/>
                  </a:cubicBezTo>
                  <a:lnTo>
                    <a:pt x="41" y="557"/>
                  </a:lnTo>
                  <a:close/>
                  <a:moveTo>
                    <a:pt x="91" y="599"/>
                  </a:moveTo>
                  <a:cubicBezTo>
                    <a:pt x="126" y="620"/>
                    <a:pt x="126" y="620"/>
                    <a:pt x="126" y="620"/>
                  </a:cubicBezTo>
                  <a:cubicBezTo>
                    <a:pt x="132" y="623"/>
                    <a:pt x="132" y="623"/>
                    <a:pt x="132" y="623"/>
                  </a:cubicBezTo>
                  <a:cubicBezTo>
                    <a:pt x="138" y="626"/>
                    <a:pt x="138" y="626"/>
                    <a:pt x="138" y="626"/>
                  </a:cubicBezTo>
                  <a:cubicBezTo>
                    <a:pt x="155" y="636"/>
                    <a:pt x="155" y="636"/>
                    <a:pt x="155" y="636"/>
                  </a:cubicBezTo>
                  <a:cubicBezTo>
                    <a:pt x="161" y="640"/>
                    <a:pt x="161" y="640"/>
                    <a:pt x="161" y="640"/>
                  </a:cubicBezTo>
                  <a:cubicBezTo>
                    <a:pt x="167" y="643"/>
                    <a:pt x="167" y="643"/>
                    <a:pt x="167" y="643"/>
                  </a:cubicBezTo>
                  <a:cubicBezTo>
                    <a:pt x="206" y="665"/>
                    <a:pt x="206" y="665"/>
                    <a:pt x="206" y="665"/>
                  </a:cubicBezTo>
                  <a:cubicBezTo>
                    <a:pt x="212" y="669"/>
                    <a:pt x="212" y="669"/>
                    <a:pt x="212" y="669"/>
                  </a:cubicBezTo>
                  <a:cubicBezTo>
                    <a:pt x="219" y="673"/>
                    <a:pt x="219" y="673"/>
                    <a:pt x="219" y="673"/>
                  </a:cubicBezTo>
                  <a:cubicBezTo>
                    <a:pt x="269" y="702"/>
                    <a:pt x="269" y="702"/>
                    <a:pt x="269" y="702"/>
                  </a:cubicBezTo>
                  <a:cubicBezTo>
                    <a:pt x="273" y="704"/>
                    <a:pt x="273" y="704"/>
                    <a:pt x="273" y="704"/>
                  </a:cubicBezTo>
                  <a:cubicBezTo>
                    <a:pt x="274" y="705"/>
                    <a:pt x="274" y="705"/>
                    <a:pt x="274" y="705"/>
                  </a:cubicBezTo>
                  <a:cubicBezTo>
                    <a:pt x="279" y="709"/>
                    <a:pt x="279" y="709"/>
                    <a:pt x="279" y="709"/>
                  </a:cubicBezTo>
                  <a:cubicBezTo>
                    <a:pt x="305" y="732"/>
                    <a:pt x="305" y="732"/>
                    <a:pt x="305" y="732"/>
                  </a:cubicBezTo>
                  <a:cubicBezTo>
                    <a:pt x="308" y="734"/>
                    <a:pt x="312" y="734"/>
                    <a:pt x="315" y="733"/>
                  </a:cubicBezTo>
                  <a:cubicBezTo>
                    <a:pt x="317" y="733"/>
                    <a:pt x="318" y="731"/>
                    <a:pt x="317" y="730"/>
                  </a:cubicBezTo>
                  <a:cubicBezTo>
                    <a:pt x="320" y="731"/>
                    <a:pt x="320" y="731"/>
                    <a:pt x="320" y="731"/>
                  </a:cubicBezTo>
                  <a:cubicBezTo>
                    <a:pt x="321" y="732"/>
                    <a:pt x="322" y="732"/>
                    <a:pt x="323" y="732"/>
                  </a:cubicBezTo>
                  <a:cubicBezTo>
                    <a:pt x="324" y="732"/>
                    <a:pt x="325" y="732"/>
                    <a:pt x="326" y="731"/>
                  </a:cubicBezTo>
                  <a:cubicBezTo>
                    <a:pt x="328" y="730"/>
                    <a:pt x="328" y="730"/>
                    <a:pt x="328" y="730"/>
                  </a:cubicBezTo>
                  <a:cubicBezTo>
                    <a:pt x="335" y="726"/>
                    <a:pt x="335" y="726"/>
                    <a:pt x="335" y="726"/>
                  </a:cubicBezTo>
                  <a:cubicBezTo>
                    <a:pt x="337" y="725"/>
                    <a:pt x="337" y="725"/>
                    <a:pt x="337" y="725"/>
                  </a:cubicBezTo>
                  <a:cubicBezTo>
                    <a:pt x="342" y="722"/>
                    <a:pt x="342" y="722"/>
                    <a:pt x="342" y="722"/>
                  </a:cubicBezTo>
                  <a:cubicBezTo>
                    <a:pt x="344" y="722"/>
                    <a:pt x="345" y="722"/>
                    <a:pt x="347" y="722"/>
                  </a:cubicBezTo>
                  <a:cubicBezTo>
                    <a:pt x="347" y="722"/>
                    <a:pt x="347" y="722"/>
                    <a:pt x="347" y="722"/>
                  </a:cubicBezTo>
                  <a:cubicBezTo>
                    <a:pt x="349" y="721"/>
                    <a:pt x="350" y="719"/>
                    <a:pt x="349" y="718"/>
                  </a:cubicBezTo>
                  <a:cubicBezTo>
                    <a:pt x="357" y="714"/>
                    <a:pt x="357" y="714"/>
                    <a:pt x="357" y="714"/>
                  </a:cubicBezTo>
                  <a:cubicBezTo>
                    <a:pt x="363" y="710"/>
                    <a:pt x="363" y="710"/>
                    <a:pt x="363" y="710"/>
                  </a:cubicBezTo>
                  <a:cubicBezTo>
                    <a:pt x="365" y="709"/>
                    <a:pt x="365" y="709"/>
                    <a:pt x="365" y="709"/>
                  </a:cubicBezTo>
                  <a:cubicBezTo>
                    <a:pt x="368" y="707"/>
                    <a:pt x="368" y="707"/>
                    <a:pt x="368" y="707"/>
                  </a:cubicBezTo>
                  <a:cubicBezTo>
                    <a:pt x="370" y="708"/>
                    <a:pt x="370" y="708"/>
                    <a:pt x="370" y="708"/>
                  </a:cubicBezTo>
                  <a:cubicBezTo>
                    <a:pt x="372" y="710"/>
                    <a:pt x="375" y="711"/>
                    <a:pt x="377" y="710"/>
                  </a:cubicBezTo>
                  <a:cubicBezTo>
                    <a:pt x="378" y="710"/>
                    <a:pt x="379" y="710"/>
                    <a:pt x="379" y="710"/>
                  </a:cubicBezTo>
                  <a:cubicBezTo>
                    <a:pt x="381" y="709"/>
                    <a:pt x="382" y="709"/>
                    <a:pt x="382" y="708"/>
                  </a:cubicBezTo>
                  <a:cubicBezTo>
                    <a:pt x="382" y="707"/>
                    <a:pt x="382" y="705"/>
                    <a:pt x="380" y="704"/>
                  </a:cubicBezTo>
                  <a:cubicBezTo>
                    <a:pt x="377" y="702"/>
                    <a:pt x="377" y="702"/>
                    <a:pt x="377" y="702"/>
                  </a:cubicBezTo>
                  <a:cubicBezTo>
                    <a:pt x="394" y="692"/>
                    <a:pt x="394" y="692"/>
                    <a:pt x="394" y="692"/>
                  </a:cubicBezTo>
                  <a:cubicBezTo>
                    <a:pt x="396" y="691"/>
                    <a:pt x="396" y="691"/>
                    <a:pt x="396" y="691"/>
                  </a:cubicBezTo>
                  <a:cubicBezTo>
                    <a:pt x="401" y="695"/>
                    <a:pt x="401" y="695"/>
                    <a:pt x="401" y="695"/>
                  </a:cubicBezTo>
                  <a:cubicBezTo>
                    <a:pt x="402" y="697"/>
                    <a:pt x="402" y="697"/>
                    <a:pt x="402" y="697"/>
                  </a:cubicBezTo>
                  <a:cubicBezTo>
                    <a:pt x="403" y="697"/>
                    <a:pt x="405" y="698"/>
                    <a:pt x="407" y="698"/>
                  </a:cubicBezTo>
                  <a:cubicBezTo>
                    <a:pt x="408" y="699"/>
                    <a:pt x="410" y="699"/>
                    <a:pt x="412" y="698"/>
                  </a:cubicBezTo>
                  <a:cubicBezTo>
                    <a:pt x="415" y="697"/>
                    <a:pt x="415" y="695"/>
                    <a:pt x="413" y="693"/>
                  </a:cubicBezTo>
                  <a:cubicBezTo>
                    <a:pt x="407" y="688"/>
                    <a:pt x="407" y="688"/>
                    <a:pt x="407" y="688"/>
                  </a:cubicBezTo>
                  <a:cubicBezTo>
                    <a:pt x="404" y="686"/>
                    <a:pt x="404" y="686"/>
                    <a:pt x="404" y="686"/>
                  </a:cubicBezTo>
                  <a:cubicBezTo>
                    <a:pt x="405" y="685"/>
                    <a:pt x="405" y="685"/>
                    <a:pt x="405" y="685"/>
                  </a:cubicBezTo>
                  <a:cubicBezTo>
                    <a:pt x="411" y="682"/>
                    <a:pt x="411" y="682"/>
                    <a:pt x="411" y="682"/>
                  </a:cubicBezTo>
                  <a:cubicBezTo>
                    <a:pt x="416" y="679"/>
                    <a:pt x="416" y="679"/>
                    <a:pt x="416" y="679"/>
                  </a:cubicBezTo>
                  <a:cubicBezTo>
                    <a:pt x="423" y="675"/>
                    <a:pt x="423" y="675"/>
                    <a:pt x="423" y="675"/>
                  </a:cubicBezTo>
                  <a:cubicBezTo>
                    <a:pt x="434" y="685"/>
                    <a:pt x="434" y="685"/>
                    <a:pt x="434" y="685"/>
                  </a:cubicBezTo>
                  <a:cubicBezTo>
                    <a:pt x="437" y="687"/>
                    <a:pt x="441" y="688"/>
                    <a:pt x="444" y="686"/>
                  </a:cubicBezTo>
                  <a:cubicBezTo>
                    <a:pt x="447" y="685"/>
                    <a:pt x="447" y="683"/>
                    <a:pt x="445" y="681"/>
                  </a:cubicBezTo>
                  <a:cubicBezTo>
                    <a:pt x="432" y="670"/>
                    <a:pt x="432" y="670"/>
                    <a:pt x="432" y="670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9" y="654"/>
                    <a:pt x="459" y="654"/>
                    <a:pt x="459" y="654"/>
                  </a:cubicBezTo>
                  <a:cubicBezTo>
                    <a:pt x="465" y="650"/>
                    <a:pt x="465" y="650"/>
                    <a:pt x="465" y="650"/>
                  </a:cubicBezTo>
                  <a:cubicBezTo>
                    <a:pt x="526" y="615"/>
                    <a:pt x="526" y="615"/>
                    <a:pt x="526" y="615"/>
                  </a:cubicBezTo>
                  <a:cubicBezTo>
                    <a:pt x="532" y="612"/>
                    <a:pt x="532" y="612"/>
                    <a:pt x="532" y="612"/>
                  </a:cubicBezTo>
                  <a:cubicBezTo>
                    <a:pt x="538" y="608"/>
                    <a:pt x="538" y="608"/>
                    <a:pt x="538" y="608"/>
                  </a:cubicBezTo>
                  <a:cubicBezTo>
                    <a:pt x="544" y="604"/>
                    <a:pt x="544" y="604"/>
                    <a:pt x="544" y="604"/>
                  </a:cubicBezTo>
                  <a:cubicBezTo>
                    <a:pt x="569" y="625"/>
                    <a:pt x="569" y="625"/>
                    <a:pt x="569" y="625"/>
                  </a:cubicBezTo>
                  <a:cubicBezTo>
                    <a:pt x="591" y="644"/>
                    <a:pt x="591" y="644"/>
                    <a:pt x="591" y="644"/>
                  </a:cubicBezTo>
                  <a:cubicBezTo>
                    <a:pt x="614" y="663"/>
                    <a:pt x="614" y="663"/>
                    <a:pt x="614" y="663"/>
                  </a:cubicBezTo>
                  <a:cubicBezTo>
                    <a:pt x="614" y="663"/>
                    <a:pt x="614" y="663"/>
                    <a:pt x="614" y="663"/>
                  </a:cubicBezTo>
                  <a:cubicBezTo>
                    <a:pt x="540" y="690"/>
                    <a:pt x="540" y="690"/>
                    <a:pt x="540" y="690"/>
                  </a:cubicBezTo>
                  <a:cubicBezTo>
                    <a:pt x="533" y="693"/>
                    <a:pt x="533" y="693"/>
                    <a:pt x="533" y="693"/>
                  </a:cubicBezTo>
                  <a:cubicBezTo>
                    <a:pt x="525" y="695"/>
                    <a:pt x="525" y="695"/>
                    <a:pt x="525" y="695"/>
                  </a:cubicBezTo>
                  <a:cubicBezTo>
                    <a:pt x="467" y="717"/>
                    <a:pt x="467" y="717"/>
                    <a:pt x="467" y="717"/>
                  </a:cubicBezTo>
                  <a:cubicBezTo>
                    <a:pt x="463" y="718"/>
                    <a:pt x="463" y="718"/>
                    <a:pt x="463" y="718"/>
                  </a:cubicBezTo>
                  <a:cubicBezTo>
                    <a:pt x="460" y="719"/>
                    <a:pt x="460" y="719"/>
                    <a:pt x="460" y="719"/>
                  </a:cubicBezTo>
                  <a:cubicBezTo>
                    <a:pt x="454" y="721"/>
                    <a:pt x="454" y="721"/>
                    <a:pt x="454" y="721"/>
                  </a:cubicBezTo>
                  <a:cubicBezTo>
                    <a:pt x="451" y="722"/>
                    <a:pt x="451" y="722"/>
                    <a:pt x="451" y="722"/>
                  </a:cubicBezTo>
                  <a:cubicBezTo>
                    <a:pt x="426" y="731"/>
                    <a:pt x="426" y="731"/>
                    <a:pt x="426" y="731"/>
                  </a:cubicBezTo>
                  <a:cubicBezTo>
                    <a:pt x="422" y="733"/>
                    <a:pt x="422" y="733"/>
                    <a:pt x="422" y="733"/>
                  </a:cubicBezTo>
                  <a:cubicBezTo>
                    <a:pt x="414" y="736"/>
                    <a:pt x="414" y="736"/>
                    <a:pt x="414" y="736"/>
                  </a:cubicBezTo>
                  <a:cubicBezTo>
                    <a:pt x="414" y="736"/>
                    <a:pt x="414" y="736"/>
                    <a:pt x="414" y="736"/>
                  </a:cubicBezTo>
                  <a:cubicBezTo>
                    <a:pt x="407" y="739"/>
                    <a:pt x="407" y="739"/>
                    <a:pt x="407" y="739"/>
                  </a:cubicBezTo>
                  <a:cubicBezTo>
                    <a:pt x="389" y="745"/>
                    <a:pt x="389" y="745"/>
                    <a:pt x="389" y="745"/>
                  </a:cubicBezTo>
                  <a:cubicBezTo>
                    <a:pt x="380" y="748"/>
                    <a:pt x="380" y="748"/>
                    <a:pt x="380" y="748"/>
                  </a:cubicBezTo>
                  <a:cubicBezTo>
                    <a:pt x="377" y="749"/>
                    <a:pt x="377" y="749"/>
                    <a:pt x="377" y="749"/>
                  </a:cubicBezTo>
                  <a:cubicBezTo>
                    <a:pt x="369" y="752"/>
                    <a:pt x="369" y="752"/>
                    <a:pt x="369" y="752"/>
                  </a:cubicBezTo>
                  <a:cubicBezTo>
                    <a:pt x="353" y="758"/>
                    <a:pt x="353" y="758"/>
                    <a:pt x="353" y="758"/>
                  </a:cubicBezTo>
                  <a:cubicBezTo>
                    <a:pt x="345" y="761"/>
                    <a:pt x="345" y="761"/>
                    <a:pt x="345" y="761"/>
                  </a:cubicBezTo>
                  <a:cubicBezTo>
                    <a:pt x="341" y="763"/>
                    <a:pt x="341" y="763"/>
                    <a:pt x="341" y="763"/>
                  </a:cubicBezTo>
                  <a:cubicBezTo>
                    <a:pt x="334" y="765"/>
                    <a:pt x="334" y="765"/>
                    <a:pt x="334" y="765"/>
                  </a:cubicBezTo>
                  <a:cubicBezTo>
                    <a:pt x="326" y="768"/>
                    <a:pt x="326" y="768"/>
                    <a:pt x="326" y="768"/>
                  </a:cubicBezTo>
                  <a:cubicBezTo>
                    <a:pt x="316" y="771"/>
                    <a:pt x="316" y="771"/>
                    <a:pt x="316" y="771"/>
                  </a:cubicBezTo>
                  <a:cubicBezTo>
                    <a:pt x="316" y="772"/>
                    <a:pt x="316" y="772"/>
                    <a:pt x="316" y="772"/>
                  </a:cubicBezTo>
                  <a:cubicBezTo>
                    <a:pt x="310" y="774"/>
                    <a:pt x="310" y="774"/>
                    <a:pt x="310" y="774"/>
                  </a:cubicBezTo>
                  <a:cubicBezTo>
                    <a:pt x="304" y="776"/>
                    <a:pt x="304" y="776"/>
                    <a:pt x="304" y="776"/>
                  </a:cubicBezTo>
                  <a:cubicBezTo>
                    <a:pt x="301" y="777"/>
                    <a:pt x="301" y="777"/>
                    <a:pt x="301" y="777"/>
                  </a:cubicBezTo>
                  <a:cubicBezTo>
                    <a:pt x="294" y="770"/>
                    <a:pt x="294" y="770"/>
                    <a:pt x="294" y="770"/>
                  </a:cubicBezTo>
                  <a:cubicBezTo>
                    <a:pt x="277" y="756"/>
                    <a:pt x="277" y="756"/>
                    <a:pt x="277" y="756"/>
                  </a:cubicBezTo>
                  <a:cubicBezTo>
                    <a:pt x="258" y="740"/>
                    <a:pt x="258" y="740"/>
                    <a:pt x="258" y="740"/>
                  </a:cubicBezTo>
                  <a:cubicBezTo>
                    <a:pt x="247" y="731"/>
                    <a:pt x="247" y="731"/>
                    <a:pt x="247" y="731"/>
                  </a:cubicBezTo>
                  <a:cubicBezTo>
                    <a:pt x="243" y="727"/>
                    <a:pt x="243" y="727"/>
                    <a:pt x="243" y="727"/>
                  </a:cubicBezTo>
                  <a:cubicBezTo>
                    <a:pt x="238" y="723"/>
                    <a:pt x="238" y="723"/>
                    <a:pt x="238" y="723"/>
                  </a:cubicBezTo>
                  <a:cubicBezTo>
                    <a:pt x="191" y="684"/>
                    <a:pt x="191" y="684"/>
                    <a:pt x="191" y="684"/>
                  </a:cubicBezTo>
                  <a:cubicBezTo>
                    <a:pt x="186" y="679"/>
                    <a:pt x="186" y="679"/>
                    <a:pt x="186" y="679"/>
                  </a:cubicBezTo>
                  <a:cubicBezTo>
                    <a:pt x="181" y="675"/>
                    <a:pt x="181" y="675"/>
                    <a:pt x="181" y="675"/>
                  </a:cubicBezTo>
                  <a:cubicBezTo>
                    <a:pt x="153" y="652"/>
                    <a:pt x="153" y="652"/>
                    <a:pt x="153" y="652"/>
                  </a:cubicBezTo>
                  <a:cubicBezTo>
                    <a:pt x="148" y="648"/>
                    <a:pt x="148" y="648"/>
                    <a:pt x="148" y="648"/>
                  </a:cubicBezTo>
                  <a:cubicBezTo>
                    <a:pt x="143" y="643"/>
                    <a:pt x="143" y="643"/>
                    <a:pt x="143" y="643"/>
                  </a:cubicBezTo>
                  <a:cubicBezTo>
                    <a:pt x="130" y="632"/>
                    <a:pt x="130" y="632"/>
                    <a:pt x="130" y="632"/>
                  </a:cubicBezTo>
                  <a:cubicBezTo>
                    <a:pt x="125" y="628"/>
                    <a:pt x="125" y="628"/>
                    <a:pt x="125" y="628"/>
                  </a:cubicBezTo>
                  <a:cubicBezTo>
                    <a:pt x="120" y="624"/>
                    <a:pt x="120" y="624"/>
                    <a:pt x="120" y="624"/>
                  </a:cubicBezTo>
                  <a:lnTo>
                    <a:pt x="91" y="599"/>
                  </a:lnTo>
                  <a:close/>
                  <a:moveTo>
                    <a:pt x="52" y="680"/>
                  </a:moveTo>
                  <a:cubicBezTo>
                    <a:pt x="119" y="638"/>
                    <a:pt x="119" y="638"/>
                    <a:pt x="119" y="638"/>
                  </a:cubicBezTo>
                  <a:cubicBezTo>
                    <a:pt x="133" y="650"/>
                    <a:pt x="133" y="650"/>
                    <a:pt x="133" y="650"/>
                  </a:cubicBezTo>
                  <a:cubicBezTo>
                    <a:pt x="138" y="654"/>
                    <a:pt x="138" y="654"/>
                    <a:pt x="138" y="654"/>
                  </a:cubicBezTo>
                  <a:cubicBezTo>
                    <a:pt x="142" y="658"/>
                    <a:pt x="142" y="658"/>
                    <a:pt x="142" y="658"/>
                  </a:cubicBezTo>
                  <a:cubicBezTo>
                    <a:pt x="168" y="680"/>
                    <a:pt x="168" y="680"/>
                    <a:pt x="168" y="680"/>
                  </a:cubicBezTo>
                  <a:cubicBezTo>
                    <a:pt x="173" y="684"/>
                    <a:pt x="173" y="684"/>
                    <a:pt x="173" y="684"/>
                  </a:cubicBezTo>
                  <a:cubicBezTo>
                    <a:pt x="178" y="689"/>
                    <a:pt x="178" y="689"/>
                    <a:pt x="178" y="689"/>
                  </a:cubicBezTo>
                  <a:cubicBezTo>
                    <a:pt x="206" y="712"/>
                    <a:pt x="206" y="712"/>
                    <a:pt x="206" y="712"/>
                  </a:cubicBezTo>
                  <a:cubicBezTo>
                    <a:pt x="170" y="692"/>
                    <a:pt x="170" y="692"/>
                    <a:pt x="170" y="692"/>
                  </a:cubicBezTo>
                  <a:cubicBezTo>
                    <a:pt x="163" y="688"/>
                    <a:pt x="163" y="688"/>
                    <a:pt x="163" y="688"/>
                  </a:cubicBezTo>
                  <a:cubicBezTo>
                    <a:pt x="160" y="687"/>
                    <a:pt x="160" y="687"/>
                    <a:pt x="160" y="687"/>
                  </a:cubicBezTo>
                  <a:cubicBezTo>
                    <a:pt x="157" y="685"/>
                    <a:pt x="153" y="685"/>
                    <a:pt x="150" y="687"/>
                  </a:cubicBezTo>
                  <a:cubicBezTo>
                    <a:pt x="148" y="688"/>
                    <a:pt x="148" y="691"/>
                    <a:pt x="151" y="693"/>
                  </a:cubicBezTo>
                  <a:cubicBezTo>
                    <a:pt x="151" y="693"/>
                    <a:pt x="151" y="693"/>
                    <a:pt x="151" y="693"/>
                  </a:cubicBezTo>
                  <a:cubicBezTo>
                    <a:pt x="158" y="696"/>
                    <a:pt x="158" y="696"/>
                    <a:pt x="158" y="696"/>
                  </a:cubicBezTo>
                  <a:cubicBezTo>
                    <a:pt x="216" y="728"/>
                    <a:pt x="216" y="728"/>
                    <a:pt x="216" y="728"/>
                  </a:cubicBezTo>
                  <a:cubicBezTo>
                    <a:pt x="224" y="732"/>
                    <a:pt x="224" y="732"/>
                    <a:pt x="224" y="732"/>
                  </a:cubicBezTo>
                  <a:cubicBezTo>
                    <a:pt x="230" y="736"/>
                    <a:pt x="230" y="736"/>
                    <a:pt x="230" y="736"/>
                  </a:cubicBezTo>
                  <a:cubicBezTo>
                    <a:pt x="236" y="739"/>
                    <a:pt x="236" y="739"/>
                    <a:pt x="236" y="739"/>
                  </a:cubicBezTo>
                  <a:cubicBezTo>
                    <a:pt x="241" y="742"/>
                    <a:pt x="241" y="742"/>
                    <a:pt x="241" y="742"/>
                  </a:cubicBezTo>
                  <a:cubicBezTo>
                    <a:pt x="260" y="757"/>
                    <a:pt x="260" y="757"/>
                    <a:pt x="260" y="757"/>
                  </a:cubicBezTo>
                  <a:cubicBezTo>
                    <a:pt x="262" y="759"/>
                    <a:pt x="262" y="759"/>
                    <a:pt x="262" y="759"/>
                  </a:cubicBezTo>
                  <a:cubicBezTo>
                    <a:pt x="296" y="788"/>
                    <a:pt x="296" y="788"/>
                    <a:pt x="296" y="788"/>
                  </a:cubicBezTo>
                  <a:cubicBezTo>
                    <a:pt x="297" y="789"/>
                    <a:pt x="299" y="790"/>
                    <a:pt x="300" y="790"/>
                  </a:cubicBezTo>
                  <a:cubicBezTo>
                    <a:pt x="301" y="790"/>
                    <a:pt x="302" y="790"/>
                    <a:pt x="302" y="789"/>
                  </a:cubicBezTo>
                  <a:cubicBezTo>
                    <a:pt x="307" y="788"/>
                    <a:pt x="307" y="788"/>
                    <a:pt x="307" y="788"/>
                  </a:cubicBezTo>
                  <a:cubicBezTo>
                    <a:pt x="313" y="785"/>
                    <a:pt x="313" y="785"/>
                    <a:pt x="313" y="785"/>
                  </a:cubicBezTo>
                  <a:cubicBezTo>
                    <a:pt x="318" y="784"/>
                    <a:pt x="318" y="784"/>
                    <a:pt x="318" y="784"/>
                  </a:cubicBezTo>
                  <a:cubicBezTo>
                    <a:pt x="343" y="797"/>
                    <a:pt x="343" y="797"/>
                    <a:pt x="343" y="797"/>
                  </a:cubicBezTo>
                  <a:cubicBezTo>
                    <a:pt x="345" y="798"/>
                    <a:pt x="348" y="798"/>
                    <a:pt x="351" y="797"/>
                  </a:cubicBezTo>
                  <a:cubicBezTo>
                    <a:pt x="351" y="797"/>
                    <a:pt x="352" y="797"/>
                    <a:pt x="352" y="797"/>
                  </a:cubicBezTo>
                  <a:cubicBezTo>
                    <a:pt x="352" y="796"/>
                    <a:pt x="353" y="796"/>
                    <a:pt x="353" y="796"/>
                  </a:cubicBezTo>
                  <a:cubicBezTo>
                    <a:pt x="355" y="795"/>
                    <a:pt x="354" y="792"/>
                    <a:pt x="352" y="791"/>
                  </a:cubicBezTo>
                  <a:cubicBezTo>
                    <a:pt x="330" y="779"/>
                    <a:pt x="330" y="779"/>
                    <a:pt x="330" y="779"/>
                  </a:cubicBezTo>
                  <a:cubicBezTo>
                    <a:pt x="338" y="776"/>
                    <a:pt x="338" y="776"/>
                    <a:pt x="338" y="776"/>
                  </a:cubicBezTo>
                  <a:cubicBezTo>
                    <a:pt x="348" y="773"/>
                    <a:pt x="348" y="773"/>
                    <a:pt x="348" y="773"/>
                  </a:cubicBezTo>
                  <a:cubicBezTo>
                    <a:pt x="355" y="770"/>
                    <a:pt x="355" y="770"/>
                    <a:pt x="355" y="770"/>
                  </a:cubicBezTo>
                  <a:cubicBezTo>
                    <a:pt x="371" y="779"/>
                    <a:pt x="371" y="779"/>
                    <a:pt x="371" y="779"/>
                  </a:cubicBezTo>
                  <a:cubicBezTo>
                    <a:pt x="373" y="780"/>
                    <a:pt x="377" y="780"/>
                    <a:pt x="380" y="779"/>
                  </a:cubicBezTo>
                  <a:cubicBezTo>
                    <a:pt x="380" y="779"/>
                    <a:pt x="380" y="779"/>
                    <a:pt x="381" y="779"/>
                  </a:cubicBezTo>
                  <a:cubicBezTo>
                    <a:pt x="383" y="777"/>
                    <a:pt x="383" y="775"/>
                    <a:pt x="380" y="773"/>
                  </a:cubicBezTo>
                  <a:cubicBezTo>
                    <a:pt x="367" y="766"/>
                    <a:pt x="367" y="766"/>
                    <a:pt x="367" y="766"/>
                  </a:cubicBezTo>
                  <a:cubicBezTo>
                    <a:pt x="383" y="760"/>
                    <a:pt x="383" y="760"/>
                    <a:pt x="383" y="760"/>
                  </a:cubicBezTo>
                  <a:cubicBezTo>
                    <a:pt x="392" y="757"/>
                    <a:pt x="392" y="757"/>
                    <a:pt x="392" y="757"/>
                  </a:cubicBezTo>
                  <a:cubicBezTo>
                    <a:pt x="399" y="761"/>
                    <a:pt x="399" y="761"/>
                    <a:pt x="399" y="761"/>
                  </a:cubicBezTo>
                  <a:cubicBezTo>
                    <a:pt x="401" y="762"/>
                    <a:pt x="404" y="762"/>
                    <a:pt x="407" y="762"/>
                  </a:cubicBezTo>
                  <a:cubicBezTo>
                    <a:pt x="407" y="762"/>
                    <a:pt x="408" y="761"/>
                    <a:pt x="409" y="761"/>
                  </a:cubicBezTo>
                  <a:cubicBezTo>
                    <a:pt x="411" y="759"/>
                    <a:pt x="411" y="757"/>
                    <a:pt x="408" y="755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22" y="746"/>
                    <a:pt x="422" y="746"/>
                    <a:pt x="422" y="746"/>
                  </a:cubicBezTo>
                  <a:cubicBezTo>
                    <a:pt x="428" y="743"/>
                    <a:pt x="428" y="743"/>
                    <a:pt x="428" y="743"/>
                  </a:cubicBezTo>
                  <a:cubicBezTo>
                    <a:pt x="429" y="744"/>
                    <a:pt x="430" y="744"/>
                    <a:pt x="431" y="744"/>
                  </a:cubicBezTo>
                  <a:cubicBezTo>
                    <a:pt x="433" y="744"/>
                    <a:pt x="436" y="744"/>
                    <a:pt x="437" y="743"/>
                  </a:cubicBezTo>
                  <a:cubicBezTo>
                    <a:pt x="438" y="742"/>
                    <a:pt x="439" y="742"/>
                    <a:pt x="439" y="741"/>
                  </a:cubicBezTo>
                  <a:cubicBezTo>
                    <a:pt x="439" y="741"/>
                    <a:pt x="439" y="740"/>
                    <a:pt x="439" y="740"/>
                  </a:cubicBezTo>
                  <a:cubicBezTo>
                    <a:pt x="465" y="730"/>
                    <a:pt x="465" y="730"/>
                    <a:pt x="465" y="730"/>
                  </a:cubicBezTo>
                  <a:cubicBezTo>
                    <a:pt x="472" y="728"/>
                    <a:pt x="472" y="728"/>
                    <a:pt x="472" y="728"/>
                  </a:cubicBezTo>
                  <a:cubicBezTo>
                    <a:pt x="479" y="725"/>
                    <a:pt x="479" y="725"/>
                    <a:pt x="479" y="725"/>
                  </a:cubicBezTo>
                  <a:cubicBezTo>
                    <a:pt x="539" y="703"/>
                    <a:pt x="539" y="703"/>
                    <a:pt x="539" y="703"/>
                  </a:cubicBezTo>
                  <a:cubicBezTo>
                    <a:pt x="547" y="700"/>
                    <a:pt x="547" y="700"/>
                    <a:pt x="547" y="700"/>
                  </a:cubicBezTo>
                  <a:cubicBezTo>
                    <a:pt x="555" y="697"/>
                    <a:pt x="555" y="697"/>
                    <a:pt x="555" y="697"/>
                  </a:cubicBezTo>
                  <a:cubicBezTo>
                    <a:pt x="610" y="677"/>
                    <a:pt x="610" y="677"/>
                    <a:pt x="610" y="677"/>
                  </a:cubicBezTo>
                  <a:cubicBezTo>
                    <a:pt x="568" y="704"/>
                    <a:pt x="568" y="704"/>
                    <a:pt x="568" y="704"/>
                  </a:cubicBezTo>
                  <a:cubicBezTo>
                    <a:pt x="562" y="708"/>
                    <a:pt x="562" y="708"/>
                    <a:pt x="562" y="708"/>
                  </a:cubicBezTo>
                  <a:cubicBezTo>
                    <a:pt x="556" y="712"/>
                    <a:pt x="556" y="712"/>
                    <a:pt x="556" y="712"/>
                  </a:cubicBezTo>
                  <a:cubicBezTo>
                    <a:pt x="504" y="744"/>
                    <a:pt x="504" y="744"/>
                    <a:pt x="504" y="744"/>
                  </a:cubicBezTo>
                  <a:cubicBezTo>
                    <a:pt x="499" y="748"/>
                    <a:pt x="499" y="748"/>
                    <a:pt x="499" y="748"/>
                  </a:cubicBezTo>
                  <a:cubicBezTo>
                    <a:pt x="493" y="751"/>
                    <a:pt x="493" y="751"/>
                    <a:pt x="493" y="751"/>
                  </a:cubicBezTo>
                  <a:cubicBezTo>
                    <a:pt x="478" y="761"/>
                    <a:pt x="478" y="761"/>
                    <a:pt x="478" y="761"/>
                  </a:cubicBezTo>
                  <a:cubicBezTo>
                    <a:pt x="472" y="764"/>
                    <a:pt x="472" y="764"/>
                    <a:pt x="472" y="764"/>
                  </a:cubicBezTo>
                  <a:cubicBezTo>
                    <a:pt x="466" y="768"/>
                    <a:pt x="466" y="768"/>
                    <a:pt x="466" y="768"/>
                  </a:cubicBezTo>
                  <a:cubicBezTo>
                    <a:pt x="444" y="782"/>
                    <a:pt x="444" y="782"/>
                    <a:pt x="444" y="782"/>
                  </a:cubicBezTo>
                  <a:cubicBezTo>
                    <a:pt x="436" y="787"/>
                    <a:pt x="436" y="787"/>
                    <a:pt x="436" y="787"/>
                  </a:cubicBezTo>
                  <a:cubicBezTo>
                    <a:pt x="417" y="799"/>
                    <a:pt x="417" y="799"/>
                    <a:pt x="417" y="799"/>
                  </a:cubicBezTo>
                  <a:cubicBezTo>
                    <a:pt x="410" y="804"/>
                    <a:pt x="410" y="804"/>
                    <a:pt x="410" y="804"/>
                  </a:cubicBezTo>
                  <a:cubicBezTo>
                    <a:pt x="391" y="816"/>
                    <a:pt x="391" y="816"/>
                    <a:pt x="391" y="816"/>
                  </a:cubicBezTo>
                  <a:cubicBezTo>
                    <a:pt x="390" y="816"/>
                    <a:pt x="390" y="816"/>
                    <a:pt x="390" y="816"/>
                  </a:cubicBezTo>
                  <a:cubicBezTo>
                    <a:pt x="383" y="821"/>
                    <a:pt x="383" y="821"/>
                    <a:pt x="383" y="821"/>
                  </a:cubicBezTo>
                  <a:cubicBezTo>
                    <a:pt x="383" y="821"/>
                    <a:pt x="383" y="821"/>
                    <a:pt x="383" y="821"/>
                  </a:cubicBezTo>
                  <a:cubicBezTo>
                    <a:pt x="366" y="832"/>
                    <a:pt x="366" y="832"/>
                    <a:pt x="366" y="832"/>
                  </a:cubicBezTo>
                  <a:cubicBezTo>
                    <a:pt x="363" y="834"/>
                    <a:pt x="363" y="834"/>
                    <a:pt x="363" y="834"/>
                  </a:cubicBezTo>
                  <a:cubicBezTo>
                    <a:pt x="358" y="837"/>
                    <a:pt x="358" y="837"/>
                    <a:pt x="358" y="837"/>
                  </a:cubicBezTo>
                  <a:cubicBezTo>
                    <a:pt x="356" y="838"/>
                    <a:pt x="356" y="838"/>
                    <a:pt x="356" y="838"/>
                  </a:cubicBezTo>
                  <a:cubicBezTo>
                    <a:pt x="356" y="838"/>
                    <a:pt x="356" y="838"/>
                    <a:pt x="356" y="838"/>
                  </a:cubicBezTo>
                  <a:cubicBezTo>
                    <a:pt x="350" y="842"/>
                    <a:pt x="350" y="842"/>
                    <a:pt x="350" y="842"/>
                  </a:cubicBezTo>
                  <a:cubicBezTo>
                    <a:pt x="292" y="810"/>
                    <a:pt x="292" y="810"/>
                    <a:pt x="292" y="810"/>
                  </a:cubicBezTo>
                  <a:cubicBezTo>
                    <a:pt x="263" y="795"/>
                    <a:pt x="263" y="795"/>
                    <a:pt x="263" y="795"/>
                  </a:cubicBezTo>
                  <a:cubicBezTo>
                    <a:pt x="236" y="780"/>
                    <a:pt x="236" y="780"/>
                    <a:pt x="236" y="780"/>
                  </a:cubicBezTo>
                  <a:cubicBezTo>
                    <a:pt x="202" y="762"/>
                    <a:pt x="202" y="762"/>
                    <a:pt x="202" y="762"/>
                  </a:cubicBezTo>
                  <a:cubicBezTo>
                    <a:pt x="196" y="759"/>
                    <a:pt x="196" y="759"/>
                    <a:pt x="196" y="759"/>
                  </a:cubicBezTo>
                  <a:cubicBezTo>
                    <a:pt x="190" y="755"/>
                    <a:pt x="190" y="755"/>
                    <a:pt x="190" y="755"/>
                  </a:cubicBezTo>
                  <a:cubicBezTo>
                    <a:pt x="113" y="713"/>
                    <a:pt x="113" y="713"/>
                    <a:pt x="113" y="713"/>
                  </a:cubicBezTo>
                  <a:cubicBezTo>
                    <a:pt x="106" y="710"/>
                    <a:pt x="106" y="710"/>
                    <a:pt x="106" y="710"/>
                  </a:cubicBezTo>
                  <a:cubicBezTo>
                    <a:pt x="99" y="706"/>
                    <a:pt x="99" y="706"/>
                    <a:pt x="99" y="706"/>
                  </a:cubicBezTo>
                  <a:cubicBezTo>
                    <a:pt x="81" y="696"/>
                    <a:pt x="81" y="696"/>
                    <a:pt x="81" y="696"/>
                  </a:cubicBezTo>
                  <a:cubicBezTo>
                    <a:pt x="75" y="693"/>
                    <a:pt x="75" y="693"/>
                    <a:pt x="75" y="693"/>
                  </a:cubicBezTo>
                  <a:cubicBezTo>
                    <a:pt x="69" y="690"/>
                    <a:pt x="69" y="690"/>
                    <a:pt x="69" y="690"/>
                  </a:cubicBezTo>
                  <a:lnTo>
                    <a:pt x="52" y="680"/>
                  </a:lnTo>
                  <a:close/>
                  <a:moveTo>
                    <a:pt x="31" y="738"/>
                  </a:moveTo>
                  <a:cubicBezTo>
                    <a:pt x="24" y="734"/>
                    <a:pt x="24" y="734"/>
                    <a:pt x="24" y="734"/>
                  </a:cubicBezTo>
                  <a:cubicBezTo>
                    <a:pt x="22" y="733"/>
                    <a:pt x="22" y="733"/>
                    <a:pt x="22" y="733"/>
                  </a:cubicBezTo>
                  <a:cubicBezTo>
                    <a:pt x="70" y="704"/>
                    <a:pt x="70" y="704"/>
                    <a:pt x="70" y="704"/>
                  </a:cubicBezTo>
                  <a:cubicBezTo>
                    <a:pt x="84" y="711"/>
                    <a:pt x="84" y="711"/>
                    <a:pt x="84" y="711"/>
                  </a:cubicBezTo>
                  <a:cubicBezTo>
                    <a:pt x="91" y="715"/>
                    <a:pt x="91" y="715"/>
                    <a:pt x="91" y="715"/>
                  </a:cubicBezTo>
                  <a:cubicBezTo>
                    <a:pt x="98" y="719"/>
                    <a:pt x="98" y="719"/>
                    <a:pt x="98" y="719"/>
                  </a:cubicBezTo>
                  <a:cubicBezTo>
                    <a:pt x="179" y="763"/>
                    <a:pt x="179" y="763"/>
                    <a:pt x="179" y="763"/>
                  </a:cubicBezTo>
                  <a:cubicBezTo>
                    <a:pt x="185" y="766"/>
                    <a:pt x="185" y="766"/>
                    <a:pt x="185" y="766"/>
                  </a:cubicBezTo>
                  <a:cubicBezTo>
                    <a:pt x="191" y="770"/>
                    <a:pt x="191" y="770"/>
                    <a:pt x="191" y="770"/>
                  </a:cubicBezTo>
                  <a:cubicBezTo>
                    <a:pt x="304" y="831"/>
                    <a:pt x="304" y="831"/>
                    <a:pt x="304" y="831"/>
                  </a:cubicBezTo>
                  <a:cubicBezTo>
                    <a:pt x="347" y="854"/>
                    <a:pt x="347" y="854"/>
                    <a:pt x="347" y="854"/>
                  </a:cubicBezTo>
                  <a:cubicBezTo>
                    <a:pt x="348" y="855"/>
                    <a:pt x="349" y="855"/>
                    <a:pt x="350" y="855"/>
                  </a:cubicBezTo>
                  <a:cubicBezTo>
                    <a:pt x="350" y="855"/>
                    <a:pt x="351" y="855"/>
                    <a:pt x="351" y="855"/>
                  </a:cubicBezTo>
                  <a:cubicBezTo>
                    <a:pt x="352" y="855"/>
                    <a:pt x="352" y="854"/>
                    <a:pt x="353" y="854"/>
                  </a:cubicBezTo>
                  <a:cubicBezTo>
                    <a:pt x="359" y="850"/>
                    <a:pt x="359" y="850"/>
                    <a:pt x="359" y="850"/>
                  </a:cubicBezTo>
                  <a:cubicBezTo>
                    <a:pt x="368" y="845"/>
                    <a:pt x="368" y="845"/>
                    <a:pt x="368" y="845"/>
                  </a:cubicBezTo>
                  <a:cubicBezTo>
                    <a:pt x="368" y="844"/>
                    <a:pt x="368" y="844"/>
                    <a:pt x="368" y="844"/>
                  </a:cubicBezTo>
                  <a:cubicBezTo>
                    <a:pt x="376" y="839"/>
                    <a:pt x="376" y="839"/>
                    <a:pt x="376" y="839"/>
                  </a:cubicBezTo>
                  <a:cubicBezTo>
                    <a:pt x="393" y="829"/>
                    <a:pt x="393" y="829"/>
                    <a:pt x="393" y="829"/>
                  </a:cubicBezTo>
                  <a:cubicBezTo>
                    <a:pt x="401" y="824"/>
                    <a:pt x="401" y="824"/>
                    <a:pt x="401" y="824"/>
                  </a:cubicBezTo>
                  <a:cubicBezTo>
                    <a:pt x="479" y="774"/>
                    <a:pt x="479" y="774"/>
                    <a:pt x="479" y="774"/>
                  </a:cubicBezTo>
                  <a:cubicBezTo>
                    <a:pt x="485" y="771"/>
                    <a:pt x="485" y="771"/>
                    <a:pt x="485" y="771"/>
                  </a:cubicBezTo>
                  <a:cubicBezTo>
                    <a:pt x="491" y="767"/>
                    <a:pt x="491" y="767"/>
                    <a:pt x="491" y="767"/>
                  </a:cubicBezTo>
                  <a:cubicBezTo>
                    <a:pt x="504" y="759"/>
                    <a:pt x="504" y="759"/>
                    <a:pt x="504" y="759"/>
                  </a:cubicBezTo>
                  <a:cubicBezTo>
                    <a:pt x="509" y="755"/>
                    <a:pt x="509" y="755"/>
                    <a:pt x="509" y="755"/>
                  </a:cubicBezTo>
                  <a:cubicBezTo>
                    <a:pt x="515" y="752"/>
                    <a:pt x="515" y="752"/>
                    <a:pt x="515" y="752"/>
                  </a:cubicBezTo>
                  <a:cubicBezTo>
                    <a:pt x="568" y="718"/>
                    <a:pt x="568" y="718"/>
                    <a:pt x="568" y="718"/>
                  </a:cubicBezTo>
                  <a:cubicBezTo>
                    <a:pt x="599" y="734"/>
                    <a:pt x="599" y="734"/>
                    <a:pt x="599" y="734"/>
                  </a:cubicBezTo>
                  <a:cubicBezTo>
                    <a:pt x="540" y="771"/>
                    <a:pt x="540" y="771"/>
                    <a:pt x="540" y="771"/>
                  </a:cubicBezTo>
                  <a:cubicBezTo>
                    <a:pt x="535" y="774"/>
                    <a:pt x="535" y="774"/>
                    <a:pt x="535" y="774"/>
                  </a:cubicBezTo>
                  <a:cubicBezTo>
                    <a:pt x="529" y="778"/>
                    <a:pt x="529" y="778"/>
                    <a:pt x="529" y="778"/>
                  </a:cubicBezTo>
                  <a:cubicBezTo>
                    <a:pt x="522" y="782"/>
                    <a:pt x="522" y="782"/>
                    <a:pt x="522" y="782"/>
                  </a:cubicBezTo>
                  <a:cubicBezTo>
                    <a:pt x="516" y="786"/>
                    <a:pt x="516" y="786"/>
                    <a:pt x="516" y="786"/>
                  </a:cubicBezTo>
                  <a:cubicBezTo>
                    <a:pt x="510" y="790"/>
                    <a:pt x="510" y="790"/>
                    <a:pt x="510" y="790"/>
                  </a:cubicBezTo>
                  <a:cubicBezTo>
                    <a:pt x="426" y="842"/>
                    <a:pt x="426" y="842"/>
                    <a:pt x="426" y="842"/>
                  </a:cubicBezTo>
                  <a:cubicBezTo>
                    <a:pt x="418" y="847"/>
                    <a:pt x="418" y="847"/>
                    <a:pt x="418" y="847"/>
                  </a:cubicBezTo>
                  <a:cubicBezTo>
                    <a:pt x="401" y="858"/>
                    <a:pt x="401" y="858"/>
                    <a:pt x="401" y="858"/>
                  </a:cubicBezTo>
                  <a:cubicBezTo>
                    <a:pt x="398" y="860"/>
                    <a:pt x="398" y="860"/>
                    <a:pt x="398" y="860"/>
                  </a:cubicBezTo>
                  <a:cubicBezTo>
                    <a:pt x="393" y="863"/>
                    <a:pt x="393" y="863"/>
                    <a:pt x="393" y="863"/>
                  </a:cubicBezTo>
                  <a:cubicBezTo>
                    <a:pt x="390" y="865"/>
                    <a:pt x="390" y="865"/>
                    <a:pt x="390" y="865"/>
                  </a:cubicBezTo>
                  <a:cubicBezTo>
                    <a:pt x="376" y="873"/>
                    <a:pt x="376" y="873"/>
                    <a:pt x="376" y="873"/>
                  </a:cubicBezTo>
                  <a:cubicBezTo>
                    <a:pt x="371" y="877"/>
                    <a:pt x="371" y="877"/>
                    <a:pt x="371" y="877"/>
                  </a:cubicBezTo>
                  <a:cubicBezTo>
                    <a:pt x="368" y="879"/>
                    <a:pt x="368" y="879"/>
                    <a:pt x="368" y="879"/>
                  </a:cubicBezTo>
                  <a:cubicBezTo>
                    <a:pt x="362" y="882"/>
                    <a:pt x="362" y="882"/>
                    <a:pt x="362" y="882"/>
                  </a:cubicBezTo>
                  <a:cubicBezTo>
                    <a:pt x="351" y="889"/>
                    <a:pt x="351" y="889"/>
                    <a:pt x="351" y="889"/>
                  </a:cubicBezTo>
                  <a:cubicBezTo>
                    <a:pt x="344" y="894"/>
                    <a:pt x="344" y="894"/>
                    <a:pt x="344" y="894"/>
                  </a:cubicBezTo>
                  <a:cubicBezTo>
                    <a:pt x="343" y="894"/>
                    <a:pt x="343" y="894"/>
                    <a:pt x="343" y="894"/>
                  </a:cubicBezTo>
                  <a:cubicBezTo>
                    <a:pt x="336" y="899"/>
                    <a:pt x="336" y="899"/>
                    <a:pt x="336" y="899"/>
                  </a:cubicBezTo>
                  <a:cubicBezTo>
                    <a:pt x="274" y="866"/>
                    <a:pt x="274" y="866"/>
                    <a:pt x="274" y="866"/>
                  </a:cubicBezTo>
                  <a:cubicBezTo>
                    <a:pt x="248" y="852"/>
                    <a:pt x="248" y="852"/>
                    <a:pt x="248" y="852"/>
                  </a:cubicBezTo>
                  <a:cubicBezTo>
                    <a:pt x="223" y="839"/>
                    <a:pt x="223" y="839"/>
                    <a:pt x="223" y="839"/>
                  </a:cubicBezTo>
                  <a:cubicBezTo>
                    <a:pt x="148" y="799"/>
                    <a:pt x="148" y="799"/>
                    <a:pt x="148" y="799"/>
                  </a:cubicBezTo>
                  <a:cubicBezTo>
                    <a:pt x="142" y="796"/>
                    <a:pt x="142" y="796"/>
                    <a:pt x="142" y="796"/>
                  </a:cubicBezTo>
                  <a:cubicBezTo>
                    <a:pt x="136" y="793"/>
                    <a:pt x="136" y="793"/>
                    <a:pt x="136" y="793"/>
                  </a:cubicBezTo>
                  <a:cubicBezTo>
                    <a:pt x="38" y="742"/>
                    <a:pt x="38" y="742"/>
                    <a:pt x="38" y="742"/>
                  </a:cubicBezTo>
                  <a:lnTo>
                    <a:pt x="31" y="738"/>
                  </a:lnTo>
                  <a:close/>
                  <a:moveTo>
                    <a:pt x="91" y="783"/>
                  </a:moveTo>
                  <a:cubicBezTo>
                    <a:pt x="124" y="801"/>
                    <a:pt x="124" y="801"/>
                    <a:pt x="124" y="801"/>
                  </a:cubicBezTo>
                  <a:cubicBezTo>
                    <a:pt x="130" y="804"/>
                    <a:pt x="130" y="804"/>
                    <a:pt x="130" y="804"/>
                  </a:cubicBezTo>
                  <a:cubicBezTo>
                    <a:pt x="136" y="807"/>
                    <a:pt x="136" y="807"/>
                    <a:pt x="136" y="807"/>
                  </a:cubicBezTo>
                  <a:cubicBezTo>
                    <a:pt x="285" y="886"/>
                    <a:pt x="285" y="886"/>
                    <a:pt x="285" y="886"/>
                  </a:cubicBezTo>
                  <a:cubicBezTo>
                    <a:pt x="320" y="911"/>
                    <a:pt x="320" y="911"/>
                    <a:pt x="320" y="911"/>
                  </a:cubicBezTo>
                  <a:cubicBezTo>
                    <a:pt x="322" y="913"/>
                    <a:pt x="327" y="914"/>
                    <a:pt x="329" y="913"/>
                  </a:cubicBezTo>
                  <a:cubicBezTo>
                    <a:pt x="331" y="912"/>
                    <a:pt x="332" y="911"/>
                    <a:pt x="331" y="910"/>
                  </a:cubicBezTo>
                  <a:cubicBezTo>
                    <a:pt x="333" y="911"/>
                    <a:pt x="333" y="911"/>
                    <a:pt x="333" y="911"/>
                  </a:cubicBezTo>
                  <a:cubicBezTo>
                    <a:pt x="334" y="911"/>
                    <a:pt x="335" y="912"/>
                    <a:pt x="336" y="912"/>
                  </a:cubicBezTo>
                  <a:cubicBezTo>
                    <a:pt x="337" y="912"/>
                    <a:pt x="338" y="911"/>
                    <a:pt x="339" y="911"/>
                  </a:cubicBezTo>
                  <a:cubicBezTo>
                    <a:pt x="348" y="905"/>
                    <a:pt x="348" y="905"/>
                    <a:pt x="348" y="905"/>
                  </a:cubicBezTo>
                  <a:cubicBezTo>
                    <a:pt x="354" y="901"/>
                    <a:pt x="354" y="901"/>
                    <a:pt x="354" y="901"/>
                  </a:cubicBezTo>
                  <a:cubicBezTo>
                    <a:pt x="356" y="902"/>
                    <a:pt x="358" y="902"/>
                    <a:pt x="359" y="901"/>
                  </a:cubicBezTo>
                  <a:cubicBezTo>
                    <a:pt x="360" y="901"/>
                    <a:pt x="360" y="901"/>
                    <a:pt x="360" y="901"/>
                  </a:cubicBezTo>
                  <a:cubicBezTo>
                    <a:pt x="362" y="900"/>
                    <a:pt x="362" y="899"/>
                    <a:pt x="361" y="897"/>
                  </a:cubicBezTo>
                  <a:cubicBezTo>
                    <a:pt x="375" y="888"/>
                    <a:pt x="375" y="888"/>
                    <a:pt x="375" y="888"/>
                  </a:cubicBezTo>
                  <a:cubicBezTo>
                    <a:pt x="379" y="886"/>
                    <a:pt x="379" y="886"/>
                    <a:pt x="379" y="886"/>
                  </a:cubicBezTo>
                  <a:cubicBezTo>
                    <a:pt x="381" y="888"/>
                    <a:pt x="381" y="888"/>
                    <a:pt x="381" y="888"/>
                  </a:cubicBezTo>
                  <a:cubicBezTo>
                    <a:pt x="383" y="890"/>
                    <a:pt x="388" y="891"/>
                    <a:pt x="390" y="890"/>
                  </a:cubicBezTo>
                  <a:cubicBezTo>
                    <a:pt x="392" y="889"/>
                    <a:pt x="392" y="888"/>
                    <a:pt x="392" y="887"/>
                  </a:cubicBezTo>
                  <a:cubicBezTo>
                    <a:pt x="393" y="886"/>
                    <a:pt x="392" y="885"/>
                    <a:pt x="391" y="884"/>
                  </a:cubicBezTo>
                  <a:cubicBezTo>
                    <a:pt x="387" y="881"/>
                    <a:pt x="387" y="881"/>
                    <a:pt x="387" y="881"/>
                  </a:cubicBezTo>
                  <a:cubicBezTo>
                    <a:pt x="402" y="871"/>
                    <a:pt x="402" y="871"/>
                    <a:pt x="402" y="871"/>
                  </a:cubicBezTo>
                  <a:cubicBezTo>
                    <a:pt x="404" y="871"/>
                    <a:pt x="404" y="871"/>
                    <a:pt x="404" y="871"/>
                  </a:cubicBezTo>
                  <a:cubicBezTo>
                    <a:pt x="410" y="875"/>
                    <a:pt x="410" y="875"/>
                    <a:pt x="410" y="875"/>
                  </a:cubicBezTo>
                  <a:cubicBezTo>
                    <a:pt x="411" y="876"/>
                    <a:pt x="411" y="876"/>
                    <a:pt x="411" y="876"/>
                  </a:cubicBezTo>
                  <a:cubicBezTo>
                    <a:pt x="412" y="877"/>
                    <a:pt x="414" y="878"/>
                    <a:pt x="416" y="878"/>
                  </a:cubicBezTo>
                  <a:cubicBezTo>
                    <a:pt x="418" y="879"/>
                    <a:pt x="420" y="878"/>
                    <a:pt x="421" y="878"/>
                  </a:cubicBezTo>
                  <a:cubicBezTo>
                    <a:pt x="424" y="877"/>
                    <a:pt x="424" y="874"/>
                    <a:pt x="421" y="873"/>
                  </a:cubicBezTo>
                  <a:cubicBezTo>
                    <a:pt x="415" y="868"/>
                    <a:pt x="415" y="868"/>
                    <a:pt x="415" y="868"/>
                  </a:cubicBezTo>
                  <a:cubicBezTo>
                    <a:pt x="412" y="865"/>
                    <a:pt x="412" y="865"/>
                    <a:pt x="412" y="865"/>
                  </a:cubicBezTo>
                  <a:cubicBezTo>
                    <a:pt x="429" y="855"/>
                    <a:pt x="429" y="855"/>
                    <a:pt x="429" y="855"/>
                  </a:cubicBezTo>
                  <a:cubicBezTo>
                    <a:pt x="442" y="865"/>
                    <a:pt x="442" y="865"/>
                    <a:pt x="442" y="865"/>
                  </a:cubicBezTo>
                  <a:cubicBezTo>
                    <a:pt x="444" y="867"/>
                    <a:pt x="449" y="867"/>
                    <a:pt x="451" y="866"/>
                  </a:cubicBezTo>
                  <a:cubicBezTo>
                    <a:pt x="454" y="865"/>
                    <a:pt x="454" y="863"/>
                    <a:pt x="452" y="861"/>
                  </a:cubicBezTo>
                  <a:cubicBezTo>
                    <a:pt x="437" y="850"/>
                    <a:pt x="437" y="850"/>
                    <a:pt x="437" y="850"/>
                  </a:cubicBezTo>
                  <a:cubicBezTo>
                    <a:pt x="523" y="796"/>
                    <a:pt x="523" y="796"/>
                    <a:pt x="523" y="796"/>
                  </a:cubicBezTo>
                  <a:cubicBezTo>
                    <a:pt x="529" y="792"/>
                    <a:pt x="529" y="792"/>
                    <a:pt x="529" y="792"/>
                  </a:cubicBezTo>
                  <a:cubicBezTo>
                    <a:pt x="535" y="789"/>
                    <a:pt x="535" y="789"/>
                    <a:pt x="535" y="789"/>
                  </a:cubicBezTo>
                  <a:cubicBezTo>
                    <a:pt x="540" y="785"/>
                    <a:pt x="540" y="785"/>
                    <a:pt x="540" y="785"/>
                  </a:cubicBezTo>
                  <a:cubicBezTo>
                    <a:pt x="563" y="803"/>
                    <a:pt x="563" y="803"/>
                    <a:pt x="563" y="803"/>
                  </a:cubicBezTo>
                  <a:cubicBezTo>
                    <a:pt x="591" y="823"/>
                    <a:pt x="591" y="823"/>
                    <a:pt x="591" y="823"/>
                  </a:cubicBezTo>
                  <a:cubicBezTo>
                    <a:pt x="618" y="844"/>
                    <a:pt x="618" y="844"/>
                    <a:pt x="618" y="844"/>
                  </a:cubicBezTo>
                  <a:cubicBezTo>
                    <a:pt x="618" y="844"/>
                    <a:pt x="618" y="844"/>
                    <a:pt x="618" y="844"/>
                  </a:cubicBezTo>
                  <a:cubicBezTo>
                    <a:pt x="475" y="898"/>
                    <a:pt x="475" y="898"/>
                    <a:pt x="475" y="898"/>
                  </a:cubicBezTo>
                  <a:cubicBezTo>
                    <a:pt x="464" y="902"/>
                    <a:pt x="464" y="902"/>
                    <a:pt x="464" y="902"/>
                  </a:cubicBezTo>
                  <a:cubicBezTo>
                    <a:pt x="440" y="911"/>
                    <a:pt x="440" y="911"/>
                    <a:pt x="440" y="911"/>
                  </a:cubicBezTo>
                  <a:cubicBezTo>
                    <a:pt x="429" y="915"/>
                    <a:pt x="429" y="915"/>
                    <a:pt x="429" y="915"/>
                  </a:cubicBezTo>
                  <a:cubicBezTo>
                    <a:pt x="406" y="924"/>
                    <a:pt x="406" y="924"/>
                    <a:pt x="406" y="924"/>
                  </a:cubicBezTo>
                  <a:cubicBezTo>
                    <a:pt x="394" y="928"/>
                    <a:pt x="394" y="928"/>
                    <a:pt x="394" y="928"/>
                  </a:cubicBezTo>
                  <a:cubicBezTo>
                    <a:pt x="371" y="937"/>
                    <a:pt x="371" y="937"/>
                    <a:pt x="371" y="937"/>
                  </a:cubicBezTo>
                  <a:cubicBezTo>
                    <a:pt x="359" y="942"/>
                    <a:pt x="359" y="942"/>
                    <a:pt x="359" y="942"/>
                  </a:cubicBezTo>
                  <a:cubicBezTo>
                    <a:pt x="336" y="950"/>
                    <a:pt x="336" y="950"/>
                    <a:pt x="336" y="950"/>
                  </a:cubicBezTo>
                  <a:cubicBezTo>
                    <a:pt x="325" y="955"/>
                    <a:pt x="325" y="955"/>
                    <a:pt x="325" y="955"/>
                  </a:cubicBezTo>
                  <a:cubicBezTo>
                    <a:pt x="323" y="955"/>
                    <a:pt x="323" y="955"/>
                    <a:pt x="323" y="955"/>
                  </a:cubicBezTo>
                  <a:cubicBezTo>
                    <a:pt x="315" y="950"/>
                    <a:pt x="315" y="950"/>
                    <a:pt x="315" y="950"/>
                  </a:cubicBezTo>
                  <a:cubicBezTo>
                    <a:pt x="275" y="920"/>
                    <a:pt x="275" y="920"/>
                    <a:pt x="275" y="920"/>
                  </a:cubicBezTo>
                  <a:cubicBezTo>
                    <a:pt x="129" y="812"/>
                    <a:pt x="129" y="812"/>
                    <a:pt x="129" y="812"/>
                  </a:cubicBezTo>
                  <a:cubicBezTo>
                    <a:pt x="124" y="808"/>
                    <a:pt x="124" y="808"/>
                    <a:pt x="124" y="808"/>
                  </a:cubicBezTo>
                  <a:cubicBezTo>
                    <a:pt x="119" y="804"/>
                    <a:pt x="119" y="804"/>
                    <a:pt x="119" y="804"/>
                  </a:cubicBezTo>
                  <a:lnTo>
                    <a:pt x="91" y="783"/>
                  </a:lnTo>
                  <a:close/>
                  <a:moveTo>
                    <a:pt x="380" y="1020"/>
                  </a:moveTo>
                  <a:cubicBezTo>
                    <a:pt x="59" y="860"/>
                    <a:pt x="59" y="860"/>
                    <a:pt x="59" y="860"/>
                  </a:cubicBezTo>
                  <a:cubicBezTo>
                    <a:pt x="119" y="819"/>
                    <a:pt x="119" y="819"/>
                    <a:pt x="119" y="819"/>
                  </a:cubicBezTo>
                  <a:cubicBezTo>
                    <a:pt x="215" y="890"/>
                    <a:pt x="215" y="890"/>
                    <a:pt x="215" y="890"/>
                  </a:cubicBezTo>
                  <a:cubicBezTo>
                    <a:pt x="167" y="867"/>
                    <a:pt x="167" y="867"/>
                    <a:pt x="167" y="867"/>
                  </a:cubicBezTo>
                  <a:cubicBezTo>
                    <a:pt x="164" y="865"/>
                    <a:pt x="160" y="865"/>
                    <a:pt x="158" y="867"/>
                  </a:cubicBezTo>
                  <a:cubicBezTo>
                    <a:pt x="156" y="868"/>
                    <a:pt x="156" y="871"/>
                    <a:pt x="159" y="872"/>
                  </a:cubicBezTo>
                  <a:cubicBezTo>
                    <a:pt x="255" y="920"/>
                    <a:pt x="255" y="920"/>
                    <a:pt x="255" y="920"/>
                  </a:cubicBezTo>
                  <a:cubicBezTo>
                    <a:pt x="318" y="967"/>
                    <a:pt x="318" y="967"/>
                    <a:pt x="318" y="967"/>
                  </a:cubicBezTo>
                  <a:cubicBezTo>
                    <a:pt x="319" y="968"/>
                    <a:pt x="320" y="968"/>
                    <a:pt x="322" y="968"/>
                  </a:cubicBezTo>
                  <a:cubicBezTo>
                    <a:pt x="322" y="968"/>
                    <a:pt x="323" y="968"/>
                    <a:pt x="324" y="968"/>
                  </a:cubicBezTo>
                  <a:cubicBezTo>
                    <a:pt x="339" y="962"/>
                    <a:pt x="339" y="962"/>
                    <a:pt x="339" y="962"/>
                  </a:cubicBezTo>
                  <a:cubicBezTo>
                    <a:pt x="366" y="975"/>
                    <a:pt x="366" y="975"/>
                    <a:pt x="366" y="975"/>
                  </a:cubicBezTo>
                  <a:cubicBezTo>
                    <a:pt x="369" y="977"/>
                    <a:pt x="373" y="977"/>
                    <a:pt x="376" y="975"/>
                  </a:cubicBezTo>
                  <a:cubicBezTo>
                    <a:pt x="378" y="973"/>
                    <a:pt x="377" y="971"/>
                    <a:pt x="374" y="970"/>
                  </a:cubicBezTo>
                  <a:cubicBezTo>
                    <a:pt x="351" y="958"/>
                    <a:pt x="351" y="958"/>
                    <a:pt x="351" y="958"/>
                  </a:cubicBezTo>
                  <a:cubicBezTo>
                    <a:pt x="374" y="949"/>
                    <a:pt x="374" y="949"/>
                    <a:pt x="374" y="949"/>
                  </a:cubicBezTo>
                  <a:cubicBezTo>
                    <a:pt x="392" y="958"/>
                    <a:pt x="392" y="958"/>
                    <a:pt x="392" y="958"/>
                  </a:cubicBezTo>
                  <a:cubicBezTo>
                    <a:pt x="395" y="959"/>
                    <a:pt x="399" y="959"/>
                    <a:pt x="401" y="957"/>
                  </a:cubicBezTo>
                  <a:cubicBezTo>
                    <a:pt x="404" y="956"/>
                    <a:pt x="403" y="953"/>
                    <a:pt x="400" y="952"/>
                  </a:cubicBezTo>
                  <a:cubicBezTo>
                    <a:pt x="385" y="945"/>
                    <a:pt x="385" y="945"/>
                    <a:pt x="385" y="945"/>
                  </a:cubicBezTo>
                  <a:cubicBezTo>
                    <a:pt x="409" y="936"/>
                    <a:pt x="409" y="936"/>
                    <a:pt x="409" y="936"/>
                  </a:cubicBezTo>
                  <a:cubicBezTo>
                    <a:pt x="418" y="940"/>
                    <a:pt x="418" y="940"/>
                    <a:pt x="418" y="940"/>
                  </a:cubicBezTo>
                  <a:cubicBezTo>
                    <a:pt x="420" y="941"/>
                    <a:pt x="425" y="941"/>
                    <a:pt x="427" y="940"/>
                  </a:cubicBezTo>
                  <a:cubicBezTo>
                    <a:pt x="429" y="938"/>
                    <a:pt x="429" y="936"/>
                    <a:pt x="426" y="934"/>
                  </a:cubicBezTo>
                  <a:cubicBezTo>
                    <a:pt x="420" y="931"/>
                    <a:pt x="420" y="931"/>
                    <a:pt x="420" y="931"/>
                  </a:cubicBezTo>
                  <a:cubicBezTo>
                    <a:pt x="444" y="922"/>
                    <a:pt x="444" y="922"/>
                    <a:pt x="444" y="922"/>
                  </a:cubicBezTo>
                  <a:cubicBezTo>
                    <a:pt x="447" y="924"/>
                    <a:pt x="451" y="924"/>
                    <a:pt x="453" y="922"/>
                  </a:cubicBezTo>
                  <a:cubicBezTo>
                    <a:pt x="454" y="921"/>
                    <a:pt x="455" y="920"/>
                    <a:pt x="454" y="919"/>
                  </a:cubicBezTo>
                  <a:cubicBezTo>
                    <a:pt x="619" y="856"/>
                    <a:pt x="619" y="856"/>
                    <a:pt x="619" y="856"/>
                  </a:cubicBezTo>
                  <a:lnTo>
                    <a:pt x="380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2E78E5A4-7BA8-478C-970F-90DF50964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638" y="3306763"/>
              <a:ext cx="244475" cy="130175"/>
            </a:xfrm>
            <a:custGeom>
              <a:avLst/>
              <a:gdLst>
                <a:gd name="T0" fmla="*/ 54 w 218"/>
                <a:gd name="T1" fmla="*/ 33 h 114"/>
                <a:gd name="T2" fmla="*/ 60 w 218"/>
                <a:gd name="T3" fmla="*/ 37 h 114"/>
                <a:gd name="T4" fmla="*/ 84 w 218"/>
                <a:gd name="T5" fmla="*/ 49 h 114"/>
                <a:gd name="T6" fmla="*/ 135 w 218"/>
                <a:gd name="T7" fmla="*/ 76 h 114"/>
                <a:gd name="T8" fmla="*/ 181 w 218"/>
                <a:gd name="T9" fmla="*/ 100 h 114"/>
                <a:gd name="T10" fmla="*/ 206 w 218"/>
                <a:gd name="T11" fmla="*/ 113 h 114"/>
                <a:gd name="T12" fmla="*/ 209 w 218"/>
                <a:gd name="T13" fmla="*/ 114 h 114"/>
                <a:gd name="T14" fmla="*/ 215 w 218"/>
                <a:gd name="T15" fmla="*/ 113 h 114"/>
                <a:gd name="T16" fmla="*/ 216 w 218"/>
                <a:gd name="T17" fmla="*/ 113 h 114"/>
                <a:gd name="T18" fmla="*/ 215 w 218"/>
                <a:gd name="T19" fmla="*/ 108 h 114"/>
                <a:gd name="T20" fmla="*/ 195 w 218"/>
                <a:gd name="T21" fmla="*/ 98 h 114"/>
                <a:gd name="T22" fmla="*/ 69 w 218"/>
                <a:gd name="T23" fmla="*/ 31 h 114"/>
                <a:gd name="T24" fmla="*/ 63 w 218"/>
                <a:gd name="T25" fmla="*/ 28 h 114"/>
                <a:gd name="T26" fmla="*/ 57 w 218"/>
                <a:gd name="T27" fmla="*/ 25 h 114"/>
                <a:gd name="T28" fmla="*/ 12 w 218"/>
                <a:gd name="T29" fmla="*/ 1 h 114"/>
                <a:gd name="T30" fmla="*/ 3 w 218"/>
                <a:gd name="T31" fmla="*/ 1 h 114"/>
                <a:gd name="T32" fmla="*/ 3 w 218"/>
                <a:gd name="T33" fmla="*/ 7 h 114"/>
                <a:gd name="T34" fmla="*/ 48 w 218"/>
                <a:gd name="T35" fmla="*/ 30 h 114"/>
                <a:gd name="T36" fmla="*/ 54 w 218"/>
                <a:gd name="T37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8" h="114">
                  <a:moveTo>
                    <a:pt x="54" y="33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81" y="100"/>
                    <a:pt x="181" y="100"/>
                    <a:pt x="181" y="100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7" y="114"/>
                    <a:pt x="208" y="114"/>
                    <a:pt x="209" y="114"/>
                  </a:cubicBezTo>
                  <a:cubicBezTo>
                    <a:pt x="211" y="114"/>
                    <a:pt x="214" y="114"/>
                    <a:pt x="215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8" y="111"/>
                    <a:pt x="217" y="109"/>
                    <a:pt x="215" y="108"/>
                  </a:cubicBezTo>
                  <a:cubicBezTo>
                    <a:pt x="195" y="98"/>
                    <a:pt x="195" y="98"/>
                    <a:pt x="195" y="9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9" y="0"/>
                    <a:pt x="5" y="0"/>
                    <a:pt x="3" y="1"/>
                  </a:cubicBezTo>
                  <a:cubicBezTo>
                    <a:pt x="0" y="3"/>
                    <a:pt x="1" y="5"/>
                    <a:pt x="3" y="7"/>
                  </a:cubicBezTo>
                  <a:cubicBezTo>
                    <a:pt x="48" y="30"/>
                    <a:pt x="48" y="30"/>
                    <a:pt x="48" y="30"/>
                  </a:cubicBezTo>
                  <a:lnTo>
                    <a:pt x="5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D48498CD-4F72-4FFD-8838-D91008E97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3101975"/>
              <a:ext cx="227013" cy="130175"/>
            </a:xfrm>
            <a:custGeom>
              <a:avLst/>
              <a:gdLst>
                <a:gd name="T0" fmla="*/ 50 w 202"/>
                <a:gd name="T1" fmla="*/ 34 h 116"/>
                <a:gd name="T2" fmla="*/ 56 w 202"/>
                <a:gd name="T3" fmla="*/ 38 h 116"/>
                <a:gd name="T4" fmla="*/ 73 w 202"/>
                <a:gd name="T5" fmla="*/ 48 h 116"/>
                <a:gd name="T6" fmla="*/ 77 w 202"/>
                <a:gd name="T7" fmla="*/ 50 h 116"/>
                <a:gd name="T8" fmla="*/ 79 w 202"/>
                <a:gd name="T9" fmla="*/ 51 h 116"/>
                <a:gd name="T10" fmla="*/ 85 w 202"/>
                <a:gd name="T11" fmla="*/ 55 h 116"/>
                <a:gd name="T12" fmla="*/ 125 w 202"/>
                <a:gd name="T13" fmla="*/ 77 h 116"/>
                <a:gd name="T14" fmla="*/ 136 w 202"/>
                <a:gd name="T15" fmla="*/ 84 h 116"/>
                <a:gd name="T16" fmla="*/ 143 w 202"/>
                <a:gd name="T17" fmla="*/ 88 h 116"/>
                <a:gd name="T18" fmla="*/ 149 w 202"/>
                <a:gd name="T19" fmla="*/ 92 h 116"/>
                <a:gd name="T20" fmla="*/ 167 w 202"/>
                <a:gd name="T21" fmla="*/ 102 h 116"/>
                <a:gd name="T22" fmla="*/ 190 w 202"/>
                <a:gd name="T23" fmla="*/ 115 h 116"/>
                <a:gd name="T24" fmla="*/ 193 w 202"/>
                <a:gd name="T25" fmla="*/ 116 h 116"/>
                <a:gd name="T26" fmla="*/ 200 w 202"/>
                <a:gd name="T27" fmla="*/ 115 h 116"/>
                <a:gd name="T28" fmla="*/ 200 w 202"/>
                <a:gd name="T29" fmla="*/ 115 h 116"/>
                <a:gd name="T30" fmla="*/ 200 w 202"/>
                <a:gd name="T31" fmla="*/ 110 h 116"/>
                <a:gd name="T32" fmla="*/ 182 w 202"/>
                <a:gd name="T33" fmla="*/ 99 h 116"/>
                <a:gd name="T34" fmla="*/ 161 w 202"/>
                <a:gd name="T35" fmla="*/ 87 h 116"/>
                <a:gd name="T36" fmla="*/ 154 w 202"/>
                <a:gd name="T37" fmla="*/ 83 h 116"/>
                <a:gd name="T38" fmla="*/ 148 w 202"/>
                <a:gd name="T39" fmla="*/ 80 h 116"/>
                <a:gd name="T40" fmla="*/ 94 w 202"/>
                <a:gd name="T41" fmla="*/ 49 h 116"/>
                <a:gd name="T42" fmla="*/ 88 w 202"/>
                <a:gd name="T43" fmla="*/ 45 h 116"/>
                <a:gd name="T44" fmla="*/ 82 w 202"/>
                <a:gd name="T45" fmla="*/ 42 h 116"/>
                <a:gd name="T46" fmla="*/ 65 w 202"/>
                <a:gd name="T47" fmla="*/ 32 h 116"/>
                <a:gd name="T48" fmla="*/ 59 w 202"/>
                <a:gd name="T49" fmla="*/ 28 h 116"/>
                <a:gd name="T50" fmla="*/ 53 w 202"/>
                <a:gd name="T51" fmla="*/ 25 h 116"/>
                <a:gd name="T52" fmla="*/ 13 w 202"/>
                <a:gd name="T53" fmla="*/ 2 h 116"/>
                <a:gd name="T54" fmla="*/ 3 w 202"/>
                <a:gd name="T55" fmla="*/ 2 h 116"/>
                <a:gd name="T56" fmla="*/ 3 w 202"/>
                <a:gd name="T57" fmla="*/ 7 h 116"/>
                <a:gd name="T58" fmla="*/ 44 w 202"/>
                <a:gd name="T59" fmla="*/ 31 h 116"/>
                <a:gd name="T60" fmla="*/ 50 w 202"/>
                <a:gd name="T61" fmla="*/ 3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16">
                  <a:moveTo>
                    <a:pt x="50" y="34"/>
                  </a:moveTo>
                  <a:cubicBezTo>
                    <a:pt x="56" y="38"/>
                    <a:pt x="56" y="38"/>
                    <a:pt x="56" y="3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90" y="115"/>
                    <a:pt x="190" y="115"/>
                    <a:pt x="190" y="115"/>
                  </a:cubicBezTo>
                  <a:cubicBezTo>
                    <a:pt x="191" y="116"/>
                    <a:pt x="192" y="116"/>
                    <a:pt x="193" y="116"/>
                  </a:cubicBezTo>
                  <a:cubicBezTo>
                    <a:pt x="195" y="116"/>
                    <a:pt x="198" y="116"/>
                    <a:pt x="200" y="115"/>
                  </a:cubicBezTo>
                  <a:cubicBezTo>
                    <a:pt x="200" y="115"/>
                    <a:pt x="200" y="115"/>
                    <a:pt x="200" y="115"/>
                  </a:cubicBezTo>
                  <a:cubicBezTo>
                    <a:pt x="202" y="113"/>
                    <a:pt x="202" y="111"/>
                    <a:pt x="200" y="110"/>
                  </a:cubicBezTo>
                  <a:cubicBezTo>
                    <a:pt x="182" y="99"/>
                    <a:pt x="182" y="99"/>
                    <a:pt x="182" y="99"/>
                  </a:cubicBezTo>
                  <a:cubicBezTo>
                    <a:pt x="161" y="87"/>
                    <a:pt x="161" y="87"/>
                    <a:pt x="161" y="87"/>
                  </a:cubicBezTo>
                  <a:cubicBezTo>
                    <a:pt x="154" y="83"/>
                    <a:pt x="154" y="83"/>
                    <a:pt x="154" y="83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ubicBezTo>
                    <a:pt x="0" y="3"/>
                    <a:pt x="0" y="6"/>
                    <a:pt x="3" y="7"/>
                  </a:cubicBezTo>
                  <a:cubicBezTo>
                    <a:pt x="44" y="31"/>
                    <a:pt x="44" y="31"/>
                    <a:pt x="44" y="31"/>
                  </a:cubicBezTo>
                  <a:lnTo>
                    <a:pt x="50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AF161052-E076-44A8-BF50-A8105B36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" y="2887663"/>
              <a:ext cx="246063" cy="128587"/>
            </a:xfrm>
            <a:custGeom>
              <a:avLst/>
              <a:gdLst>
                <a:gd name="T0" fmla="*/ 54 w 218"/>
                <a:gd name="T1" fmla="*/ 33 h 114"/>
                <a:gd name="T2" fmla="*/ 60 w 218"/>
                <a:gd name="T3" fmla="*/ 37 h 114"/>
                <a:gd name="T4" fmla="*/ 84 w 218"/>
                <a:gd name="T5" fmla="*/ 49 h 114"/>
                <a:gd name="T6" fmla="*/ 106 w 218"/>
                <a:gd name="T7" fmla="*/ 61 h 114"/>
                <a:gd name="T8" fmla="*/ 112 w 218"/>
                <a:gd name="T9" fmla="*/ 64 h 114"/>
                <a:gd name="T10" fmla="*/ 118 w 218"/>
                <a:gd name="T11" fmla="*/ 67 h 114"/>
                <a:gd name="T12" fmla="*/ 135 w 218"/>
                <a:gd name="T13" fmla="*/ 76 h 114"/>
                <a:gd name="T14" fmla="*/ 168 w 218"/>
                <a:gd name="T15" fmla="*/ 93 h 114"/>
                <a:gd name="T16" fmla="*/ 175 w 218"/>
                <a:gd name="T17" fmla="*/ 97 h 114"/>
                <a:gd name="T18" fmla="*/ 181 w 218"/>
                <a:gd name="T19" fmla="*/ 100 h 114"/>
                <a:gd name="T20" fmla="*/ 182 w 218"/>
                <a:gd name="T21" fmla="*/ 101 h 114"/>
                <a:gd name="T22" fmla="*/ 206 w 218"/>
                <a:gd name="T23" fmla="*/ 113 h 114"/>
                <a:gd name="T24" fmla="*/ 209 w 218"/>
                <a:gd name="T25" fmla="*/ 114 h 114"/>
                <a:gd name="T26" fmla="*/ 215 w 218"/>
                <a:gd name="T27" fmla="*/ 113 h 114"/>
                <a:gd name="T28" fmla="*/ 216 w 218"/>
                <a:gd name="T29" fmla="*/ 113 h 114"/>
                <a:gd name="T30" fmla="*/ 215 w 218"/>
                <a:gd name="T31" fmla="*/ 108 h 114"/>
                <a:gd name="T32" fmla="*/ 195 w 218"/>
                <a:gd name="T33" fmla="*/ 98 h 114"/>
                <a:gd name="T34" fmla="*/ 194 w 218"/>
                <a:gd name="T35" fmla="*/ 97 h 114"/>
                <a:gd name="T36" fmla="*/ 187 w 218"/>
                <a:gd name="T37" fmla="*/ 93 h 114"/>
                <a:gd name="T38" fmla="*/ 179 w 218"/>
                <a:gd name="T39" fmla="*/ 89 h 114"/>
                <a:gd name="T40" fmla="*/ 127 w 218"/>
                <a:gd name="T41" fmla="*/ 62 h 114"/>
                <a:gd name="T42" fmla="*/ 121 w 218"/>
                <a:gd name="T43" fmla="*/ 58 h 114"/>
                <a:gd name="T44" fmla="*/ 115 w 218"/>
                <a:gd name="T45" fmla="*/ 55 h 114"/>
                <a:gd name="T46" fmla="*/ 69 w 218"/>
                <a:gd name="T47" fmla="*/ 31 h 114"/>
                <a:gd name="T48" fmla="*/ 63 w 218"/>
                <a:gd name="T49" fmla="*/ 28 h 114"/>
                <a:gd name="T50" fmla="*/ 57 w 218"/>
                <a:gd name="T51" fmla="*/ 25 h 114"/>
                <a:gd name="T52" fmla="*/ 12 w 218"/>
                <a:gd name="T53" fmla="*/ 1 h 114"/>
                <a:gd name="T54" fmla="*/ 3 w 218"/>
                <a:gd name="T55" fmla="*/ 1 h 114"/>
                <a:gd name="T56" fmla="*/ 3 w 218"/>
                <a:gd name="T57" fmla="*/ 7 h 114"/>
                <a:gd name="T58" fmla="*/ 48 w 218"/>
                <a:gd name="T59" fmla="*/ 30 h 114"/>
                <a:gd name="T60" fmla="*/ 54 w 218"/>
                <a:gd name="T61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8" h="114">
                  <a:moveTo>
                    <a:pt x="54" y="33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8" y="67"/>
                    <a:pt x="118" y="67"/>
                    <a:pt x="118" y="67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68" y="93"/>
                    <a:pt x="168" y="93"/>
                    <a:pt x="168" y="93"/>
                  </a:cubicBezTo>
                  <a:cubicBezTo>
                    <a:pt x="175" y="97"/>
                    <a:pt x="175" y="97"/>
                    <a:pt x="175" y="97"/>
                  </a:cubicBezTo>
                  <a:cubicBezTo>
                    <a:pt x="181" y="100"/>
                    <a:pt x="181" y="100"/>
                    <a:pt x="181" y="100"/>
                  </a:cubicBezTo>
                  <a:cubicBezTo>
                    <a:pt x="182" y="101"/>
                    <a:pt x="182" y="101"/>
                    <a:pt x="182" y="101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7" y="114"/>
                    <a:pt x="208" y="114"/>
                    <a:pt x="209" y="114"/>
                  </a:cubicBezTo>
                  <a:cubicBezTo>
                    <a:pt x="211" y="114"/>
                    <a:pt x="214" y="114"/>
                    <a:pt x="215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8" y="111"/>
                    <a:pt x="217" y="109"/>
                    <a:pt x="215" y="108"/>
                  </a:cubicBezTo>
                  <a:cubicBezTo>
                    <a:pt x="195" y="98"/>
                    <a:pt x="195" y="98"/>
                    <a:pt x="195" y="98"/>
                  </a:cubicBezTo>
                  <a:cubicBezTo>
                    <a:pt x="194" y="97"/>
                    <a:pt x="194" y="97"/>
                    <a:pt x="194" y="97"/>
                  </a:cubicBezTo>
                  <a:cubicBezTo>
                    <a:pt x="187" y="93"/>
                    <a:pt x="187" y="93"/>
                    <a:pt x="187" y="93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27" y="62"/>
                    <a:pt x="127" y="62"/>
                    <a:pt x="127" y="62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9" y="0"/>
                    <a:pt x="5" y="0"/>
                    <a:pt x="3" y="1"/>
                  </a:cubicBezTo>
                  <a:cubicBezTo>
                    <a:pt x="0" y="3"/>
                    <a:pt x="1" y="5"/>
                    <a:pt x="3" y="7"/>
                  </a:cubicBezTo>
                  <a:cubicBezTo>
                    <a:pt x="48" y="30"/>
                    <a:pt x="48" y="30"/>
                    <a:pt x="48" y="30"/>
                  </a:cubicBezTo>
                  <a:lnTo>
                    <a:pt x="5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D4B58C87-D681-4A3D-A71F-D0F81ADEE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338" y="2603500"/>
              <a:ext cx="228600" cy="131762"/>
            </a:xfrm>
            <a:custGeom>
              <a:avLst/>
              <a:gdLst>
                <a:gd name="T0" fmla="*/ 2 w 202"/>
                <a:gd name="T1" fmla="*/ 7 h 117"/>
                <a:gd name="T2" fmla="*/ 39 w 202"/>
                <a:gd name="T3" fmla="*/ 28 h 117"/>
                <a:gd name="T4" fmla="*/ 45 w 202"/>
                <a:gd name="T5" fmla="*/ 32 h 117"/>
                <a:gd name="T6" fmla="*/ 50 w 202"/>
                <a:gd name="T7" fmla="*/ 35 h 117"/>
                <a:gd name="T8" fmla="*/ 190 w 202"/>
                <a:gd name="T9" fmla="*/ 115 h 117"/>
                <a:gd name="T10" fmla="*/ 199 w 202"/>
                <a:gd name="T11" fmla="*/ 115 h 117"/>
                <a:gd name="T12" fmla="*/ 199 w 202"/>
                <a:gd name="T13" fmla="*/ 110 h 117"/>
                <a:gd name="T14" fmla="*/ 60 w 202"/>
                <a:gd name="T15" fmla="*/ 29 h 117"/>
                <a:gd name="T16" fmla="*/ 54 w 202"/>
                <a:gd name="T17" fmla="*/ 26 h 117"/>
                <a:gd name="T18" fmla="*/ 48 w 202"/>
                <a:gd name="T19" fmla="*/ 22 h 117"/>
                <a:gd name="T20" fmla="*/ 12 w 202"/>
                <a:gd name="T21" fmla="*/ 2 h 117"/>
                <a:gd name="T22" fmla="*/ 2 w 202"/>
                <a:gd name="T23" fmla="*/ 2 h 117"/>
                <a:gd name="T24" fmla="*/ 2 w 202"/>
                <a:gd name="T25" fmla="*/ 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" h="117">
                  <a:moveTo>
                    <a:pt x="2" y="7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190" y="115"/>
                    <a:pt x="190" y="115"/>
                    <a:pt x="190" y="115"/>
                  </a:cubicBezTo>
                  <a:cubicBezTo>
                    <a:pt x="192" y="117"/>
                    <a:pt x="197" y="117"/>
                    <a:pt x="199" y="115"/>
                  </a:cubicBezTo>
                  <a:cubicBezTo>
                    <a:pt x="202" y="114"/>
                    <a:pt x="202" y="111"/>
                    <a:pt x="199" y="110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9" y="0"/>
                    <a:pt x="5" y="0"/>
                    <a:pt x="2" y="2"/>
                  </a:cubicBezTo>
                  <a:cubicBezTo>
                    <a:pt x="0" y="3"/>
                    <a:pt x="0" y="6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2CB59BE6-F51D-4D52-89AF-366FEFA63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8" y="2681288"/>
              <a:ext cx="227013" cy="131762"/>
            </a:xfrm>
            <a:custGeom>
              <a:avLst/>
              <a:gdLst>
                <a:gd name="T0" fmla="*/ 50 w 202"/>
                <a:gd name="T1" fmla="*/ 34 h 116"/>
                <a:gd name="T2" fmla="*/ 56 w 202"/>
                <a:gd name="T3" fmla="*/ 38 h 116"/>
                <a:gd name="T4" fmla="*/ 73 w 202"/>
                <a:gd name="T5" fmla="*/ 48 h 116"/>
                <a:gd name="T6" fmla="*/ 77 w 202"/>
                <a:gd name="T7" fmla="*/ 50 h 116"/>
                <a:gd name="T8" fmla="*/ 79 w 202"/>
                <a:gd name="T9" fmla="*/ 51 h 116"/>
                <a:gd name="T10" fmla="*/ 85 w 202"/>
                <a:gd name="T11" fmla="*/ 55 h 116"/>
                <a:gd name="T12" fmla="*/ 125 w 202"/>
                <a:gd name="T13" fmla="*/ 77 h 116"/>
                <a:gd name="T14" fmla="*/ 136 w 202"/>
                <a:gd name="T15" fmla="*/ 84 h 116"/>
                <a:gd name="T16" fmla="*/ 143 w 202"/>
                <a:gd name="T17" fmla="*/ 88 h 116"/>
                <a:gd name="T18" fmla="*/ 149 w 202"/>
                <a:gd name="T19" fmla="*/ 92 h 116"/>
                <a:gd name="T20" fmla="*/ 167 w 202"/>
                <a:gd name="T21" fmla="*/ 102 h 116"/>
                <a:gd name="T22" fmla="*/ 190 w 202"/>
                <a:gd name="T23" fmla="*/ 115 h 116"/>
                <a:gd name="T24" fmla="*/ 193 w 202"/>
                <a:gd name="T25" fmla="*/ 116 h 116"/>
                <a:gd name="T26" fmla="*/ 200 w 202"/>
                <a:gd name="T27" fmla="*/ 115 h 116"/>
                <a:gd name="T28" fmla="*/ 200 w 202"/>
                <a:gd name="T29" fmla="*/ 115 h 116"/>
                <a:gd name="T30" fmla="*/ 200 w 202"/>
                <a:gd name="T31" fmla="*/ 110 h 116"/>
                <a:gd name="T32" fmla="*/ 182 w 202"/>
                <a:gd name="T33" fmla="*/ 99 h 116"/>
                <a:gd name="T34" fmla="*/ 161 w 202"/>
                <a:gd name="T35" fmla="*/ 87 h 116"/>
                <a:gd name="T36" fmla="*/ 154 w 202"/>
                <a:gd name="T37" fmla="*/ 83 h 116"/>
                <a:gd name="T38" fmla="*/ 148 w 202"/>
                <a:gd name="T39" fmla="*/ 80 h 116"/>
                <a:gd name="T40" fmla="*/ 94 w 202"/>
                <a:gd name="T41" fmla="*/ 49 h 116"/>
                <a:gd name="T42" fmla="*/ 88 w 202"/>
                <a:gd name="T43" fmla="*/ 45 h 116"/>
                <a:gd name="T44" fmla="*/ 82 w 202"/>
                <a:gd name="T45" fmla="*/ 42 h 116"/>
                <a:gd name="T46" fmla="*/ 65 w 202"/>
                <a:gd name="T47" fmla="*/ 32 h 116"/>
                <a:gd name="T48" fmla="*/ 59 w 202"/>
                <a:gd name="T49" fmla="*/ 28 h 116"/>
                <a:gd name="T50" fmla="*/ 53 w 202"/>
                <a:gd name="T51" fmla="*/ 25 h 116"/>
                <a:gd name="T52" fmla="*/ 13 w 202"/>
                <a:gd name="T53" fmla="*/ 2 h 116"/>
                <a:gd name="T54" fmla="*/ 3 w 202"/>
                <a:gd name="T55" fmla="*/ 2 h 116"/>
                <a:gd name="T56" fmla="*/ 3 w 202"/>
                <a:gd name="T57" fmla="*/ 7 h 116"/>
                <a:gd name="T58" fmla="*/ 44 w 202"/>
                <a:gd name="T59" fmla="*/ 31 h 116"/>
                <a:gd name="T60" fmla="*/ 50 w 202"/>
                <a:gd name="T61" fmla="*/ 3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16">
                  <a:moveTo>
                    <a:pt x="50" y="34"/>
                  </a:moveTo>
                  <a:cubicBezTo>
                    <a:pt x="56" y="38"/>
                    <a:pt x="56" y="38"/>
                    <a:pt x="56" y="3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90" y="115"/>
                    <a:pt x="190" y="115"/>
                    <a:pt x="190" y="115"/>
                  </a:cubicBezTo>
                  <a:cubicBezTo>
                    <a:pt x="191" y="116"/>
                    <a:pt x="192" y="116"/>
                    <a:pt x="193" y="116"/>
                  </a:cubicBezTo>
                  <a:cubicBezTo>
                    <a:pt x="195" y="116"/>
                    <a:pt x="198" y="116"/>
                    <a:pt x="200" y="115"/>
                  </a:cubicBezTo>
                  <a:cubicBezTo>
                    <a:pt x="200" y="115"/>
                    <a:pt x="200" y="115"/>
                    <a:pt x="200" y="115"/>
                  </a:cubicBezTo>
                  <a:cubicBezTo>
                    <a:pt x="202" y="113"/>
                    <a:pt x="202" y="111"/>
                    <a:pt x="200" y="110"/>
                  </a:cubicBezTo>
                  <a:cubicBezTo>
                    <a:pt x="182" y="99"/>
                    <a:pt x="182" y="99"/>
                    <a:pt x="182" y="99"/>
                  </a:cubicBezTo>
                  <a:cubicBezTo>
                    <a:pt x="161" y="87"/>
                    <a:pt x="161" y="87"/>
                    <a:pt x="161" y="87"/>
                  </a:cubicBezTo>
                  <a:cubicBezTo>
                    <a:pt x="154" y="83"/>
                    <a:pt x="154" y="83"/>
                    <a:pt x="154" y="83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ubicBezTo>
                    <a:pt x="0" y="3"/>
                    <a:pt x="0" y="6"/>
                    <a:pt x="3" y="7"/>
                  </a:cubicBezTo>
                  <a:cubicBezTo>
                    <a:pt x="44" y="31"/>
                    <a:pt x="44" y="31"/>
                    <a:pt x="44" y="31"/>
                  </a:cubicBezTo>
                  <a:lnTo>
                    <a:pt x="50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6679C67F-B1FC-494F-B6F7-D9A284E23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75" y="2646363"/>
              <a:ext cx="185738" cy="107950"/>
            </a:xfrm>
            <a:custGeom>
              <a:avLst/>
              <a:gdLst>
                <a:gd name="T0" fmla="*/ 164 w 166"/>
                <a:gd name="T1" fmla="*/ 89 h 96"/>
                <a:gd name="T2" fmla="*/ 25 w 166"/>
                <a:gd name="T3" fmla="*/ 9 h 96"/>
                <a:gd name="T4" fmla="*/ 19 w 166"/>
                <a:gd name="T5" fmla="*/ 6 h 96"/>
                <a:gd name="T6" fmla="*/ 14 w 166"/>
                <a:gd name="T7" fmla="*/ 2 h 96"/>
                <a:gd name="T8" fmla="*/ 12 w 166"/>
                <a:gd name="T9" fmla="*/ 1 h 96"/>
                <a:gd name="T10" fmla="*/ 2 w 166"/>
                <a:gd name="T11" fmla="*/ 1 h 96"/>
                <a:gd name="T12" fmla="*/ 2 w 166"/>
                <a:gd name="T13" fmla="*/ 7 h 96"/>
                <a:gd name="T14" fmla="*/ 4 w 166"/>
                <a:gd name="T15" fmla="*/ 8 h 96"/>
                <a:gd name="T16" fmla="*/ 10 w 166"/>
                <a:gd name="T17" fmla="*/ 11 h 96"/>
                <a:gd name="T18" fmla="*/ 14 w 166"/>
                <a:gd name="T19" fmla="*/ 14 h 96"/>
                <a:gd name="T20" fmla="*/ 16 w 166"/>
                <a:gd name="T21" fmla="*/ 15 h 96"/>
                <a:gd name="T22" fmla="*/ 51 w 166"/>
                <a:gd name="T23" fmla="*/ 35 h 96"/>
                <a:gd name="T24" fmla="*/ 110 w 166"/>
                <a:gd name="T25" fmla="*/ 69 h 96"/>
                <a:gd name="T26" fmla="*/ 154 w 166"/>
                <a:gd name="T27" fmla="*/ 94 h 96"/>
                <a:gd name="T28" fmla="*/ 160 w 166"/>
                <a:gd name="T29" fmla="*/ 95 h 96"/>
                <a:gd name="T30" fmla="*/ 164 w 166"/>
                <a:gd name="T31" fmla="*/ 94 h 96"/>
                <a:gd name="T32" fmla="*/ 164 w 166"/>
                <a:gd name="T3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96">
                  <a:moveTo>
                    <a:pt x="164" y="8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9" y="0"/>
                    <a:pt x="5" y="0"/>
                    <a:pt x="2" y="1"/>
                  </a:cubicBezTo>
                  <a:cubicBezTo>
                    <a:pt x="0" y="3"/>
                    <a:pt x="0" y="5"/>
                    <a:pt x="2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110" y="69"/>
                    <a:pt x="110" y="69"/>
                    <a:pt x="110" y="69"/>
                  </a:cubicBezTo>
                  <a:cubicBezTo>
                    <a:pt x="154" y="94"/>
                    <a:pt x="154" y="94"/>
                    <a:pt x="154" y="94"/>
                  </a:cubicBezTo>
                  <a:cubicBezTo>
                    <a:pt x="156" y="95"/>
                    <a:pt x="158" y="96"/>
                    <a:pt x="160" y="95"/>
                  </a:cubicBezTo>
                  <a:cubicBezTo>
                    <a:pt x="161" y="95"/>
                    <a:pt x="163" y="95"/>
                    <a:pt x="164" y="94"/>
                  </a:cubicBezTo>
                  <a:cubicBezTo>
                    <a:pt x="166" y="93"/>
                    <a:pt x="166" y="90"/>
                    <a:pt x="164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436DE7C6-66EE-4CC6-9630-1B7179BF9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013" y="2684463"/>
              <a:ext cx="188913" cy="107950"/>
            </a:xfrm>
            <a:custGeom>
              <a:avLst/>
              <a:gdLst>
                <a:gd name="T0" fmla="*/ 3 w 167"/>
                <a:gd name="T1" fmla="*/ 7 h 96"/>
                <a:gd name="T2" fmla="*/ 8 w 167"/>
                <a:gd name="T3" fmla="*/ 10 h 96"/>
                <a:gd name="T4" fmla="*/ 13 w 167"/>
                <a:gd name="T5" fmla="*/ 13 h 96"/>
                <a:gd name="T6" fmla="*/ 19 w 167"/>
                <a:gd name="T7" fmla="*/ 17 h 96"/>
                <a:gd name="T8" fmla="*/ 37 w 167"/>
                <a:gd name="T9" fmla="*/ 27 h 96"/>
                <a:gd name="T10" fmla="*/ 41 w 167"/>
                <a:gd name="T11" fmla="*/ 29 h 96"/>
                <a:gd name="T12" fmla="*/ 43 w 167"/>
                <a:gd name="T13" fmla="*/ 30 h 96"/>
                <a:gd name="T14" fmla="*/ 49 w 167"/>
                <a:gd name="T15" fmla="*/ 34 h 96"/>
                <a:gd name="T16" fmla="*/ 77 w 167"/>
                <a:gd name="T17" fmla="*/ 50 h 96"/>
                <a:gd name="T18" fmla="*/ 107 w 167"/>
                <a:gd name="T19" fmla="*/ 67 h 96"/>
                <a:gd name="T20" fmla="*/ 114 w 167"/>
                <a:gd name="T21" fmla="*/ 71 h 96"/>
                <a:gd name="T22" fmla="*/ 120 w 167"/>
                <a:gd name="T23" fmla="*/ 75 h 96"/>
                <a:gd name="T24" fmla="*/ 133 w 167"/>
                <a:gd name="T25" fmla="*/ 83 h 96"/>
                <a:gd name="T26" fmla="*/ 155 w 167"/>
                <a:gd name="T27" fmla="*/ 95 h 96"/>
                <a:gd name="T28" fmla="*/ 158 w 167"/>
                <a:gd name="T29" fmla="*/ 96 h 96"/>
                <a:gd name="T30" fmla="*/ 162 w 167"/>
                <a:gd name="T31" fmla="*/ 96 h 96"/>
                <a:gd name="T32" fmla="*/ 164 w 167"/>
                <a:gd name="T33" fmla="*/ 95 h 96"/>
                <a:gd name="T34" fmla="*/ 164 w 167"/>
                <a:gd name="T35" fmla="*/ 89 h 96"/>
                <a:gd name="T36" fmla="*/ 134 w 167"/>
                <a:gd name="T37" fmla="*/ 72 h 96"/>
                <a:gd name="T38" fmla="*/ 132 w 167"/>
                <a:gd name="T39" fmla="*/ 71 h 96"/>
                <a:gd name="T40" fmla="*/ 125 w 167"/>
                <a:gd name="T41" fmla="*/ 67 h 96"/>
                <a:gd name="T42" fmla="*/ 119 w 167"/>
                <a:gd name="T43" fmla="*/ 63 h 96"/>
                <a:gd name="T44" fmla="*/ 58 w 167"/>
                <a:gd name="T45" fmla="*/ 28 h 96"/>
                <a:gd name="T46" fmla="*/ 52 w 167"/>
                <a:gd name="T47" fmla="*/ 24 h 96"/>
                <a:gd name="T48" fmla="*/ 46 w 167"/>
                <a:gd name="T49" fmla="*/ 21 h 96"/>
                <a:gd name="T50" fmla="*/ 28 w 167"/>
                <a:gd name="T51" fmla="*/ 11 h 96"/>
                <a:gd name="T52" fmla="*/ 23 w 167"/>
                <a:gd name="T53" fmla="*/ 8 h 96"/>
                <a:gd name="T54" fmla="*/ 17 w 167"/>
                <a:gd name="T55" fmla="*/ 4 h 96"/>
                <a:gd name="T56" fmla="*/ 13 w 167"/>
                <a:gd name="T57" fmla="*/ 2 h 96"/>
                <a:gd name="T58" fmla="*/ 3 w 167"/>
                <a:gd name="T59" fmla="*/ 2 h 96"/>
                <a:gd name="T60" fmla="*/ 3 w 167"/>
                <a:gd name="T61" fmla="*/ 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7" h="96">
                  <a:moveTo>
                    <a:pt x="3" y="7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55" y="95"/>
                    <a:pt x="155" y="95"/>
                    <a:pt x="155" y="95"/>
                  </a:cubicBezTo>
                  <a:cubicBezTo>
                    <a:pt x="155" y="95"/>
                    <a:pt x="157" y="96"/>
                    <a:pt x="158" y="96"/>
                  </a:cubicBezTo>
                  <a:cubicBezTo>
                    <a:pt x="159" y="96"/>
                    <a:pt x="161" y="96"/>
                    <a:pt x="162" y="96"/>
                  </a:cubicBezTo>
                  <a:cubicBezTo>
                    <a:pt x="163" y="96"/>
                    <a:pt x="164" y="95"/>
                    <a:pt x="164" y="95"/>
                  </a:cubicBezTo>
                  <a:cubicBezTo>
                    <a:pt x="167" y="93"/>
                    <a:pt x="167" y="91"/>
                    <a:pt x="164" y="89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2" y="71"/>
                    <a:pt x="132" y="71"/>
                    <a:pt x="132" y="71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ubicBezTo>
                    <a:pt x="0" y="3"/>
                    <a:pt x="0" y="6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FA0A15CA-42DA-44C6-9DB2-D6D4B5660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350" y="2665413"/>
              <a:ext cx="188913" cy="107950"/>
            </a:xfrm>
            <a:custGeom>
              <a:avLst/>
              <a:gdLst>
                <a:gd name="T0" fmla="*/ 3 w 167"/>
                <a:gd name="T1" fmla="*/ 7 h 96"/>
                <a:gd name="T2" fmla="*/ 6 w 167"/>
                <a:gd name="T3" fmla="*/ 9 h 96"/>
                <a:gd name="T4" fmla="*/ 12 w 167"/>
                <a:gd name="T5" fmla="*/ 12 h 96"/>
                <a:gd name="T6" fmla="*/ 18 w 167"/>
                <a:gd name="T7" fmla="*/ 16 h 96"/>
                <a:gd name="T8" fmla="*/ 35 w 167"/>
                <a:gd name="T9" fmla="*/ 26 h 96"/>
                <a:gd name="T10" fmla="*/ 41 w 167"/>
                <a:gd name="T11" fmla="*/ 29 h 96"/>
                <a:gd name="T12" fmla="*/ 47 w 167"/>
                <a:gd name="T13" fmla="*/ 33 h 96"/>
                <a:gd name="T14" fmla="*/ 47 w 167"/>
                <a:gd name="T15" fmla="*/ 33 h 96"/>
                <a:gd name="T16" fmla="*/ 64 w 167"/>
                <a:gd name="T17" fmla="*/ 43 h 96"/>
                <a:gd name="T18" fmla="*/ 154 w 167"/>
                <a:gd name="T19" fmla="*/ 95 h 96"/>
                <a:gd name="T20" fmla="*/ 158 w 167"/>
                <a:gd name="T21" fmla="*/ 96 h 96"/>
                <a:gd name="T22" fmla="*/ 164 w 167"/>
                <a:gd name="T23" fmla="*/ 95 h 96"/>
                <a:gd name="T24" fmla="*/ 164 w 167"/>
                <a:gd name="T25" fmla="*/ 89 h 96"/>
                <a:gd name="T26" fmla="*/ 121 w 167"/>
                <a:gd name="T27" fmla="*/ 64 h 96"/>
                <a:gd name="T28" fmla="*/ 56 w 167"/>
                <a:gd name="T29" fmla="*/ 27 h 96"/>
                <a:gd name="T30" fmla="*/ 50 w 167"/>
                <a:gd name="T31" fmla="*/ 24 h 96"/>
                <a:gd name="T32" fmla="*/ 45 w 167"/>
                <a:gd name="T33" fmla="*/ 20 h 96"/>
                <a:gd name="T34" fmla="*/ 27 w 167"/>
                <a:gd name="T35" fmla="*/ 10 h 96"/>
                <a:gd name="T36" fmla="*/ 21 w 167"/>
                <a:gd name="T37" fmla="*/ 7 h 96"/>
                <a:gd name="T38" fmla="*/ 15 w 167"/>
                <a:gd name="T39" fmla="*/ 3 h 96"/>
                <a:gd name="T40" fmla="*/ 12 w 167"/>
                <a:gd name="T41" fmla="*/ 2 h 96"/>
                <a:gd name="T42" fmla="*/ 3 w 167"/>
                <a:gd name="T43" fmla="*/ 2 h 96"/>
                <a:gd name="T44" fmla="*/ 3 w 167"/>
                <a:gd name="T45" fmla="*/ 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" h="96">
                  <a:moveTo>
                    <a:pt x="3" y="7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5" y="95"/>
                    <a:pt x="157" y="96"/>
                    <a:pt x="158" y="96"/>
                  </a:cubicBezTo>
                  <a:cubicBezTo>
                    <a:pt x="160" y="96"/>
                    <a:pt x="162" y="96"/>
                    <a:pt x="164" y="95"/>
                  </a:cubicBezTo>
                  <a:cubicBezTo>
                    <a:pt x="167" y="93"/>
                    <a:pt x="167" y="91"/>
                    <a:pt x="164" y="89"/>
                  </a:cubicBezTo>
                  <a:cubicBezTo>
                    <a:pt x="121" y="64"/>
                    <a:pt x="121" y="64"/>
                    <a:pt x="121" y="64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0"/>
                    <a:pt x="5" y="0"/>
                    <a:pt x="3" y="2"/>
                  </a:cubicBezTo>
                  <a:cubicBezTo>
                    <a:pt x="0" y="3"/>
                    <a:pt x="0" y="6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myP_Connection">
            <a:extLst>
              <a:ext uri="{FF2B5EF4-FFF2-40B4-BE49-F238E27FC236}">
                <a16:creationId xmlns:a16="http://schemas.microsoft.com/office/drawing/2014/main" id="{1D941A96-6ADF-4064-9F11-4FFD36D9EE5B}"/>
              </a:ext>
            </a:extLst>
          </p:cNvPr>
          <p:cNvGrpSpPr>
            <a:grpSpLocks/>
          </p:cNvGrpSpPr>
          <p:nvPr/>
        </p:nvGrpSpPr>
        <p:grpSpPr>
          <a:xfrm>
            <a:off x="1288039" y="3437415"/>
            <a:ext cx="324182" cy="318487"/>
            <a:chOff x="1357313" y="2825750"/>
            <a:chExt cx="1174750" cy="1154113"/>
          </a:xfrm>
          <a:solidFill>
            <a:schemeClr val="tx1"/>
          </a:solidFill>
        </p:grpSpPr>
        <p:sp>
          <p:nvSpPr>
            <p:cNvPr id="82" name="Freeform 23">
              <a:extLst>
                <a:ext uri="{FF2B5EF4-FFF2-40B4-BE49-F238E27FC236}">
                  <a16:creationId xmlns:a16="http://schemas.microsoft.com/office/drawing/2014/main" id="{3853EF97-DC8F-4006-AF63-D28D877828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8113" y="2860675"/>
              <a:ext cx="1073150" cy="1068387"/>
            </a:xfrm>
            <a:custGeom>
              <a:avLst/>
              <a:gdLst>
                <a:gd name="T0" fmla="*/ 333 w 531"/>
                <a:gd name="T1" fmla="*/ 528 h 528"/>
                <a:gd name="T2" fmla="*/ 331 w 531"/>
                <a:gd name="T3" fmla="*/ 527 h 528"/>
                <a:gd name="T4" fmla="*/ 27 w 531"/>
                <a:gd name="T5" fmla="*/ 325 h 528"/>
                <a:gd name="T6" fmla="*/ 25 w 531"/>
                <a:gd name="T7" fmla="*/ 322 h 528"/>
                <a:gd name="T8" fmla="*/ 26 w 531"/>
                <a:gd name="T9" fmla="*/ 319 h 528"/>
                <a:gd name="T10" fmla="*/ 141 w 531"/>
                <a:gd name="T11" fmla="*/ 227 h 528"/>
                <a:gd name="T12" fmla="*/ 1 w 531"/>
                <a:gd name="T13" fmla="*/ 6 h 528"/>
                <a:gd name="T14" fmla="*/ 2 w 531"/>
                <a:gd name="T15" fmla="*/ 1 h 528"/>
                <a:gd name="T16" fmla="*/ 7 w 531"/>
                <a:gd name="T17" fmla="*/ 0 h 528"/>
                <a:gd name="T18" fmla="*/ 260 w 531"/>
                <a:gd name="T19" fmla="*/ 130 h 528"/>
                <a:gd name="T20" fmla="*/ 420 w 531"/>
                <a:gd name="T21" fmla="*/ 1 h 528"/>
                <a:gd name="T22" fmla="*/ 426 w 531"/>
                <a:gd name="T23" fmla="*/ 7 h 528"/>
                <a:gd name="T24" fmla="*/ 268 w 531"/>
                <a:gd name="T25" fmla="*/ 134 h 528"/>
                <a:gd name="T26" fmla="*/ 529 w 531"/>
                <a:gd name="T27" fmla="*/ 268 h 528"/>
                <a:gd name="T28" fmla="*/ 531 w 531"/>
                <a:gd name="T29" fmla="*/ 271 h 528"/>
                <a:gd name="T30" fmla="*/ 530 w 531"/>
                <a:gd name="T31" fmla="*/ 274 h 528"/>
                <a:gd name="T32" fmla="*/ 336 w 531"/>
                <a:gd name="T33" fmla="*/ 526 h 528"/>
                <a:gd name="T34" fmla="*/ 336 w 531"/>
                <a:gd name="T35" fmla="*/ 527 h 528"/>
                <a:gd name="T36" fmla="*/ 333 w 531"/>
                <a:gd name="T37" fmla="*/ 528 h 528"/>
                <a:gd name="T38" fmla="*/ 151 w 531"/>
                <a:gd name="T39" fmla="*/ 229 h 528"/>
                <a:gd name="T40" fmla="*/ 333 w 531"/>
                <a:gd name="T41" fmla="*/ 517 h 528"/>
                <a:gd name="T42" fmla="*/ 521 w 531"/>
                <a:gd name="T43" fmla="*/ 273 h 528"/>
                <a:gd name="T44" fmla="*/ 261 w 531"/>
                <a:gd name="T45" fmla="*/ 140 h 528"/>
                <a:gd name="T46" fmla="*/ 151 w 531"/>
                <a:gd name="T47" fmla="*/ 229 h 528"/>
                <a:gd name="T48" fmla="*/ 36 w 531"/>
                <a:gd name="T49" fmla="*/ 322 h 528"/>
                <a:gd name="T50" fmla="*/ 320 w 531"/>
                <a:gd name="T51" fmla="*/ 510 h 528"/>
                <a:gd name="T52" fmla="*/ 145 w 531"/>
                <a:gd name="T53" fmla="*/ 234 h 528"/>
                <a:gd name="T54" fmla="*/ 36 w 531"/>
                <a:gd name="T55" fmla="*/ 322 h 528"/>
                <a:gd name="T56" fmla="*/ 16 w 531"/>
                <a:gd name="T57" fmla="*/ 14 h 528"/>
                <a:gd name="T58" fmla="*/ 147 w 531"/>
                <a:gd name="T59" fmla="*/ 222 h 528"/>
                <a:gd name="T60" fmla="*/ 253 w 531"/>
                <a:gd name="T61" fmla="*/ 136 h 528"/>
                <a:gd name="T62" fmla="*/ 16 w 531"/>
                <a:gd name="T63" fmla="*/ 14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1" h="528">
                  <a:moveTo>
                    <a:pt x="333" y="528"/>
                  </a:moveTo>
                  <a:cubicBezTo>
                    <a:pt x="332" y="528"/>
                    <a:pt x="331" y="528"/>
                    <a:pt x="331" y="527"/>
                  </a:cubicBezTo>
                  <a:cubicBezTo>
                    <a:pt x="27" y="325"/>
                    <a:pt x="27" y="325"/>
                    <a:pt x="27" y="325"/>
                  </a:cubicBezTo>
                  <a:cubicBezTo>
                    <a:pt x="26" y="325"/>
                    <a:pt x="25" y="323"/>
                    <a:pt x="25" y="322"/>
                  </a:cubicBezTo>
                  <a:cubicBezTo>
                    <a:pt x="25" y="321"/>
                    <a:pt x="25" y="320"/>
                    <a:pt x="26" y="319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3"/>
                    <a:pt x="2" y="1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420" y="1"/>
                    <a:pt x="420" y="1"/>
                    <a:pt x="420" y="1"/>
                  </a:cubicBezTo>
                  <a:cubicBezTo>
                    <a:pt x="426" y="7"/>
                    <a:pt x="426" y="7"/>
                    <a:pt x="426" y="7"/>
                  </a:cubicBezTo>
                  <a:cubicBezTo>
                    <a:pt x="268" y="134"/>
                    <a:pt x="268" y="134"/>
                    <a:pt x="268" y="134"/>
                  </a:cubicBezTo>
                  <a:cubicBezTo>
                    <a:pt x="529" y="268"/>
                    <a:pt x="529" y="268"/>
                    <a:pt x="529" y="268"/>
                  </a:cubicBezTo>
                  <a:cubicBezTo>
                    <a:pt x="530" y="269"/>
                    <a:pt x="531" y="270"/>
                    <a:pt x="531" y="271"/>
                  </a:cubicBezTo>
                  <a:cubicBezTo>
                    <a:pt x="531" y="272"/>
                    <a:pt x="531" y="274"/>
                    <a:pt x="530" y="274"/>
                  </a:cubicBezTo>
                  <a:cubicBezTo>
                    <a:pt x="336" y="526"/>
                    <a:pt x="336" y="526"/>
                    <a:pt x="336" y="526"/>
                  </a:cubicBezTo>
                  <a:cubicBezTo>
                    <a:pt x="336" y="527"/>
                    <a:pt x="336" y="527"/>
                    <a:pt x="336" y="527"/>
                  </a:cubicBezTo>
                  <a:cubicBezTo>
                    <a:pt x="335" y="528"/>
                    <a:pt x="334" y="528"/>
                    <a:pt x="333" y="528"/>
                  </a:cubicBezTo>
                  <a:close/>
                  <a:moveTo>
                    <a:pt x="151" y="229"/>
                  </a:moveTo>
                  <a:cubicBezTo>
                    <a:pt x="333" y="517"/>
                    <a:pt x="333" y="517"/>
                    <a:pt x="333" y="517"/>
                  </a:cubicBezTo>
                  <a:cubicBezTo>
                    <a:pt x="521" y="273"/>
                    <a:pt x="521" y="273"/>
                    <a:pt x="521" y="273"/>
                  </a:cubicBezTo>
                  <a:cubicBezTo>
                    <a:pt x="261" y="140"/>
                    <a:pt x="261" y="140"/>
                    <a:pt x="261" y="140"/>
                  </a:cubicBezTo>
                  <a:lnTo>
                    <a:pt x="151" y="229"/>
                  </a:lnTo>
                  <a:close/>
                  <a:moveTo>
                    <a:pt x="36" y="322"/>
                  </a:moveTo>
                  <a:cubicBezTo>
                    <a:pt x="320" y="510"/>
                    <a:pt x="320" y="510"/>
                    <a:pt x="320" y="510"/>
                  </a:cubicBezTo>
                  <a:cubicBezTo>
                    <a:pt x="145" y="234"/>
                    <a:pt x="145" y="234"/>
                    <a:pt x="145" y="234"/>
                  </a:cubicBezTo>
                  <a:lnTo>
                    <a:pt x="36" y="322"/>
                  </a:lnTo>
                  <a:close/>
                  <a:moveTo>
                    <a:pt x="16" y="14"/>
                  </a:moveTo>
                  <a:cubicBezTo>
                    <a:pt x="147" y="222"/>
                    <a:pt x="147" y="222"/>
                    <a:pt x="147" y="222"/>
                  </a:cubicBezTo>
                  <a:cubicBezTo>
                    <a:pt x="253" y="136"/>
                    <a:pt x="253" y="136"/>
                    <a:pt x="253" y="136"/>
                  </a:cubicBezTo>
                  <a:lnTo>
                    <a:pt x="1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Oval 24">
              <a:extLst>
                <a:ext uri="{FF2B5EF4-FFF2-40B4-BE49-F238E27FC236}">
                  <a16:creationId xmlns:a16="http://schemas.microsoft.com/office/drawing/2014/main" id="{49968CE1-611B-4044-BBC5-5E579EAAA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0588" y="2846388"/>
              <a:ext cx="117475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25">
              <a:extLst>
                <a:ext uri="{FF2B5EF4-FFF2-40B4-BE49-F238E27FC236}">
                  <a16:creationId xmlns:a16="http://schemas.microsoft.com/office/drawing/2014/main" id="{A6A2C639-1524-4D5B-A875-5C3CD790B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5000" y="3076575"/>
              <a:ext cx="117475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26">
              <a:extLst>
                <a:ext uri="{FF2B5EF4-FFF2-40B4-BE49-F238E27FC236}">
                  <a16:creationId xmlns:a16="http://schemas.microsoft.com/office/drawing/2014/main" id="{209FF35B-5444-40A1-8713-A8E03C99AE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6275" y="3290888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27">
              <a:extLst>
                <a:ext uri="{FF2B5EF4-FFF2-40B4-BE49-F238E27FC236}">
                  <a16:creationId xmlns:a16="http://schemas.microsoft.com/office/drawing/2014/main" id="{E1B6419A-E0DE-4A3D-8EAB-4A0034D30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6238" y="3259138"/>
              <a:ext cx="117475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28">
              <a:extLst>
                <a:ext uri="{FF2B5EF4-FFF2-40B4-BE49-F238E27FC236}">
                  <a16:creationId xmlns:a16="http://schemas.microsoft.com/office/drawing/2014/main" id="{4CD6F3B8-3042-45FB-867C-AD5BFD786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313" y="2825750"/>
              <a:ext cx="119063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29">
              <a:extLst>
                <a:ext uri="{FF2B5EF4-FFF2-40B4-BE49-F238E27FC236}">
                  <a16:creationId xmlns:a16="http://schemas.microsoft.com/office/drawing/2014/main" id="{F678FD1E-6753-4990-B624-740171DF3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4588" y="3352800"/>
              <a:ext cx="117475" cy="1158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30">
              <a:extLst>
                <a:ext uri="{FF2B5EF4-FFF2-40B4-BE49-F238E27FC236}">
                  <a16:creationId xmlns:a16="http://schemas.microsoft.com/office/drawing/2014/main" id="{8B7E984C-27CA-41C3-B05C-7817809B9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2475" y="3862388"/>
              <a:ext cx="117475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31">
              <a:extLst>
                <a:ext uri="{FF2B5EF4-FFF2-40B4-BE49-F238E27FC236}">
                  <a16:creationId xmlns:a16="http://schemas.microsoft.com/office/drawing/2014/main" id="{506B2B39-7D30-4ECC-BC92-B7E7AC05A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638" y="3449638"/>
              <a:ext cx="119063" cy="1174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2">
              <a:extLst>
                <a:ext uri="{FF2B5EF4-FFF2-40B4-BE49-F238E27FC236}">
                  <a16:creationId xmlns:a16="http://schemas.microsoft.com/office/drawing/2014/main" id="{8433F64D-642F-426B-A5D3-3C8D9E01D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975" y="3309938"/>
              <a:ext cx="768350" cy="109537"/>
            </a:xfrm>
            <a:custGeom>
              <a:avLst/>
              <a:gdLst>
                <a:gd name="T0" fmla="*/ 484 w 484"/>
                <a:gd name="T1" fmla="*/ 69 h 69"/>
                <a:gd name="T2" fmla="*/ 0 w 484"/>
                <a:gd name="T3" fmla="*/ 10 h 69"/>
                <a:gd name="T4" fmla="*/ 0 w 484"/>
                <a:gd name="T5" fmla="*/ 0 h 69"/>
                <a:gd name="T6" fmla="*/ 484 w 484"/>
                <a:gd name="T7" fmla="*/ 58 h 69"/>
                <a:gd name="T8" fmla="*/ 484 w 484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69">
                  <a:moveTo>
                    <a:pt x="484" y="69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484" y="58"/>
                  </a:lnTo>
                  <a:lnTo>
                    <a:pt x="484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Line 33">
              <a:extLst>
                <a:ext uri="{FF2B5EF4-FFF2-40B4-BE49-F238E27FC236}">
                  <a16:creationId xmlns:a16="http://schemas.microsoft.com/office/drawing/2014/main" id="{9178E4B2-9DEF-4897-BF68-69EFA91DE6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63738" y="3135313"/>
              <a:ext cx="0" cy="0"/>
            </a:xfrm>
            <a:prstGeom prst="line">
              <a:avLst/>
            </a:prstGeom>
            <a:grpFill/>
            <a:ln w="15875" cap="flat">
              <a:solidFill>
                <a:srgbClr val="10384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4">
              <a:extLst>
                <a:ext uri="{FF2B5EF4-FFF2-40B4-BE49-F238E27FC236}">
                  <a16:creationId xmlns:a16="http://schemas.microsoft.com/office/drawing/2014/main" id="{53E9670B-B6F3-4FBD-BEFA-8FC1D0EDF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800" y="3148013"/>
              <a:ext cx="133350" cy="774700"/>
            </a:xfrm>
            <a:custGeom>
              <a:avLst/>
              <a:gdLst>
                <a:gd name="T0" fmla="*/ 74 w 84"/>
                <a:gd name="T1" fmla="*/ 488 h 488"/>
                <a:gd name="T2" fmla="*/ 0 w 84"/>
                <a:gd name="T3" fmla="*/ 1 h 488"/>
                <a:gd name="T4" fmla="*/ 10 w 84"/>
                <a:gd name="T5" fmla="*/ 0 h 488"/>
                <a:gd name="T6" fmla="*/ 84 w 84"/>
                <a:gd name="T7" fmla="*/ 485 h 488"/>
                <a:gd name="T8" fmla="*/ 74 w 84"/>
                <a:gd name="T9" fmla="*/ 48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488">
                  <a:moveTo>
                    <a:pt x="74" y="488"/>
                  </a:moveTo>
                  <a:lnTo>
                    <a:pt x="0" y="1"/>
                  </a:lnTo>
                  <a:lnTo>
                    <a:pt x="10" y="0"/>
                  </a:lnTo>
                  <a:lnTo>
                    <a:pt x="84" y="485"/>
                  </a:lnTo>
                  <a:lnTo>
                    <a:pt x="74" y="4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8" name="Freeform 7">
            <a:extLst>
              <a:ext uri="{FF2B5EF4-FFF2-40B4-BE49-F238E27FC236}">
                <a16:creationId xmlns:a16="http://schemas.microsoft.com/office/drawing/2014/main" id="{C9678588-ABD6-444E-9119-E131D0DE20C4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1306130" y="4271102"/>
            <a:ext cx="288000" cy="297663"/>
          </a:xfrm>
          <a:custGeom>
            <a:avLst/>
            <a:gdLst>
              <a:gd name="T0" fmla="*/ 211 w 424"/>
              <a:gd name="T1" fmla="*/ 436 h 438"/>
              <a:gd name="T2" fmla="*/ 19 w 424"/>
              <a:gd name="T3" fmla="*/ 436 h 438"/>
              <a:gd name="T4" fmla="*/ 0 w 424"/>
              <a:gd name="T5" fmla="*/ 423 h 438"/>
              <a:gd name="T6" fmla="*/ 17 w 424"/>
              <a:gd name="T7" fmla="*/ 409 h 438"/>
              <a:gd name="T8" fmla="*/ 29 w 424"/>
              <a:gd name="T9" fmla="*/ 394 h 438"/>
              <a:gd name="T10" fmla="*/ 29 w 424"/>
              <a:gd name="T11" fmla="*/ 292 h 438"/>
              <a:gd name="T12" fmla="*/ 52 w 424"/>
              <a:gd name="T13" fmla="*/ 269 h 438"/>
              <a:gd name="T14" fmla="*/ 98 w 424"/>
              <a:gd name="T15" fmla="*/ 269 h 438"/>
              <a:gd name="T16" fmla="*/ 114 w 424"/>
              <a:gd name="T17" fmla="*/ 253 h 438"/>
              <a:gd name="T18" fmla="*/ 113 w 424"/>
              <a:gd name="T19" fmla="*/ 122 h 438"/>
              <a:gd name="T20" fmla="*/ 134 w 424"/>
              <a:gd name="T21" fmla="*/ 100 h 438"/>
              <a:gd name="T22" fmla="*/ 204 w 424"/>
              <a:gd name="T23" fmla="*/ 100 h 438"/>
              <a:gd name="T24" fmla="*/ 224 w 424"/>
              <a:gd name="T25" fmla="*/ 120 h 438"/>
              <a:gd name="T26" fmla="*/ 223 w 424"/>
              <a:gd name="T27" fmla="*/ 192 h 438"/>
              <a:gd name="T28" fmla="*/ 242 w 424"/>
              <a:gd name="T29" fmla="*/ 213 h 438"/>
              <a:gd name="T30" fmla="*/ 282 w 424"/>
              <a:gd name="T31" fmla="*/ 173 h 438"/>
              <a:gd name="T32" fmla="*/ 282 w 424"/>
              <a:gd name="T33" fmla="*/ 23 h 438"/>
              <a:gd name="T34" fmla="*/ 304 w 424"/>
              <a:gd name="T35" fmla="*/ 1 h 438"/>
              <a:gd name="T36" fmla="*/ 370 w 424"/>
              <a:gd name="T37" fmla="*/ 1 h 438"/>
              <a:gd name="T38" fmla="*/ 393 w 424"/>
              <a:gd name="T39" fmla="*/ 25 h 438"/>
              <a:gd name="T40" fmla="*/ 393 w 424"/>
              <a:gd name="T41" fmla="*/ 384 h 438"/>
              <a:gd name="T42" fmla="*/ 413 w 424"/>
              <a:gd name="T43" fmla="*/ 410 h 438"/>
              <a:gd name="T44" fmla="*/ 421 w 424"/>
              <a:gd name="T45" fmla="*/ 424 h 438"/>
              <a:gd name="T46" fmla="*/ 411 w 424"/>
              <a:gd name="T47" fmla="*/ 437 h 438"/>
              <a:gd name="T48" fmla="*/ 361 w 424"/>
              <a:gd name="T49" fmla="*/ 436 h 438"/>
              <a:gd name="T50" fmla="*/ 211 w 424"/>
              <a:gd name="T51" fmla="*/ 436 h 438"/>
              <a:gd name="T52" fmla="*/ 311 w 424"/>
              <a:gd name="T53" fmla="*/ 219 h 438"/>
              <a:gd name="T54" fmla="*/ 310 w 424"/>
              <a:gd name="T55" fmla="*/ 390 h 438"/>
              <a:gd name="T56" fmla="*/ 328 w 424"/>
              <a:gd name="T57" fmla="*/ 408 h 438"/>
              <a:gd name="T58" fmla="*/ 340 w 424"/>
              <a:gd name="T59" fmla="*/ 408 h 438"/>
              <a:gd name="T60" fmla="*/ 365 w 424"/>
              <a:gd name="T61" fmla="*/ 385 h 438"/>
              <a:gd name="T62" fmla="*/ 365 w 424"/>
              <a:gd name="T63" fmla="*/ 65 h 438"/>
              <a:gd name="T64" fmla="*/ 329 w 424"/>
              <a:gd name="T65" fmla="*/ 30 h 438"/>
              <a:gd name="T66" fmla="*/ 311 w 424"/>
              <a:gd name="T67" fmla="*/ 49 h 438"/>
              <a:gd name="T68" fmla="*/ 311 w 424"/>
              <a:gd name="T69" fmla="*/ 219 h 438"/>
              <a:gd name="T70" fmla="*/ 142 w 424"/>
              <a:gd name="T71" fmla="*/ 269 h 438"/>
              <a:gd name="T72" fmla="*/ 143 w 424"/>
              <a:gd name="T73" fmla="*/ 269 h 438"/>
              <a:gd name="T74" fmla="*/ 142 w 424"/>
              <a:gd name="T75" fmla="*/ 375 h 438"/>
              <a:gd name="T76" fmla="*/ 176 w 424"/>
              <a:gd name="T77" fmla="*/ 408 h 438"/>
              <a:gd name="T78" fmla="*/ 195 w 424"/>
              <a:gd name="T79" fmla="*/ 388 h 438"/>
              <a:gd name="T80" fmla="*/ 195 w 424"/>
              <a:gd name="T81" fmla="*/ 164 h 438"/>
              <a:gd name="T82" fmla="*/ 160 w 424"/>
              <a:gd name="T83" fmla="*/ 129 h 438"/>
              <a:gd name="T84" fmla="*/ 142 w 424"/>
              <a:gd name="T85" fmla="*/ 147 h 438"/>
              <a:gd name="T86" fmla="*/ 142 w 424"/>
              <a:gd name="T87" fmla="*/ 269 h 438"/>
              <a:gd name="T88" fmla="*/ 280 w 424"/>
              <a:gd name="T89" fmla="*/ 325 h 438"/>
              <a:gd name="T90" fmla="*/ 279 w 424"/>
              <a:gd name="T91" fmla="*/ 325 h 438"/>
              <a:gd name="T92" fmla="*/ 279 w 424"/>
              <a:gd name="T93" fmla="*/ 277 h 438"/>
              <a:gd name="T94" fmla="*/ 244 w 424"/>
              <a:gd name="T95" fmla="*/ 241 h 438"/>
              <a:gd name="T96" fmla="*/ 226 w 424"/>
              <a:gd name="T97" fmla="*/ 260 h 438"/>
              <a:gd name="T98" fmla="*/ 226 w 424"/>
              <a:gd name="T99" fmla="*/ 370 h 438"/>
              <a:gd name="T100" fmla="*/ 266 w 424"/>
              <a:gd name="T101" fmla="*/ 408 h 438"/>
              <a:gd name="T102" fmla="*/ 280 w 424"/>
              <a:gd name="T103" fmla="*/ 393 h 438"/>
              <a:gd name="T104" fmla="*/ 280 w 424"/>
              <a:gd name="T105" fmla="*/ 325 h 438"/>
              <a:gd name="T106" fmla="*/ 111 w 424"/>
              <a:gd name="T107" fmla="*/ 355 h 438"/>
              <a:gd name="T108" fmla="*/ 110 w 424"/>
              <a:gd name="T109" fmla="*/ 355 h 438"/>
              <a:gd name="T110" fmla="*/ 110 w 424"/>
              <a:gd name="T111" fmla="*/ 333 h 438"/>
              <a:gd name="T112" fmla="*/ 72 w 424"/>
              <a:gd name="T113" fmla="*/ 298 h 438"/>
              <a:gd name="T114" fmla="*/ 58 w 424"/>
              <a:gd name="T115" fmla="*/ 311 h 438"/>
              <a:gd name="T116" fmla="*/ 58 w 424"/>
              <a:gd name="T117" fmla="*/ 369 h 438"/>
              <a:gd name="T118" fmla="*/ 99 w 424"/>
              <a:gd name="T119" fmla="*/ 408 h 438"/>
              <a:gd name="T120" fmla="*/ 111 w 424"/>
              <a:gd name="T121" fmla="*/ 395 h 438"/>
              <a:gd name="T122" fmla="*/ 111 w 424"/>
              <a:gd name="T123" fmla="*/ 355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4" h="438">
                <a:moveTo>
                  <a:pt x="211" y="436"/>
                </a:moveTo>
                <a:cubicBezTo>
                  <a:pt x="147" y="436"/>
                  <a:pt x="83" y="436"/>
                  <a:pt x="19" y="436"/>
                </a:cubicBezTo>
                <a:cubicBezTo>
                  <a:pt x="10" y="436"/>
                  <a:pt x="1" y="438"/>
                  <a:pt x="0" y="423"/>
                </a:cubicBezTo>
                <a:cubicBezTo>
                  <a:pt x="0" y="409"/>
                  <a:pt x="7" y="408"/>
                  <a:pt x="17" y="409"/>
                </a:cubicBezTo>
                <a:cubicBezTo>
                  <a:pt x="30" y="410"/>
                  <a:pt x="29" y="402"/>
                  <a:pt x="29" y="394"/>
                </a:cubicBezTo>
                <a:cubicBezTo>
                  <a:pt x="29" y="360"/>
                  <a:pt x="30" y="326"/>
                  <a:pt x="29" y="292"/>
                </a:cubicBezTo>
                <a:cubicBezTo>
                  <a:pt x="28" y="275"/>
                  <a:pt x="34" y="267"/>
                  <a:pt x="52" y="269"/>
                </a:cubicBezTo>
                <a:cubicBezTo>
                  <a:pt x="67" y="270"/>
                  <a:pt x="82" y="268"/>
                  <a:pt x="98" y="269"/>
                </a:cubicBezTo>
                <a:cubicBezTo>
                  <a:pt x="110" y="270"/>
                  <a:pt x="114" y="266"/>
                  <a:pt x="114" y="253"/>
                </a:cubicBezTo>
                <a:cubicBezTo>
                  <a:pt x="113" y="209"/>
                  <a:pt x="114" y="165"/>
                  <a:pt x="113" y="122"/>
                </a:cubicBezTo>
                <a:cubicBezTo>
                  <a:pt x="113" y="106"/>
                  <a:pt x="118" y="100"/>
                  <a:pt x="134" y="100"/>
                </a:cubicBezTo>
                <a:cubicBezTo>
                  <a:pt x="157" y="101"/>
                  <a:pt x="180" y="101"/>
                  <a:pt x="204" y="100"/>
                </a:cubicBezTo>
                <a:cubicBezTo>
                  <a:pt x="219" y="100"/>
                  <a:pt x="224" y="106"/>
                  <a:pt x="224" y="120"/>
                </a:cubicBezTo>
                <a:cubicBezTo>
                  <a:pt x="223" y="144"/>
                  <a:pt x="224" y="168"/>
                  <a:pt x="223" y="192"/>
                </a:cubicBezTo>
                <a:cubicBezTo>
                  <a:pt x="222" y="207"/>
                  <a:pt x="225" y="214"/>
                  <a:pt x="242" y="213"/>
                </a:cubicBezTo>
                <a:cubicBezTo>
                  <a:pt x="282" y="212"/>
                  <a:pt x="282" y="213"/>
                  <a:pt x="282" y="173"/>
                </a:cubicBezTo>
                <a:cubicBezTo>
                  <a:pt x="282" y="123"/>
                  <a:pt x="282" y="73"/>
                  <a:pt x="282" y="23"/>
                </a:cubicBezTo>
                <a:cubicBezTo>
                  <a:pt x="281" y="6"/>
                  <a:pt x="288" y="0"/>
                  <a:pt x="304" y="1"/>
                </a:cubicBezTo>
                <a:cubicBezTo>
                  <a:pt x="326" y="2"/>
                  <a:pt x="348" y="2"/>
                  <a:pt x="370" y="1"/>
                </a:cubicBezTo>
                <a:cubicBezTo>
                  <a:pt x="388" y="0"/>
                  <a:pt x="393" y="8"/>
                  <a:pt x="393" y="25"/>
                </a:cubicBezTo>
                <a:cubicBezTo>
                  <a:pt x="393" y="145"/>
                  <a:pt x="393" y="264"/>
                  <a:pt x="393" y="384"/>
                </a:cubicBezTo>
                <a:cubicBezTo>
                  <a:pt x="393" y="399"/>
                  <a:pt x="391" y="413"/>
                  <a:pt x="413" y="410"/>
                </a:cubicBezTo>
                <a:cubicBezTo>
                  <a:pt x="424" y="408"/>
                  <a:pt x="420" y="418"/>
                  <a:pt x="421" y="424"/>
                </a:cubicBezTo>
                <a:cubicBezTo>
                  <a:pt x="422" y="432"/>
                  <a:pt x="420" y="437"/>
                  <a:pt x="411" y="437"/>
                </a:cubicBezTo>
                <a:cubicBezTo>
                  <a:pt x="394" y="436"/>
                  <a:pt x="377" y="436"/>
                  <a:pt x="361" y="436"/>
                </a:cubicBezTo>
                <a:cubicBezTo>
                  <a:pt x="311" y="436"/>
                  <a:pt x="261" y="436"/>
                  <a:pt x="211" y="436"/>
                </a:cubicBezTo>
                <a:close/>
                <a:moveTo>
                  <a:pt x="311" y="219"/>
                </a:moveTo>
                <a:cubicBezTo>
                  <a:pt x="311" y="276"/>
                  <a:pt x="311" y="333"/>
                  <a:pt x="310" y="390"/>
                </a:cubicBezTo>
                <a:cubicBezTo>
                  <a:pt x="310" y="405"/>
                  <a:pt x="315" y="410"/>
                  <a:pt x="328" y="408"/>
                </a:cubicBezTo>
                <a:cubicBezTo>
                  <a:pt x="332" y="407"/>
                  <a:pt x="336" y="408"/>
                  <a:pt x="340" y="408"/>
                </a:cubicBezTo>
                <a:cubicBezTo>
                  <a:pt x="358" y="411"/>
                  <a:pt x="365" y="405"/>
                  <a:pt x="365" y="385"/>
                </a:cubicBezTo>
                <a:cubicBezTo>
                  <a:pt x="364" y="278"/>
                  <a:pt x="365" y="172"/>
                  <a:pt x="365" y="65"/>
                </a:cubicBezTo>
                <a:cubicBezTo>
                  <a:pt x="365" y="30"/>
                  <a:pt x="365" y="31"/>
                  <a:pt x="329" y="30"/>
                </a:cubicBezTo>
                <a:cubicBezTo>
                  <a:pt x="313" y="29"/>
                  <a:pt x="310" y="35"/>
                  <a:pt x="311" y="49"/>
                </a:cubicBezTo>
                <a:cubicBezTo>
                  <a:pt x="311" y="106"/>
                  <a:pt x="311" y="162"/>
                  <a:pt x="311" y="219"/>
                </a:cubicBezTo>
                <a:close/>
                <a:moveTo>
                  <a:pt x="142" y="269"/>
                </a:moveTo>
                <a:cubicBezTo>
                  <a:pt x="142" y="269"/>
                  <a:pt x="142" y="269"/>
                  <a:pt x="143" y="269"/>
                </a:cubicBezTo>
                <a:cubicBezTo>
                  <a:pt x="143" y="304"/>
                  <a:pt x="143" y="340"/>
                  <a:pt x="142" y="375"/>
                </a:cubicBezTo>
                <a:cubicBezTo>
                  <a:pt x="142" y="408"/>
                  <a:pt x="142" y="407"/>
                  <a:pt x="176" y="408"/>
                </a:cubicBezTo>
                <a:cubicBezTo>
                  <a:pt x="193" y="409"/>
                  <a:pt x="196" y="403"/>
                  <a:pt x="195" y="388"/>
                </a:cubicBezTo>
                <a:cubicBezTo>
                  <a:pt x="195" y="313"/>
                  <a:pt x="195" y="239"/>
                  <a:pt x="195" y="164"/>
                </a:cubicBezTo>
                <a:cubicBezTo>
                  <a:pt x="195" y="129"/>
                  <a:pt x="195" y="130"/>
                  <a:pt x="160" y="129"/>
                </a:cubicBezTo>
                <a:cubicBezTo>
                  <a:pt x="145" y="129"/>
                  <a:pt x="142" y="134"/>
                  <a:pt x="142" y="147"/>
                </a:cubicBezTo>
                <a:cubicBezTo>
                  <a:pt x="143" y="188"/>
                  <a:pt x="142" y="228"/>
                  <a:pt x="142" y="269"/>
                </a:cubicBezTo>
                <a:close/>
                <a:moveTo>
                  <a:pt x="280" y="325"/>
                </a:moveTo>
                <a:cubicBezTo>
                  <a:pt x="280" y="325"/>
                  <a:pt x="279" y="325"/>
                  <a:pt x="279" y="325"/>
                </a:cubicBezTo>
                <a:cubicBezTo>
                  <a:pt x="279" y="309"/>
                  <a:pt x="279" y="293"/>
                  <a:pt x="279" y="277"/>
                </a:cubicBezTo>
                <a:cubicBezTo>
                  <a:pt x="279" y="241"/>
                  <a:pt x="279" y="241"/>
                  <a:pt x="244" y="241"/>
                </a:cubicBezTo>
                <a:cubicBezTo>
                  <a:pt x="229" y="241"/>
                  <a:pt x="226" y="246"/>
                  <a:pt x="226" y="260"/>
                </a:cubicBezTo>
                <a:cubicBezTo>
                  <a:pt x="227" y="297"/>
                  <a:pt x="226" y="333"/>
                  <a:pt x="226" y="370"/>
                </a:cubicBezTo>
                <a:cubicBezTo>
                  <a:pt x="227" y="417"/>
                  <a:pt x="220" y="406"/>
                  <a:pt x="266" y="408"/>
                </a:cubicBezTo>
                <a:cubicBezTo>
                  <a:pt x="278" y="408"/>
                  <a:pt x="280" y="403"/>
                  <a:pt x="280" y="393"/>
                </a:cubicBezTo>
                <a:cubicBezTo>
                  <a:pt x="280" y="370"/>
                  <a:pt x="280" y="347"/>
                  <a:pt x="280" y="325"/>
                </a:cubicBezTo>
                <a:close/>
                <a:moveTo>
                  <a:pt x="111" y="355"/>
                </a:moveTo>
                <a:cubicBezTo>
                  <a:pt x="110" y="355"/>
                  <a:pt x="110" y="355"/>
                  <a:pt x="110" y="355"/>
                </a:cubicBezTo>
                <a:cubicBezTo>
                  <a:pt x="110" y="348"/>
                  <a:pt x="110" y="340"/>
                  <a:pt x="110" y="333"/>
                </a:cubicBezTo>
                <a:cubicBezTo>
                  <a:pt x="109" y="291"/>
                  <a:pt x="117" y="299"/>
                  <a:pt x="72" y="298"/>
                </a:cubicBezTo>
                <a:cubicBezTo>
                  <a:pt x="61" y="297"/>
                  <a:pt x="57" y="301"/>
                  <a:pt x="58" y="311"/>
                </a:cubicBezTo>
                <a:cubicBezTo>
                  <a:pt x="58" y="331"/>
                  <a:pt x="58" y="350"/>
                  <a:pt x="58" y="369"/>
                </a:cubicBezTo>
                <a:cubicBezTo>
                  <a:pt x="58" y="411"/>
                  <a:pt x="58" y="411"/>
                  <a:pt x="99" y="408"/>
                </a:cubicBezTo>
                <a:cubicBezTo>
                  <a:pt x="109" y="407"/>
                  <a:pt x="111" y="404"/>
                  <a:pt x="111" y="395"/>
                </a:cubicBezTo>
                <a:cubicBezTo>
                  <a:pt x="110" y="382"/>
                  <a:pt x="111" y="368"/>
                  <a:pt x="111" y="3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4672" y="6617933"/>
            <a:ext cx="8640000" cy="108000"/>
          </a:xfrm>
        </p:spPr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</p:spTree>
    <p:extLst>
      <p:ext uri="{BB962C8B-B14F-4D97-AF65-F5344CB8AC3E}">
        <p14:creationId xmlns:p14="http://schemas.microsoft.com/office/powerpoint/2010/main" val="189800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1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8352FB3B-69C2-48B4-AEFE-F914D2F1478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932"/>
          <a:stretch/>
        </p:blipFill>
        <p:spPr>
          <a:xfrm>
            <a:off x="7843154" y="8415"/>
            <a:ext cx="4862084" cy="6858000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36289569-B99B-41A8-8E92-20BE814C0071}"/>
              </a:ext>
            </a:extLst>
          </p:cNvPr>
          <p:cNvSpPr/>
          <p:nvPr/>
        </p:nvSpPr>
        <p:spPr bwMode="gray">
          <a:xfrm>
            <a:off x="2831077" y="3520379"/>
            <a:ext cx="2677592" cy="714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910892A-103A-450B-8821-5A33598C37FA}"/>
              </a:ext>
            </a:extLst>
          </p:cNvPr>
          <p:cNvSpPr/>
          <p:nvPr/>
        </p:nvSpPr>
        <p:spPr bwMode="gray">
          <a:xfrm>
            <a:off x="3044413" y="2600866"/>
            <a:ext cx="1417451" cy="962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26E8253-0E5F-4152-85DD-5EA7E576A403}"/>
              </a:ext>
            </a:extLst>
          </p:cNvPr>
          <p:cNvSpPr/>
          <p:nvPr/>
        </p:nvSpPr>
        <p:spPr bwMode="gray">
          <a:xfrm>
            <a:off x="3280194" y="2792835"/>
            <a:ext cx="2310981" cy="962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504F8A3-4888-4A0F-AF03-D75DAC352740}"/>
              </a:ext>
            </a:extLst>
          </p:cNvPr>
          <p:cNvSpPr/>
          <p:nvPr/>
        </p:nvSpPr>
        <p:spPr bwMode="gray">
          <a:xfrm flipV="1">
            <a:off x="3242664" y="4559553"/>
            <a:ext cx="3135276" cy="1478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9" name="Rectangle 98"/>
          <p:cNvSpPr/>
          <p:nvPr/>
        </p:nvSpPr>
        <p:spPr bwMode="gray">
          <a:xfrm>
            <a:off x="1092200" y="1887887"/>
            <a:ext cx="2531533" cy="1081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Main Challen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7</a:t>
            </a:fld>
            <a:endParaRPr lang="en-US"/>
          </a:p>
        </p:txBody>
      </p:sp>
      <p:sp>
        <p:nvSpPr>
          <p:cNvPr id="10" name="Gleichschenkliges Dreieck 7">
            <a:extLst>
              <a:ext uri="{FF2B5EF4-FFF2-40B4-BE49-F238E27FC236}">
                <a16:creationId xmlns:a16="http://schemas.microsoft.com/office/drawing/2014/main" id="{99AF477C-819D-4EC8-ABAC-E85411ED6544}"/>
              </a:ext>
            </a:extLst>
          </p:cNvPr>
          <p:cNvSpPr>
            <a:spLocks/>
          </p:cNvSpPr>
          <p:nvPr/>
        </p:nvSpPr>
        <p:spPr bwMode="gray">
          <a:xfrm rot="10800000">
            <a:off x="7814473" y="9293"/>
            <a:ext cx="1800199" cy="6867912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defRPr sz="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EAD9179-7A6B-4268-BEB2-F3B8EB06115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1976027" y="2090078"/>
            <a:ext cx="5434344" cy="1194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the quality of </a:t>
            </a:r>
            <a:r>
              <a:rPr lang="en-US" sz="1400" b="1">
                <a:solidFill>
                  <a:schemeClr val="tx1"/>
                </a:solidFill>
              </a:rPr>
              <a:t>AI applications </a:t>
            </a:r>
            <a:r>
              <a:rPr lang="en-US" sz="1100">
                <a:solidFill>
                  <a:schemeClr val="tx1"/>
                </a:solidFill>
              </a:rPr>
              <a:t>does not only depend on </a:t>
            </a:r>
            <a:r>
              <a:rPr lang="en-US" sz="1100" b="1">
                <a:solidFill>
                  <a:schemeClr val="tx1"/>
                </a:solidFill>
              </a:rPr>
              <a:t>application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="1">
                <a:solidFill>
                  <a:schemeClr val="tx1"/>
                </a:solidFill>
              </a:rPr>
              <a:t>code</a:t>
            </a:r>
            <a:r>
              <a:rPr lang="en-US" sz="1100">
                <a:solidFill>
                  <a:schemeClr val="tx1"/>
                </a:solidFill>
              </a:rPr>
              <a:t> but also heavily on the </a:t>
            </a:r>
            <a:r>
              <a:rPr lang="en-US" sz="1100" b="1">
                <a:solidFill>
                  <a:schemeClr val="tx1"/>
                </a:solidFill>
              </a:rPr>
              <a:t>underlying &amp; fluctuating input data</a:t>
            </a:r>
            <a:r>
              <a:rPr lang="en-US" sz="1100">
                <a:solidFill>
                  <a:schemeClr val="tx1"/>
                </a:solidFill>
              </a:rPr>
              <a:t>,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76659" y="5179810"/>
            <a:ext cx="6025274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Productive ML Systems encompass all challenges of traditional software systems but additionally are dependent on different and periodically fluctuating data sources. To cope with this higher complexity, these systems require a carefully designed and non standardized solution architecture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A6A66C4-6846-1943-B1EE-DB85329D95BB}"/>
              </a:ext>
            </a:extLst>
          </p:cNvPr>
          <p:cNvGrpSpPr/>
          <p:nvPr/>
        </p:nvGrpSpPr>
        <p:grpSpPr>
          <a:xfrm rot="5400000">
            <a:off x="3850340" y="4456593"/>
            <a:ext cx="194204" cy="1287241"/>
            <a:chOff x="5688912" y="2372505"/>
            <a:chExt cx="712725" cy="1671702"/>
          </a:xfrm>
        </p:grpSpPr>
        <p:sp>
          <p:nvSpPr>
            <p:cNvPr id="48" name="Raute 132">
              <a:extLst>
                <a:ext uri="{FF2B5EF4-FFF2-40B4-BE49-F238E27FC236}">
                  <a16:creationId xmlns:a16="http://schemas.microsoft.com/office/drawing/2014/main" id="{2217CBDB-202A-F246-8722-B06C04A84306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  <p:sp>
          <p:nvSpPr>
            <p:cNvPr id="49" name="Raute 132">
              <a:extLst>
                <a:ext uri="{FF2B5EF4-FFF2-40B4-BE49-F238E27FC236}">
                  <a16:creationId xmlns:a16="http://schemas.microsoft.com/office/drawing/2014/main" id="{64168741-57E3-9048-82C8-7710F52BC50E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3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tx2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endParaRPr>
            </a:p>
          </p:txBody>
        </p:sp>
      </p:grpSp>
      <p:sp>
        <p:nvSpPr>
          <p:cNvPr id="50" name="Rectangle 49"/>
          <p:cNvSpPr/>
          <p:nvPr/>
        </p:nvSpPr>
        <p:spPr>
          <a:xfrm>
            <a:off x="976659" y="1694582"/>
            <a:ext cx="45320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Unlike in traditional Software Engineering, 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976027" y="2913354"/>
            <a:ext cx="4962332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 we do not only have to meet a </a:t>
            </a:r>
            <a:r>
              <a:rPr lang="en-US" sz="1100" b="1">
                <a:solidFill>
                  <a:schemeClr val="tx1"/>
                </a:solidFill>
              </a:rPr>
              <a:t>functional specification</a:t>
            </a:r>
            <a:r>
              <a:rPr lang="en-US" sz="1100">
                <a:solidFill>
                  <a:schemeClr val="tx1"/>
                </a:solidFill>
              </a:rPr>
              <a:t>, but most importantly </a:t>
            </a:r>
            <a:r>
              <a:rPr lang="en-US" sz="1400" b="1">
                <a:solidFill>
                  <a:schemeClr val="tx1"/>
                </a:solidFill>
              </a:rPr>
              <a:t>optimize the system for a metric</a:t>
            </a:r>
            <a:r>
              <a:rPr lang="en-US" sz="1100" b="1">
                <a:solidFill>
                  <a:schemeClr val="tx1"/>
                </a:solidFill>
              </a:rPr>
              <a:t> (e.g. accuracy) </a:t>
            </a:r>
            <a:r>
              <a:rPr lang="en-US" sz="1100">
                <a:solidFill>
                  <a:schemeClr val="tx1"/>
                </a:solidFill>
              </a:rPr>
              <a:t>based on constant experimentation due to data fluctuations over time  </a:t>
            </a:r>
            <a:r>
              <a:rPr lang="en-US" sz="1100" b="1">
                <a:solidFill>
                  <a:schemeClr val="tx1"/>
                </a:solidFill>
              </a:rPr>
              <a:t>  </a:t>
            </a:r>
          </a:p>
          <a:p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1976027" y="3736629"/>
            <a:ext cx="5163914" cy="1366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</a:rPr>
              <a:t>…. we do not have a </a:t>
            </a:r>
            <a:r>
              <a:rPr lang="en-US" sz="1100" b="1">
                <a:solidFill>
                  <a:schemeClr val="tx1"/>
                </a:solidFill>
              </a:rPr>
              <a:t>single software stack </a:t>
            </a:r>
            <a:r>
              <a:rPr lang="en-US" sz="1100">
                <a:solidFill>
                  <a:schemeClr val="tx1"/>
                </a:solidFill>
              </a:rPr>
              <a:t>and </a:t>
            </a:r>
            <a:r>
              <a:rPr lang="en-US" sz="1100" b="1">
                <a:solidFill>
                  <a:schemeClr val="tx1"/>
                </a:solidFill>
              </a:rPr>
              <a:t>limited deployment environments</a:t>
            </a:r>
            <a:r>
              <a:rPr lang="en-US" sz="1100">
                <a:solidFill>
                  <a:schemeClr val="tx1"/>
                </a:solidFill>
              </a:rPr>
              <a:t> but combine many </a:t>
            </a:r>
            <a:r>
              <a:rPr lang="en-US" sz="1100" b="1">
                <a:solidFill>
                  <a:schemeClr val="tx1"/>
                </a:solidFill>
              </a:rPr>
              <a:t>different libraries </a:t>
            </a:r>
            <a:r>
              <a:rPr lang="en-US" sz="1100">
                <a:solidFill>
                  <a:schemeClr val="tx1"/>
                </a:solidFill>
              </a:rPr>
              <a:t>in</a:t>
            </a:r>
            <a:r>
              <a:rPr lang="en-US" sz="1100" b="1">
                <a:solidFill>
                  <a:schemeClr val="tx1"/>
                </a:solidFill>
              </a:rPr>
              <a:t> diverse deployment environments to </a:t>
            </a:r>
            <a:r>
              <a:rPr lang="en-US" sz="1400" b="1">
                <a:solidFill>
                  <a:schemeClr val="tx1"/>
                </a:solidFill>
              </a:rPr>
              <a:t>transfer, transform and serve the data</a:t>
            </a:r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5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4672" y="6617933"/>
            <a:ext cx="8640000" cy="108000"/>
          </a:xfrm>
        </p:spPr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grpSp>
        <p:nvGrpSpPr>
          <p:cNvPr id="58" name="myP_CPU">
            <a:extLst>
              <a:ext uri="{FF2B5EF4-FFF2-40B4-BE49-F238E27FC236}">
                <a16:creationId xmlns:a16="http://schemas.microsoft.com/office/drawing/2014/main" id="{2288B3BC-96CD-475C-B1E3-F93D182017C4}"/>
              </a:ext>
            </a:extLst>
          </p:cNvPr>
          <p:cNvGrpSpPr>
            <a:grpSpLocks/>
          </p:cNvGrpSpPr>
          <p:nvPr/>
        </p:nvGrpSpPr>
        <p:grpSpPr>
          <a:xfrm>
            <a:off x="1235551" y="2493136"/>
            <a:ext cx="429158" cy="388428"/>
            <a:chOff x="3670300" y="1719262"/>
            <a:chExt cx="1622425" cy="1468438"/>
          </a:xfrm>
          <a:solidFill>
            <a:schemeClr val="tx1"/>
          </a:solidFill>
        </p:grpSpPr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9F52594E-7EC2-428A-B96F-7930688F4D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0300" y="1719262"/>
              <a:ext cx="1449388" cy="1468438"/>
            </a:xfrm>
            <a:custGeom>
              <a:avLst/>
              <a:gdLst>
                <a:gd name="T0" fmla="*/ 175 w 750"/>
                <a:gd name="T1" fmla="*/ 283 h 756"/>
                <a:gd name="T2" fmla="*/ 224 w 750"/>
                <a:gd name="T3" fmla="*/ 244 h 756"/>
                <a:gd name="T4" fmla="*/ 283 w 750"/>
                <a:gd name="T5" fmla="*/ 203 h 756"/>
                <a:gd name="T6" fmla="*/ 283 w 750"/>
                <a:gd name="T7" fmla="*/ 117 h 756"/>
                <a:gd name="T8" fmla="*/ 326 w 750"/>
                <a:gd name="T9" fmla="*/ 90 h 756"/>
                <a:gd name="T10" fmla="*/ 324 w 750"/>
                <a:gd name="T11" fmla="*/ 179 h 756"/>
                <a:gd name="T12" fmla="*/ 408 w 750"/>
                <a:gd name="T13" fmla="*/ 234 h 756"/>
                <a:gd name="T14" fmla="*/ 411 w 750"/>
                <a:gd name="T15" fmla="*/ 141 h 756"/>
                <a:gd name="T16" fmla="*/ 450 w 750"/>
                <a:gd name="T17" fmla="*/ 225 h 756"/>
                <a:gd name="T18" fmla="*/ 548 w 750"/>
                <a:gd name="T19" fmla="*/ 192 h 756"/>
                <a:gd name="T20" fmla="*/ 598 w 750"/>
                <a:gd name="T21" fmla="*/ 145 h 756"/>
                <a:gd name="T22" fmla="*/ 746 w 750"/>
                <a:gd name="T23" fmla="*/ 159 h 756"/>
                <a:gd name="T24" fmla="*/ 597 w 750"/>
                <a:gd name="T25" fmla="*/ 180 h 756"/>
                <a:gd name="T26" fmla="*/ 622 w 750"/>
                <a:gd name="T27" fmla="*/ 234 h 756"/>
                <a:gd name="T28" fmla="*/ 669 w 750"/>
                <a:gd name="T29" fmla="*/ 288 h 756"/>
                <a:gd name="T30" fmla="*/ 681 w 750"/>
                <a:gd name="T31" fmla="*/ 327 h 756"/>
                <a:gd name="T32" fmla="*/ 632 w 750"/>
                <a:gd name="T33" fmla="*/ 412 h 756"/>
                <a:gd name="T34" fmla="*/ 726 w 750"/>
                <a:gd name="T35" fmla="*/ 422 h 756"/>
                <a:gd name="T36" fmla="*/ 640 w 750"/>
                <a:gd name="T37" fmla="*/ 456 h 756"/>
                <a:gd name="T38" fmla="*/ 661 w 750"/>
                <a:gd name="T39" fmla="*/ 553 h 756"/>
                <a:gd name="T40" fmla="*/ 719 w 750"/>
                <a:gd name="T41" fmla="*/ 606 h 756"/>
                <a:gd name="T42" fmla="*/ 705 w 750"/>
                <a:gd name="T43" fmla="*/ 753 h 756"/>
                <a:gd name="T44" fmla="*/ 684 w 750"/>
                <a:gd name="T45" fmla="*/ 602 h 756"/>
                <a:gd name="T46" fmla="*/ 592 w 750"/>
                <a:gd name="T47" fmla="*/ 638 h 756"/>
                <a:gd name="T48" fmla="*/ 586 w 750"/>
                <a:gd name="T49" fmla="*/ 734 h 756"/>
                <a:gd name="T50" fmla="*/ 549 w 750"/>
                <a:gd name="T51" fmla="*/ 647 h 756"/>
                <a:gd name="T52" fmla="*/ 451 w 750"/>
                <a:gd name="T53" fmla="*/ 681 h 756"/>
                <a:gd name="T54" fmla="*/ 411 w 750"/>
                <a:gd name="T55" fmla="*/ 693 h 756"/>
                <a:gd name="T56" fmla="*/ 326 w 750"/>
                <a:gd name="T57" fmla="*/ 639 h 756"/>
                <a:gd name="T58" fmla="*/ 319 w 750"/>
                <a:gd name="T59" fmla="*/ 735 h 756"/>
                <a:gd name="T60" fmla="*/ 196 w 750"/>
                <a:gd name="T61" fmla="*/ 731 h 756"/>
                <a:gd name="T62" fmla="*/ 195 w 750"/>
                <a:gd name="T63" fmla="*/ 681 h 756"/>
                <a:gd name="T64" fmla="*/ 283 w 750"/>
                <a:gd name="T65" fmla="*/ 646 h 756"/>
                <a:gd name="T66" fmla="*/ 225 w 750"/>
                <a:gd name="T67" fmla="*/ 595 h 756"/>
                <a:gd name="T68" fmla="*/ 138 w 750"/>
                <a:gd name="T69" fmla="*/ 592 h 756"/>
                <a:gd name="T70" fmla="*/ 37 w 750"/>
                <a:gd name="T71" fmla="*/ 613 h 756"/>
                <a:gd name="T72" fmla="*/ 109 w 750"/>
                <a:gd name="T73" fmla="*/ 553 h 756"/>
                <a:gd name="T74" fmla="*/ 217 w 750"/>
                <a:gd name="T75" fmla="*/ 553 h 756"/>
                <a:gd name="T76" fmla="*/ 187 w 750"/>
                <a:gd name="T77" fmla="*/ 456 h 756"/>
                <a:gd name="T78" fmla="*/ 152 w 750"/>
                <a:gd name="T79" fmla="*/ 408 h 756"/>
                <a:gd name="T80" fmla="*/ 225 w 750"/>
                <a:gd name="T81" fmla="*/ 413 h 756"/>
                <a:gd name="T82" fmla="*/ 177 w 750"/>
                <a:gd name="T83" fmla="*/ 327 h 756"/>
                <a:gd name="T84" fmla="*/ 68 w 750"/>
                <a:gd name="T85" fmla="*/ 328 h 756"/>
                <a:gd name="T86" fmla="*/ 9 w 750"/>
                <a:gd name="T87" fmla="*/ 404 h 756"/>
                <a:gd name="T88" fmla="*/ 45 w 750"/>
                <a:gd name="T89" fmla="*/ 288 h 756"/>
                <a:gd name="T90" fmla="*/ 428 w 750"/>
                <a:gd name="T91" fmla="*/ 269 h 756"/>
                <a:gd name="T92" fmla="*/ 260 w 750"/>
                <a:gd name="T93" fmla="*/ 594 h 756"/>
                <a:gd name="T94" fmla="*/ 480 w 750"/>
                <a:gd name="T95" fmla="*/ 603 h 756"/>
                <a:gd name="T96" fmla="*/ 597 w 750"/>
                <a:gd name="T97" fmla="*/ 279 h 756"/>
                <a:gd name="T98" fmla="*/ 63 w 750"/>
                <a:gd name="T99" fmla="*/ 384 h 756"/>
                <a:gd name="T100" fmla="*/ 51 w 750"/>
                <a:gd name="T101" fmla="*/ 580 h 756"/>
                <a:gd name="T102" fmla="*/ 51 w 750"/>
                <a:gd name="T103" fmla="*/ 580 h 756"/>
                <a:gd name="T104" fmla="*/ 700 w 750"/>
                <a:gd name="T105" fmla="*/ 150 h 756"/>
                <a:gd name="T106" fmla="*/ 688 w 750"/>
                <a:gd name="T107" fmla="*/ 706 h 756"/>
                <a:gd name="T108" fmla="*/ 157 w 750"/>
                <a:gd name="T109" fmla="*/ 694 h 756"/>
                <a:gd name="T110" fmla="*/ 302 w 750"/>
                <a:gd name="T111" fmla="*/ 60 h 756"/>
                <a:gd name="T112" fmla="*/ 302 w 750"/>
                <a:gd name="T113" fmla="*/ 6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0" h="756">
                  <a:moveTo>
                    <a:pt x="84" y="288"/>
                  </a:moveTo>
                  <a:cubicBezTo>
                    <a:pt x="94" y="288"/>
                    <a:pt x="104" y="288"/>
                    <a:pt x="113" y="288"/>
                  </a:cubicBezTo>
                  <a:cubicBezTo>
                    <a:pt x="123" y="288"/>
                    <a:pt x="132" y="288"/>
                    <a:pt x="141" y="280"/>
                  </a:cubicBezTo>
                  <a:cubicBezTo>
                    <a:pt x="150" y="272"/>
                    <a:pt x="165" y="274"/>
                    <a:pt x="175" y="283"/>
                  </a:cubicBezTo>
                  <a:cubicBezTo>
                    <a:pt x="180" y="287"/>
                    <a:pt x="184" y="288"/>
                    <a:pt x="190" y="288"/>
                  </a:cubicBezTo>
                  <a:cubicBezTo>
                    <a:pt x="199" y="288"/>
                    <a:pt x="208" y="288"/>
                    <a:pt x="217" y="288"/>
                  </a:cubicBezTo>
                  <a:cubicBezTo>
                    <a:pt x="223" y="288"/>
                    <a:pt x="225" y="286"/>
                    <a:pt x="225" y="280"/>
                  </a:cubicBezTo>
                  <a:cubicBezTo>
                    <a:pt x="224" y="268"/>
                    <a:pt x="225" y="256"/>
                    <a:pt x="224" y="244"/>
                  </a:cubicBezTo>
                  <a:cubicBezTo>
                    <a:pt x="224" y="236"/>
                    <a:pt x="227" y="234"/>
                    <a:pt x="234" y="234"/>
                  </a:cubicBezTo>
                  <a:cubicBezTo>
                    <a:pt x="247" y="234"/>
                    <a:pt x="261" y="234"/>
                    <a:pt x="274" y="234"/>
                  </a:cubicBezTo>
                  <a:cubicBezTo>
                    <a:pt x="281" y="234"/>
                    <a:pt x="283" y="232"/>
                    <a:pt x="283" y="225"/>
                  </a:cubicBezTo>
                  <a:cubicBezTo>
                    <a:pt x="282" y="218"/>
                    <a:pt x="282" y="210"/>
                    <a:pt x="283" y="203"/>
                  </a:cubicBezTo>
                  <a:cubicBezTo>
                    <a:pt x="283" y="194"/>
                    <a:pt x="282" y="186"/>
                    <a:pt x="275" y="178"/>
                  </a:cubicBezTo>
                  <a:cubicBezTo>
                    <a:pt x="267" y="168"/>
                    <a:pt x="268" y="154"/>
                    <a:pt x="277" y="144"/>
                  </a:cubicBezTo>
                  <a:cubicBezTo>
                    <a:pt x="282" y="138"/>
                    <a:pt x="283" y="133"/>
                    <a:pt x="283" y="126"/>
                  </a:cubicBezTo>
                  <a:cubicBezTo>
                    <a:pt x="282" y="123"/>
                    <a:pt x="282" y="120"/>
                    <a:pt x="283" y="117"/>
                  </a:cubicBezTo>
                  <a:cubicBezTo>
                    <a:pt x="284" y="104"/>
                    <a:pt x="282" y="95"/>
                    <a:pt x="269" y="86"/>
                  </a:cubicBezTo>
                  <a:cubicBezTo>
                    <a:pt x="247" y="69"/>
                    <a:pt x="249" y="37"/>
                    <a:pt x="269" y="18"/>
                  </a:cubicBezTo>
                  <a:cubicBezTo>
                    <a:pt x="288" y="0"/>
                    <a:pt x="319" y="3"/>
                    <a:pt x="336" y="24"/>
                  </a:cubicBezTo>
                  <a:cubicBezTo>
                    <a:pt x="352" y="44"/>
                    <a:pt x="348" y="75"/>
                    <a:pt x="326" y="90"/>
                  </a:cubicBezTo>
                  <a:cubicBezTo>
                    <a:pt x="320" y="94"/>
                    <a:pt x="317" y="98"/>
                    <a:pt x="318" y="105"/>
                  </a:cubicBezTo>
                  <a:cubicBezTo>
                    <a:pt x="318" y="111"/>
                    <a:pt x="318" y="117"/>
                    <a:pt x="318" y="123"/>
                  </a:cubicBezTo>
                  <a:cubicBezTo>
                    <a:pt x="317" y="132"/>
                    <a:pt x="318" y="139"/>
                    <a:pt x="324" y="146"/>
                  </a:cubicBezTo>
                  <a:cubicBezTo>
                    <a:pt x="332" y="155"/>
                    <a:pt x="332" y="170"/>
                    <a:pt x="324" y="179"/>
                  </a:cubicBezTo>
                  <a:cubicBezTo>
                    <a:pt x="319" y="186"/>
                    <a:pt x="318" y="192"/>
                    <a:pt x="318" y="200"/>
                  </a:cubicBezTo>
                  <a:cubicBezTo>
                    <a:pt x="318" y="209"/>
                    <a:pt x="318" y="217"/>
                    <a:pt x="318" y="226"/>
                  </a:cubicBezTo>
                  <a:cubicBezTo>
                    <a:pt x="318" y="231"/>
                    <a:pt x="320" y="234"/>
                    <a:pt x="325" y="234"/>
                  </a:cubicBezTo>
                  <a:cubicBezTo>
                    <a:pt x="353" y="234"/>
                    <a:pt x="380" y="234"/>
                    <a:pt x="408" y="234"/>
                  </a:cubicBezTo>
                  <a:cubicBezTo>
                    <a:pt x="413" y="234"/>
                    <a:pt x="415" y="232"/>
                    <a:pt x="415" y="226"/>
                  </a:cubicBezTo>
                  <a:cubicBezTo>
                    <a:pt x="415" y="215"/>
                    <a:pt x="415" y="203"/>
                    <a:pt x="415" y="192"/>
                  </a:cubicBezTo>
                  <a:cubicBezTo>
                    <a:pt x="415" y="187"/>
                    <a:pt x="413" y="185"/>
                    <a:pt x="410" y="182"/>
                  </a:cubicBezTo>
                  <a:cubicBezTo>
                    <a:pt x="400" y="169"/>
                    <a:pt x="400" y="153"/>
                    <a:pt x="411" y="141"/>
                  </a:cubicBezTo>
                  <a:cubicBezTo>
                    <a:pt x="422" y="131"/>
                    <a:pt x="440" y="130"/>
                    <a:pt x="451" y="139"/>
                  </a:cubicBezTo>
                  <a:cubicBezTo>
                    <a:pt x="463" y="150"/>
                    <a:pt x="466" y="167"/>
                    <a:pt x="456" y="180"/>
                  </a:cubicBezTo>
                  <a:cubicBezTo>
                    <a:pt x="452" y="185"/>
                    <a:pt x="450" y="191"/>
                    <a:pt x="450" y="198"/>
                  </a:cubicBezTo>
                  <a:cubicBezTo>
                    <a:pt x="451" y="207"/>
                    <a:pt x="451" y="216"/>
                    <a:pt x="450" y="225"/>
                  </a:cubicBezTo>
                  <a:cubicBezTo>
                    <a:pt x="450" y="231"/>
                    <a:pt x="452" y="234"/>
                    <a:pt x="459" y="234"/>
                  </a:cubicBezTo>
                  <a:cubicBezTo>
                    <a:pt x="486" y="234"/>
                    <a:pt x="513" y="234"/>
                    <a:pt x="540" y="234"/>
                  </a:cubicBezTo>
                  <a:cubicBezTo>
                    <a:pt x="546" y="234"/>
                    <a:pt x="548" y="232"/>
                    <a:pt x="548" y="226"/>
                  </a:cubicBezTo>
                  <a:cubicBezTo>
                    <a:pt x="547" y="215"/>
                    <a:pt x="547" y="203"/>
                    <a:pt x="548" y="192"/>
                  </a:cubicBezTo>
                  <a:cubicBezTo>
                    <a:pt x="548" y="188"/>
                    <a:pt x="546" y="185"/>
                    <a:pt x="544" y="182"/>
                  </a:cubicBezTo>
                  <a:cubicBezTo>
                    <a:pt x="533" y="169"/>
                    <a:pt x="533" y="153"/>
                    <a:pt x="544" y="141"/>
                  </a:cubicBezTo>
                  <a:cubicBezTo>
                    <a:pt x="555" y="130"/>
                    <a:pt x="572" y="129"/>
                    <a:pt x="585" y="140"/>
                  </a:cubicBezTo>
                  <a:cubicBezTo>
                    <a:pt x="589" y="144"/>
                    <a:pt x="593" y="145"/>
                    <a:pt x="598" y="145"/>
                  </a:cubicBezTo>
                  <a:cubicBezTo>
                    <a:pt x="615" y="145"/>
                    <a:pt x="631" y="145"/>
                    <a:pt x="648" y="145"/>
                  </a:cubicBezTo>
                  <a:cubicBezTo>
                    <a:pt x="653" y="145"/>
                    <a:pt x="657" y="143"/>
                    <a:pt x="661" y="138"/>
                  </a:cubicBezTo>
                  <a:cubicBezTo>
                    <a:pt x="672" y="120"/>
                    <a:pt x="691" y="113"/>
                    <a:pt x="711" y="118"/>
                  </a:cubicBezTo>
                  <a:cubicBezTo>
                    <a:pt x="729" y="122"/>
                    <a:pt x="744" y="139"/>
                    <a:pt x="746" y="159"/>
                  </a:cubicBezTo>
                  <a:cubicBezTo>
                    <a:pt x="748" y="178"/>
                    <a:pt x="735" y="198"/>
                    <a:pt x="715" y="205"/>
                  </a:cubicBezTo>
                  <a:cubicBezTo>
                    <a:pt x="696" y="213"/>
                    <a:pt x="673" y="206"/>
                    <a:pt x="662" y="189"/>
                  </a:cubicBezTo>
                  <a:cubicBezTo>
                    <a:pt x="658" y="182"/>
                    <a:pt x="653" y="180"/>
                    <a:pt x="646" y="180"/>
                  </a:cubicBezTo>
                  <a:cubicBezTo>
                    <a:pt x="629" y="180"/>
                    <a:pt x="613" y="180"/>
                    <a:pt x="597" y="180"/>
                  </a:cubicBezTo>
                  <a:cubicBezTo>
                    <a:pt x="586" y="180"/>
                    <a:pt x="583" y="183"/>
                    <a:pt x="583" y="194"/>
                  </a:cubicBezTo>
                  <a:cubicBezTo>
                    <a:pt x="583" y="204"/>
                    <a:pt x="584" y="214"/>
                    <a:pt x="583" y="225"/>
                  </a:cubicBezTo>
                  <a:cubicBezTo>
                    <a:pt x="583" y="232"/>
                    <a:pt x="586" y="234"/>
                    <a:pt x="593" y="234"/>
                  </a:cubicBezTo>
                  <a:cubicBezTo>
                    <a:pt x="603" y="234"/>
                    <a:pt x="613" y="234"/>
                    <a:pt x="622" y="234"/>
                  </a:cubicBezTo>
                  <a:cubicBezTo>
                    <a:pt x="630" y="234"/>
                    <a:pt x="633" y="236"/>
                    <a:pt x="632" y="244"/>
                  </a:cubicBezTo>
                  <a:cubicBezTo>
                    <a:pt x="632" y="255"/>
                    <a:pt x="633" y="267"/>
                    <a:pt x="632" y="278"/>
                  </a:cubicBezTo>
                  <a:cubicBezTo>
                    <a:pt x="632" y="285"/>
                    <a:pt x="634" y="289"/>
                    <a:pt x="641" y="288"/>
                  </a:cubicBezTo>
                  <a:cubicBezTo>
                    <a:pt x="650" y="288"/>
                    <a:pt x="660" y="288"/>
                    <a:pt x="669" y="288"/>
                  </a:cubicBezTo>
                  <a:cubicBezTo>
                    <a:pt x="674" y="288"/>
                    <a:pt x="677" y="287"/>
                    <a:pt x="681" y="284"/>
                  </a:cubicBezTo>
                  <a:cubicBezTo>
                    <a:pt x="694" y="272"/>
                    <a:pt x="711" y="273"/>
                    <a:pt x="723" y="285"/>
                  </a:cubicBezTo>
                  <a:cubicBezTo>
                    <a:pt x="733" y="295"/>
                    <a:pt x="733" y="314"/>
                    <a:pt x="723" y="325"/>
                  </a:cubicBezTo>
                  <a:cubicBezTo>
                    <a:pt x="713" y="337"/>
                    <a:pt x="695" y="338"/>
                    <a:pt x="681" y="327"/>
                  </a:cubicBezTo>
                  <a:cubicBezTo>
                    <a:pt x="678" y="325"/>
                    <a:pt x="676" y="323"/>
                    <a:pt x="672" y="323"/>
                  </a:cubicBezTo>
                  <a:cubicBezTo>
                    <a:pt x="661" y="323"/>
                    <a:pt x="650" y="323"/>
                    <a:pt x="639" y="323"/>
                  </a:cubicBezTo>
                  <a:cubicBezTo>
                    <a:pt x="634" y="323"/>
                    <a:pt x="632" y="326"/>
                    <a:pt x="632" y="331"/>
                  </a:cubicBezTo>
                  <a:cubicBezTo>
                    <a:pt x="632" y="358"/>
                    <a:pt x="632" y="385"/>
                    <a:pt x="632" y="412"/>
                  </a:cubicBezTo>
                  <a:cubicBezTo>
                    <a:pt x="632" y="418"/>
                    <a:pt x="634" y="421"/>
                    <a:pt x="640" y="420"/>
                  </a:cubicBezTo>
                  <a:cubicBezTo>
                    <a:pt x="650" y="420"/>
                    <a:pt x="661" y="420"/>
                    <a:pt x="671" y="420"/>
                  </a:cubicBezTo>
                  <a:cubicBezTo>
                    <a:pt x="676" y="421"/>
                    <a:pt x="679" y="417"/>
                    <a:pt x="683" y="415"/>
                  </a:cubicBezTo>
                  <a:cubicBezTo>
                    <a:pt x="697" y="404"/>
                    <a:pt x="717" y="407"/>
                    <a:pt x="726" y="422"/>
                  </a:cubicBezTo>
                  <a:cubicBezTo>
                    <a:pt x="735" y="436"/>
                    <a:pt x="730" y="456"/>
                    <a:pt x="715" y="464"/>
                  </a:cubicBezTo>
                  <a:cubicBezTo>
                    <a:pt x="705" y="469"/>
                    <a:pt x="693" y="469"/>
                    <a:pt x="684" y="461"/>
                  </a:cubicBezTo>
                  <a:cubicBezTo>
                    <a:pt x="678" y="457"/>
                    <a:pt x="672" y="455"/>
                    <a:pt x="666" y="456"/>
                  </a:cubicBezTo>
                  <a:cubicBezTo>
                    <a:pt x="657" y="456"/>
                    <a:pt x="649" y="456"/>
                    <a:pt x="640" y="456"/>
                  </a:cubicBezTo>
                  <a:cubicBezTo>
                    <a:pt x="635" y="456"/>
                    <a:pt x="632" y="458"/>
                    <a:pt x="632" y="464"/>
                  </a:cubicBezTo>
                  <a:cubicBezTo>
                    <a:pt x="632" y="491"/>
                    <a:pt x="632" y="518"/>
                    <a:pt x="632" y="545"/>
                  </a:cubicBezTo>
                  <a:cubicBezTo>
                    <a:pt x="632" y="551"/>
                    <a:pt x="635" y="553"/>
                    <a:pt x="640" y="553"/>
                  </a:cubicBezTo>
                  <a:cubicBezTo>
                    <a:pt x="647" y="553"/>
                    <a:pt x="654" y="553"/>
                    <a:pt x="661" y="553"/>
                  </a:cubicBezTo>
                  <a:cubicBezTo>
                    <a:pt x="670" y="553"/>
                    <a:pt x="677" y="552"/>
                    <a:pt x="685" y="546"/>
                  </a:cubicBezTo>
                  <a:cubicBezTo>
                    <a:pt x="696" y="537"/>
                    <a:pt x="713" y="539"/>
                    <a:pt x="722" y="550"/>
                  </a:cubicBezTo>
                  <a:cubicBezTo>
                    <a:pt x="732" y="561"/>
                    <a:pt x="733" y="577"/>
                    <a:pt x="724" y="588"/>
                  </a:cubicBezTo>
                  <a:cubicBezTo>
                    <a:pt x="720" y="594"/>
                    <a:pt x="719" y="599"/>
                    <a:pt x="719" y="606"/>
                  </a:cubicBezTo>
                  <a:cubicBezTo>
                    <a:pt x="719" y="623"/>
                    <a:pt x="719" y="640"/>
                    <a:pt x="719" y="656"/>
                  </a:cubicBezTo>
                  <a:cubicBezTo>
                    <a:pt x="719" y="662"/>
                    <a:pt x="720" y="665"/>
                    <a:pt x="725" y="668"/>
                  </a:cubicBezTo>
                  <a:cubicBezTo>
                    <a:pt x="742" y="679"/>
                    <a:pt x="750" y="698"/>
                    <a:pt x="746" y="718"/>
                  </a:cubicBezTo>
                  <a:cubicBezTo>
                    <a:pt x="741" y="736"/>
                    <a:pt x="725" y="750"/>
                    <a:pt x="705" y="753"/>
                  </a:cubicBezTo>
                  <a:cubicBezTo>
                    <a:pt x="686" y="756"/>
                    <a:pt x="665" y="742"/>
                    <a:pt x="658" y="723"/>
                  </a:cubicBezTo>
                  <a:cubicBezTo>
                    <a:pt x="650" y="703"/>
                    <a:pt x="657" y="679"/>
                    <a:pt x="676" y="669"/>
                  </a:cubicBezTo>
                  <a:cubicBezTo>
                    <a:pt x="682" y="665"/>
                    <a:pt x="684" y="660"/>
                    <a:pt x="684" y="653"/>
                  </a:cubicBezTo>
                  <a:cubicBezTo>
                    <a:pt x="683" y="636"/>
                    <a:pt x="684" y="619"/>
                    <a:pt x="684" y="602"/>
                  </a:cubicBezTo>
                  <a:cubicBezTo>
                    <a:pt x="683" y="593"/>
                    <a:pt x="679" y="589"/>
                    <a:pt x="670" y="588"/>
                  </a:cubicBezTo>
                  <a:cubicBezTo>
                    <a:pt x="660" y="588"/>
                    <a:pt x="650" y="588"/>
                    <a:pt x="639" y="588"/>
                  </a:cubicBezTo>
                  <a:cubicBezTo>
                    <a:pt x="635" y="588"/>
                    <a:pt x="633" y="590"/>
                    <a:pt x="632" y="595"/>
                  </a:cubicBezTo>
                  <a:cubicBezTo>
                    <a:pt x="629" y="617"/>
                    <a:pt x="614" y="633"/>
                    <a:pt x="592" y="638"/>
                  </a:cubicBezTo>
                  <a:cubicBezTo>
                    <a:pt x="586" y="639"/>
                    <a:pt x="582" y="642"/>
                    <a:pt x="583" y="649"/>
                  </a:cubicBezTo>
                  <a:cubicBezTo>
                    <a:pt x="584" y="656"/>
                    <a:pt x="583" y="662"/>
                    <a:pt x="583" y="669"/>
                  </a:cubicBezTo>
                  <a:cubicBezTo>
                    <a:pt x="583" y="679"/>
                    <a:pt x="584" y="687"/>
                    <a:pt x="591" y="696"/>
                  </a:cubicBezTo>
                  <a:cubicBezTo>
                    <a:pt x="600" y="707"/>
                    <a:pt x="597" y="725"/>
                    <a:pt x="586" y="734"/>
                  </a:cubicBezTo>
                  <a:cubicBezTo>
                    <a:pt x="574" y="744"/>
                    <a:pt x="558" y="743"/>
                    <a:pt x="547" y="733"/>
                  </a:cubicBezTo>
                  <a:cubicBezTo>
                    <a:pt x="535" y="723"/>
                    <a:pt x="532" y="706"/>
                    <a:pt x="542" y="695"/>
                  </a:cubicBezTo>
                  <a:cubicBezTo>
                    <a:pt x="549" y="687"/>
                    <a:pt x="549" y="680"/>
                    <a:pt x="549" y="671"/>
                  </a:cubicBezTo>
                  <a:cubicBezTo>
                    <a:pt x="549" y="663"/>
                    <a:pt x="549" y="655"/>
                    <a:pt x="549" y="647"/>
                  </a:cubicBezTo>
                  <a:cubicBezTo>
                    <a:pt x="549" y="642"/>
                    <a:pt x="548" y="639"/>
                    <a:pt x="542" y="639"/>
                  </a:cubicBezTo>
                  <a:cubicBezTo>
                    <a:pt x="514" y="639"/>
                    <a:pt x="486" y="639"/>
                    <a:pt x="458" y="639"/>
                  </a:cubicBezTo>
                  <a:cubicBezTo>
                    <a:pt x="453" y="639"/>
                    <a:pt x="451" y="641"/>
                    <a:pt x="451" y="647"/>
                  </a:cubicBezTo>
                  <a:cubicBezTo>
                    <a:pt x="451" y="658"/>
                    <a:pt x="451" y="670"/>
                    <a:pt x="451" y="681"/>
                  </a:cubicBezTo>
                  <a:cubicBezTo>
                    <a:pt x="451" y="686"/>
                    <a:pt x="453" y="688"/>
                    <a:pt x="455" y="691"/>
                  </a:cubicBezTo>
                  <a:cubicBezTo>
                    <a:pt x="466" y="704"/>
                    <a:pt x="466" y="721"/>
                    <a:pt x="455" y="732"/>
                  </a:cubicBezTo>
                  <a:cubicBezTo>
                    <a:pt x="444" y="743"/>
                    <a:pt x="426" y="744"/>
                    <a:pt x="414" y="734"/>
                  </a:cubicBezTo>
                  <a:cubicBezTo>
                    <a:pt x="402" y="723"/>
                    <a:pt x="400" y="706"/>
                    <a:pt x="411" y="693"/>
                  </a:cubicBezTo>
                  <a:cubicBezTo>
                    <a:pt x="414" y="688"/>
                    <a:pt x="416" y="684"/>
                    <a:pt x="416" y="678"/>
                  </a:cubicBezTo>
                  <a:cubicBezTo>
                    <a:pt x="415" y="668"/>
                    <a:pt x="415" y="657"/>
                    <a:pt x="416" y="647"/>
                  </a:cubicBezTo>
                  <a:cubicBezTo>
                    <a:pt x="416" y="641"/>
                    <a:pt x="413" y="639"/>
                    <a:pt x="407" y="639"/>
                  </a:cubicBezTo>
                  <a:cubicBezTo>
                    <a:pt x="380" y="639"/>
                    <a:pt x="353" y="639"/>
                    <a:pt x="326" y="639"/>
                  </a:cubicBezTo>
                  <a:cubicBezTo>
                    <a:pt x="320" y="639"/>
                    <a:pt x="318" y="642"/>
                    <a:pt x="318" y="647"/>
                  </a:cubicBezTo>
                  <a:cubicBezTo>
                    <a:pt x="318" y="655"/>
                    <a:pt x="318" y="662"/>
                    <a:pt x="318" y="670"/>
                  </a:cubicBezTo>
                  <a:cubicBezTo>
                    <a:pt x="318" y="679"/>
                    <a:pt x="319" y="687"/>
                    <a:pt x="325" y="695"/>
                  </a:cubicBezTo>
                  <a:cubicBezTo>
                    <a:pt x="336" y="707"/>
                    <a:pt x="331" y="726"/>
                    <a:pt x="319" y="735"/>
                  </a:cubicBezTo>
                  <a:cubicBezTo>
                    <a:pt x="306" y="744"/>
                    <a:pt x="288" y="742"/>
                    <a:pt x="279" y="730"/>
                  </a:cubicBezTo>
                  <a:cubicBezTo>
                    <a:pt x="275" y="727"/>
                    <a:pt x="273" y="724"/>
                    <a:pt x="267" y="724"/>
                  </a:cubicBezTo>
                  <a:cubicBezTo>
                    <a:pt x="248" y="725"/>
                    <a:pt x="228" y="725"/>
                    <a:pt x="208" y="724"/>
                  </a:cubicBezTo>
                  <a:cubicBezTo>
                    <a:pt x="203" y="724"/>
                    <a:pt x="199" y="726"/>
                    <a:pt x="196" y="731"/>
                  </a:cubicBezTo>
                  <a:cubicBezTo>
                    <a:pt x="186" y="747"/>
                    <a:pt x="167" y="756"/>
                    <a:pt x="150" y="753"/>
                  </a:cubicBezTo>
                  <a:cubicBezTo>
                    <a:pt x="130" y="749"/>
                    <a:pt x="116" y="735"/>
                    <a:pt x="112" y="715"/>
                  </a:cubicBezTo>
                  <a:cubicBezTo>
                    <a:pt x="108" y="694"/>
                    <a:pt x="119" y="673"/>
                    <a:pt x="139" y="665"/>
                  </a:cubicBezTo>
                  <a:cubicBezTo>
                    <a:pt x="160" y="657"/>
                    <a:pt x="184" y="663"/>
                    <a:pt x="195" y="681"/>
                  </a:cubicBezTo>
                  <a:cubicBezTo>
                    <a:pt x="199" y="687"/>
                    <a:pt x="203" y="690"/>
                    <a:pt x="211" y="689"/>
                  </a:cubicBezTo>
                  <a:cubicBezTo>
                    <a:pt x="231" y="689"/>
                    <a:pt x="252" y="689"/>
                    <a:pt x="272" y="689"/>
                  </a:cubicBezTo>
                  <a:cubicBezTo>
                    <a:pt x="280" y="689"/>
                    <a:pt x="283" y="687"/>
                    <a:pt x="283" y="679"/>
                  </a:cubicBezTo>
                  <a:cubicBezTo>
                    <a:pt x="283" y="668"/>
                    <a:pt x="283" y="657"/>
                    <a:pt x="283" y="646"/>
                  </a:cubicBezTo>
                  <a:cubicBezTo>
                    <a:pt x="283" y="639"/>
                    <a:pt x="280" y="637"/>
                    <a:pt x="274" y="637"/>
                  </a:cubicBezTo>
                  <a:cubicBezTo>
                    <a:pt x="261" y="638"/>
                    <a:pt x="247" y="637"/>
                    <a:pt x="234" y="638"/>
                  </a:cubicBezTo>
                  <a:cubicBezTo>
                    <a:pt x="227" y="638"/>
                    <a:pt x="225" y="635"/>
                    <a:pt x="225" y="629"/>
                  </a:cubicBezTo>
                  <a:cubicBezTo>
                    <a:pt x="225" y="617"/>
                    <a:pt x="225" y="606"/>
                    <a:pt x="225" y="595"/>
                  </a:cubicBezTo>
                  <a:cubicBezTo>
                    <a:pt x="225" y="589"/>
                    <a:pt x="223" y="586"/>
                    <a:pt x="217" y="587"/>
                  </a:cubicBezTo>
                  <a:cubicBezTo>
                    <a:pt x="207" y="587"/>
                    <a:pt x="198" y="587"/>
                    <a:pt x="188" y="587"/>
                  </a:cubicBezTo>
                  <a:cubicBezTo>
                    <a:pt x="184" y="586"/>
                    <a:pt x="181" y="588"/>
                    <a:pt x="177" y="591"/>
                  </a:cubicBezTo>
                  <a:cubicBezTo>
                    <a:pt x="165" y="602"/>
                    <a:pt x="151" y="602"/>
                    <a:pt x="138" y="592"/>
                  </a:cubicBezTo>
                  <a:cubicBezTo>
                    <a:pt x="133" y="588"/>
                    <a:pt x="128" y="586"/>
                    <a:pt x="121" y="587"/>
                  </a:cubicBezTo>
                  <a:cubicBezTo>
                    <a:pt x="117" y="587"/>
                    <a:pt x="113" y="587"/>
                    <a:pt x="108" y="587"/>
                  </a:cubicBezTo>
                  <a:cubicBezTo>
                    <a:pt x="99" y="585"/>
                    <a:pt x="93" y="589"/>
                    <a:pt x="87" y="597"/>
                  </a:cubicBezTo>
                  <a:cubicBezTo>
                    <a:pt x="77" y="613"/>
                    <a:pt x="55" y="619"/>
                    <a:pt x="37" y="613"/>
                  </a:cubicBezTo>
                  <a:cubicBezTo>
                    <a:pt x="18" y="607"/>
                    <a:pt x="5" y="590"/>
                    <a:pt x="5" y="571"/>
                  </a:cubicBezTo>
                  <a:cubicBezTo>
                    <a:pt x="5" y="550"/>
                    <a:pt x="16" y="533"/>
                    <a:pt x="35" y="527"/>
                  </a:cubicBezTo>
                  <a:cubicBezTo>
                    <a:pt x="54" y="520"/>
                    <a:pt x="77" y="526"/>
                    <a:pt x="87" y="542"/>
                  </a:cubicBezTo>
                  <a:cubicBezTo>
                    <a:pt x="93" y="551"/>
                    <a:pt x="99" y="553"/>
                    <a:pt x="109" y="553"/>
                  </a:cubicBezTo>
                  <a:cubicBezTo>
                    <a:pt x="121" y="553"/>
                    <a:pt x="132" y="553"/>
                    <a:pt x="143" y="545"/>
                  </a:cubicBezTo>
                  <a:cubicBezTo>
                    <a:pt x="153" y="537"/>
                    <a:pt x="165" y="539"/>
                    <a:pt x="175" y="547"/>
                  </a:cubicBezTo>
                  <a:cubicBezTo>
                    <a:pt x="180" y="552"/>
                    <a:pt x="186" y="553"/>
                    <a:pt x="192" y="553"/>
                  </a:cubicBezTo>
                  <a:cubicBezTo>
                    <a:pt x="200" y="553"/>
                    <a:pt x="209" y="553"/>
                    <a:pt x="217" y="553"/>
                  </a:cubicBezTo>
                  <a:cubicBezTo>
                    <a:pt x="222" y="553"/>
                    <a:pt x="225" y="551"/>
                    <a:pt x="225" y="545"/>
                  </a:cubicBezTo>
                  <a:cubicBezTo>
                    <a:pt x="225" y="518"/>
                    <a:pt x="225" y="491"/>
                    <a:pt x="225" y="464"/>
                  </a:cubicBezTo>
                  <a:cubicBezTo>
                    <a:pt x="225" y="458"/>
                    <a:pt x="222" y="456"/>
                    <a:pt x="217" y="456"/>
                  </a:cubicBezTo>
                  <a:cubicBezTo>
                    <a:pt x="207" y="456"/>
                    <a:pt x="197" y="456"/>
                    <a:pt x="187" y="456"/>
                  </a:cubicBezTo>
                  <a:cubicBezTo>
                    <a:pt x="183" y="456"/>
                    <a:pt x="180" y="458"/>
                    <a:pt x="176" y="460"/>
                  </a:cubicBezTo>
                  <a:cubicBezTo>
                    <a:pt x="166" y="468"/>
                    <a:pt x="152" y="470"/>
                    <a:pt x="142" y="463"/>
                  </a:cubicBezTo>
                  <a:cubicBezTo>
                    <a:pt x="132" y="457"/>
                    <a:pt x="126" y="445"/>
                    <a:pt x="127" y="434"/>
                  </a:cubicBezTo>
                  <a:cubicBezTo>
                    <a:pt x="130" y="420"/>
                    <a:pt x="139" y="411"/>
                    <a:pt x="152" y="408"/>
                  </a:cubicBezTo>
                  <a:cubicBezTo>
                    <a:pt x="161" y="407"/>
                    <a:pt x="169" y="409"/>
                    <a:pt x="176" y="415"/>
                  </a:cubicBezTo>
                  <a:cubicBezTo>
                    <a:pt x="181" y="420"/>
                    <a:pt x="185" y="421"/>
                    <a:pt x="191" y="420"/>
                  </a:cubicBezTo>
                  <a:cubicBezTo>
                    <a:pt x="200" y="420"/>
                    <a:pt x="209" y="420"/>
                    <a:pt x="218" y="420"/>
                  </a:cubicBezTo>
                  <a:cubicBezTo>
                    <a:pt x="223" y="421"/>
                    <a:pt x="225" y="419"/>
                    <a:pt x="225" y="413"/>
                  </a:cubicBezTo>
                  <a:cubicBezTo>
                    <a:pt x="225" y="386"/>
                    <a:pt x="225" y="358"/>
                    <a:pt x="225" y="331"/>
                  </a:cubicBezTo>
                  <a:cubicBezTo>
                    <a:pt x="225" y="326"/>
                    <a:pt x="223" y="323"/>
                    <a:pt x="217" y="323"/>
                  </a:cubicBezTo>
                  <a:cubicBezTo>
                    <a:pt x="207" y="323"/>
                    <a:pt x="196" y="323"/>
                    <a:pt x="186" y="323"/>
                  </a:cubicBezTo>
                  <a:cubicBezTo>
                    <a:pt x="182" y="323"/>
                    <a:pt x="180" y="325"/>
                    <a:pt x="177" y="327"/>
                  </a:cubicBezTo>
                  <a:cubicBezTo>
                    <a:pt x="164" y="337"/>
                    <a:pt x="150" y="337"/>
                    <a:pt x="137" y="327"/>
                  </a:cubicBezTo>
                  <a:cubicBezTo>
                    <a:pt x="134" y="324"/>
                    <a:pt x="130" y="323"/>
                    <a:pt x="126" y="323"/>
                  </a:cubicBezTo>
                  <a:cubicBezTo>
                    <a:pt x="110" y="323"/>
                    <a:pt x="94" y="323"/>
                    <a:pt x="78" y="323"/>
                  </a:cubicBezTo>
                  <a:cubicBezTo>
                    <a:pt x="75" y="323"/>
                    <a:pt x="69" y="321"/>
                    <a:pt x="68" y="328"/>
                  </a:cubicBezTo>
                  <a:cubicBezTo>
                    <a:pt x="68" y="334"/>
                    <a:pt x="65" y="341"/>
                    <a:pt x="73" y="346"/>
                  </a:cubicBezTo>
                  <a:cubicBezTo>
                    <a:pt x="89" y="354"/>
                    <a:pt x="97" y="368"/>
                    <a:pt x="97" y="386"/>
                  </a:cubicBezTo>
                  <a:cubicBezTo>
                    <a:pt x="97" y="407"/>
                    <a:pt x="81" y="426"/>
                    <a:pt x="60" y="431"/>
                  </a:cubicBezTo>
                  <a:cubicBezTo>
                    <a:pt x="38" y="435"/>
                    <a:pt x="17" y="424"/>
                    <a:pt x="9" y="404"/>
                  </a:cubicBezTo>
                  <a:cubicBezTo>
                    <a:pt x="0" y="384"/>
                    <a:pt x="6" y="360"/>
                    <a:pt x="25" y="348"/>
                  </a:cubicBezTo>
                  <a:cubicBezTo>
                    <a:pt x="32" y="344"/>
                    <a:pt x="35" y="339"/>
                    <a:pt x="34" y="330"/>
                  </a:cubicBezTo>
                  <a:cubicBezTo>
                    <a:pt x="34" y="320"/>
                    <a:pt x="35" y="310"/>
                    <a:pt x="34" y="299"/>
                  </a:cubicBezTo>
                  <a:cubicBezTo>
                    <a:pt x="34" y="291"/>
                    <a:pt x="36" y="287"/>
                    <a:pt x="45" y="288"/>
                  </a:cubicBezTo>
                  <a:cubicBezTo>
                    <a:pt x="58" y="288"/>
                    <a:pt x="71" y="288"/>
                    <a:pt x="84" y="288"/>
                  </a:cubicBezTo>
                  <a:cubicBezTo>
                    <a:pt x="84" y="288"/>
                    <a:pt x="84" y="288"/>
                    <a:pt x="84" y="288"/>
                  </a:cubicBezTo>
                  <a:close/>
                  <a:moveTo>
                    <a:pt x="428" y="269"/>
                  </a:moveTo>
                  <a:cubicBezTo>
                    <a:pt x="428" y="269"/>
                    <a:pt x="428" y="269"/>
                    <a:pt x="428" y="269"/>
                  </a:cubicBezTo>
                  <a:cubicBezTo>
                    <a:pt x="376" y="269"/>
                    <a:pt x="323" y="269"/>
                    <a:pt x="271" y="269"/>
                  </a:cubicBezTo>
                  <a:cubicBezTo>
                    <a:pt x="263" y="269"/>
                    <a:pt x="260" y="271"/>
                    <a:pt x="260" y="279"/>
                  </a:cubicBezTo>
                  <a:cubicBezTo>
                    <a:pt x="261" y="294"/>
                    <a:pt x="260" y="310"/>
                    <a:pt x="260" y="325"/>
                  </a:cubicBezTo>
                  <a:cubicBezTo>
                    <a:pt x="260" y="415"/>
                    <a:pt x="260" y="504"/>
                    <a:pt x="260" y="594"/>
                  </a:cubicBezTo>
                  <a:cubicBezTo>
                    <a:pt x="260" y="600"/>
                    <a:pt x="261" y="603"/>
                    <a:pt x="269" y="603"/>
                  </a:cubicBezTo>
                  <a:cubicBezTo>
                    <a:pt x="304" y="603"/>
                    <a:pt x="340" y="603"/>
                    <a:pt x="375" y="603"/>
                  </a:cubicBezTo>
                  <a:cubicBezTo>
                    <a:pt x="390" y="603"/>
                    <a:pt x="404" y="603"/>
                    <a:pt x="419" y="603"/>
                  </a:cubicBezTo>
                  <a:cubicBezTo>
                    <a:pt x="439" y="604"/>
                    <a:pt x="460" y="603"/>
                    <a:pt x="480" y="603"/>
                  </a:cubicBezTo>
                  <a:cubicBezTo>
                    <a:pt x="496" y="603"/>
                    <a:pt x="512" y="603"/>
                    <a:pt x="528" y="603"/>
                  </a:cubicBezTo>
                  <a:cubicBezTo>
                    <a:pt x="544" y="603"/>
                    <a:pt x="561" y="604"/>
                    <a:pt x="578" y="603"/>
                  </a:cubicBezTo>
                  <a:cubicBezTo>
                    <a:pt x="590" y="603"/>
                    <a:pt x="597" y="596"/>
                    <a:pt x="597" y="584"/>
                  </a:cubicBezTo>
                  <a:cubicBezTo>
                    <a:pt x="597" y="482"/>
                    <a:pt x="596" y="381"/>
                    <a:pt x="597" y="279"/>
                  </a:cubicBezTo>
                  <a:cubicBezTo>
                    <a:pt x="597" y="271"/>
                    <a:pt x="594" y="269"/>
                    <a:pt x="586" y="269"/>
                  </a:cubicBezTo>
                  <a:cubicBezTo>
                    <a:pt x="534" y="269"/>
                    <a:pt x="481" y="269"/>
                    <a:pt x="428" y="269"/>
                  </a:cubicBezTo>
                  <a:close/>
                  <a:moveTo>
                    <a:pt x="52" y="397"/>
                  </a:moveTo>
                  <a:cubicBezTo>
                    <a:pt x="58" y="396"/>
                    <a:pt x="64" y="390"/>
                    <a:pt x="63" y="384"/>
                  </a:cubicBezTo>
                  <a:cubicBezTo>
                    <a:pt x="62" y="377"/>
                    <a:pt x="58" y="373"/>
                    <a:pt x="51" y="373"/>
                  </a:cubicBezTo>
                  <a:cubicBezTo>
                    <a:pt x="45" y="373"/>
                    <a:pt x="39" y="379"/>
                    <a:pt x="39" y="385"/>
                  </a:cubicBezTo>
                  <a:cubicBezTo>
                    <a:pt x="39" y="391"/>
                    <a:pt x="45" y="397"/>
                    <a:pt x="52" y="397"/>
                  </a:cubicBezTo>
                  <a:close/>
                  <a:moveTo>
                    <a:pt x="51" y="580"/>
                  </a:moveTo>
                  <a:cubicBezTo>
                    <a:pt x="57" y="580"/>
                    <a:pt x="63" y="574"/>
                    <a:pt x="63" y="568"/>
                  </a:cubicBezTo>
                  <a:cubicBezTo>
                    <a:pt x="63" y="562"/>
                    <a:pt x="56" y="556"/>
                    <a:pt x="51" y="556"/>
                  </a:cubicBezTo>
                  <a:cubicBezTo>
                    <a:pt x="44" y="557"/>
                    <a:pt x="40" y="561"/>
                    <a:pt x="39" y="568"/>
                  </a:cubicBezTo>
                  <a:cubicBezTo>
                    <a:pt x="39" y="574"/>
                    <a:pt x="44" y="580"/>
                    <a:pt x="51" y="580"/>
                  </a:cubicBezTo>
                  <a:close/>
                  <a:moveTo>
                    <a:pt x="688" y="159"/>
                  </a:moveTo>
                  <a:cubicBezTo>
                    <a:pt x="688" y="169"/>
                    <a:pt x="693" y="174"/>
                    <a:pt x="700" y="174"/>
                  </a:cubicBezTo>
                  <a:cubicBezTo>
                    <a:pt x="708" y="174"/>
                    <a:pt x="711" y="169"/>
                    <a:pt x="712" y="162"/>
                  </a:cubicBezTo>
                  <a:cubicBezTo>
                    <a:pt x="712" y="156"/>
                    <a:pt x="706" y="149"/>
                    <a:pt x="700" y="150"/>
                  </a:cubicBezTo>
                  <a:cubicBezTo>
                    <a:pt x="693" y="151"/>
                    <a:pt x="688" y="154"/>
                    <a:pt x="688" y="159"/>
                  </a:cubicBezTo>
                  <a:close/>
                  <a:moveTo>
                    <a:pt x="712" y="705"/>
                  </a:moveTo>
                  <a:cubicBezTo>
                    <a:pt x="711" y="698"/>
                    <a:pt x="706" y="693"/>
                    <a:pt x="700" y="694"/>
                  </a:cubicBezTo>
                  <a:cubicBezTo>
                    <a:pt x="693" y="694"/>
                    <a:pt x="688" y="699"/>
                    <a:pt x="688" y="706"/>
                  </a:cubicBezTo>
                  <a:cubicBezTo>
                    <a:pt x="689" y="713"/>
                    <a:pt x="693" y="717"/>
                    <a:pt x="701" y="716"/>
                  </a:cubicBezTo>
                  <a:cubicBezTo>
                    <a:pt x="708" y="716"/>
                    <a:pt x="711" y="711"/>
                    <a:pt x="712" y="705"/>
                  </a:cubicBezTo>
                  <a:close/>
                  <a:moveTo>
                    <a:pt x="168" y="707"/>
                  </a:moveTo>
                  <a:cubicBezTo>
                    <a:pt x="168" y="698"/>
                    <a:pt x="164" y="693"/>
                    <a:pt x="157" y="694"/>
                  </a:cubicBezTo>
                  <a:cubicBezTo>
                    <a:pt x="149" y="694"/>
                    <a:pt x="146" y="698"/>
                    <a:pt x="146" y="705"/>
                  </a:cubicBezTo>
                  <a:cubicBezTo>
                    <a:pt x="146" y="713"/>
                    <a:pt x="150" y="716"/>
                    <a:pt x="157" y="716"/>
                  </a:cubicBezTo>
                  <a:cubicBezTo>
                    <a:pt x="164" y="716"/>
                    <a:pt x="168" y="713"/>
                    <a:pt x="168" y="707"/>
                  </a:cubicBezTo>
                  <a:close/>
                  <a:moveTo>
                    <a:pt x="302" y="60"/>
                  </a:moveTo>
                  <a:cubicBezTo>
                    <a:pt x="308" y="62"/>
                    <a:pt x="313" y="60"/>
                    <a:pt x="313" y="53"/>
                  </a:cubicBezTo>
                  <a:cubicBezTo>
                    <a:pt x="313" y="46"/>
                    <a:pt x="309" y="41"/>
                    <a:pt x="302" y="41"/>
                  </a:cubicBezTo>
                  <a:cubicBezTo>
                    <a:pt x="295" y="41"/>
                    <a:pt x="291" y="45"/>
                    <a:pt x="291" y="52"/>
                  </a:cubicBezTo>
                  <a:cubicBezTo>
                    <a:pt x="291" y="59"/>
                    <a:pt x="294" y="62"/>
                    <a:pt x="30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CB2C832D-DB7E-4462-8C6D-624F4981EB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4925" y="2479675"/>
              <a:ext cx="177800" cy="177800"/>
            </a:xfrm>
            <a:custGeom>
              <a:avLst/>
              <a:gdLst>
                <a:gd name="T0" fmla="*/ 46 w 92"/>
                <a:gd name="T1" fmla="*/ 0 h 92"/>
                <a:gd name="T2" fmla="*/ 92 w 92"/>
                <a:gd name="T3" fmla="*/ 46 h 92"/>
                <a:gd name="T4" fmla="*/ 45 w 92"/>
                <a:gd name="T5" fmla="*/ 92 h 92"/>
                <a:gd name="T6" fmla="*/ 0 w 92"/>
                <a:gd name="T7" fmla="*/ 45 h 92"/>
                <a:gd name="T8" fmla="*/ 46 w 92"/>
                <a:gd name="T9" fmla="*/ 0 h 92"/>
                <a:gd name="T10" fmla="*/ 34 w 92"/>
                <a:gd name="T11" fmla="*/ 45 h 92"/>
                <a:gd name="T12" fmla="*/ 46 w 92"/>
                <a:gd name="T13" fmla="*/ 58 h 92"/>
                <a:gd name="T14" fmla="*/ 58 w 92"/>
                <a:gd name="T15" fmla="*/ 46 h 92"/>
                <a:gd name="T16" fmla="*/ 45 w 92"/>
                <a:gd name="T17" fmla="*/ 34 h 92"/>
                <a:gd name="T18" fmla="*/ 34 w 92"/>
                <a:gd name="T19" fmla="*/ 4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71" y="0"/>
                    <a:pt x="92" y="21"/>
                    <a:pt x="92" y="46"/>
                  </a:cubicBezTo>
                  <a:cubicBezTo>
                    <a:pt x="92" y="71"/>
                    <a:pt x="70" y="92"/>
                    <a:pt x="45" y="92"/>
                  </a:cubicBezTo>
                  <a:cubicBezTo>
                    <a:pt x="20" y="92"/>
                    <a:pt x="0" y="71"/>
                    <a:pt x="0" y="45"/>
                  </a:cubicBezTo>
                  <a:cubicBezTo>
                    <a:pt x="0" y="20"/>
                    <a:pt x="20" y="0"/>
                    <a:pt x="46" y="0"/>
                  </a:cubicBezTo>
                  <a:close/>
                  <a:moveTo>
                    <a:pt x="34" y="45"/>
                  </a:moveTo>
                  <a:cubicBezTo>
                    <a:pt x="34" y="52"/>
                    <a:pt x="41" y="59"/>
                    <a:pt x="46" y="58"/>
                  </a:cubicBezTo>
                  <a:cubicBezTo>
                    <a:pt x="53" y="57"/>
                    <a:pt x="58" y="53"/>
                    <a:pt x="58" y="46"/>
                  </a:cubicBezTo>
                  <a:cubicBezTo>
                    <a:pt x="58" y="39"/>
                    <a:pt x="51" y="34"/>
                    <a:pt x="45" y="34"/>
                  </a:cubicBezTo>
                  <a:cubicBezTo>
                    <a:pt x="38" y="35"/>
                    <a:pt x="35" y="39"/>
                    <a:pt x="34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2CA49813-DFDB-492D-ADBC-8BE264A02C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3400" y="2408238"/>
              <a:ext cx="311150" cy="317500"/>
            </a:xfrm>
            <a:custGeom>
              <a:avLst/>
              <a:gdLst>
                <a:gd name="T0" fmla="*/ 0 w 161"/>
                <a:gd name="T1" fmla="*/ 82 h 163"/>
                <a:gd name="T2" fmla="*/ 0 w 161"/>
                <a:gd name="T3" fmla="*/ 10 h 163"/>
                <a:gd name="T4" fmla="*/ 9 w 161"/>
                <a:gd name="T5" fmla="*/ 1 h 163"/>
                <a:gd name="T6" fmla="*/ 152 w 161"/>
                <a:gd name="T7" fmla="*/ 1 h 163"/>
                <a:gd name="T8" fmla="*/ 161 w 161"/>
                <a:gd name="T9" fmla="*/ 10 h 163"/>
                <a:gd name="T10" fmla="*/ 161 w 161"/>
                <a:gd name="T11" fmla="*/ 153 h 163"/>
                <a:gd name="T12" fmla="*/ 151 w 161"/>
                <a:gd name="T13" fmla="*/ 163 h 163"/>
                <a:gd name="T14" fmla="*/ 9 w 161"/>
                <a:gd name="T15" fmla="*/ 163 h 163"/>
                <a:gd name="T16" fmla="*/ 0 w 161"/>
                <a:gd name="T17" fmla="*/ 154 h 163"/>
                <a:gd name="T18" fmla="*/ 0 w 161"/>
                <a:gd name="T19" fmla="*/ 82 h 163"/>
                <a:gd name="T20" fmla="*/ 127 w 161"/>
                <a:gd name="T21" fmla="*/ 83 h 163"/>
                <a:gd name="T22" fmla="*/ 127 w 161"/>
                <a:gd name="T23" fmla="*/ 83 h 163"/>
                <a:gd name="T24" fmla="*/ 127 w 161"/>
                <a:gd name="T25" fmla="*/ 45 h 163"/>
                <a:gd name="T26" fmla="*/ 117 w 161"/>
                <a:gd name="T27" fmla="*/ 35 h 163"/>
                <a:gd name="T28" fmla="*/ 44 w 161"/>
                <a:gd name="T29" fmla="*/ 35 h 163"/>
                <a:gd name="T30" fmla="*/ 34 w 161"/>
                <a:gd name="T31" fmla="*/ 45 h 163"/>
                <a:gd name="T32" fmla="*/ 34 w 161"/>
                <a:gd name="T33" fmla="*/ 119 h 163"/>
                <a:gd name="T34" fmla="*/ 43 w 161"/>
                <a:gd name="T35" fmla="*/ 129 h 163"/>
                <a:gd name="T36" fmla="*/ 119 w 161"/>
                <a:gd name="T37" fmla="*/ 129 h 163"/>
                <a:gd name="T38" fmla="*/ 127 w 161"/>
                <a:gd name="T39" fmla="*/ 120 h 163"/>
                <a:gd name="T40" fmla="*/ 127 w 161"/>
                <a:gd name="T41" fmla="*/ 8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163">
                  <a:moveTo>
                    <a:pt x="0" y="82"/>
                  </a:moveTo>
                  <a:cubicBezTo>
                    <a:pt x="0" y="58"/>
                    <a:pt x="0" y="34"/>
                    <a:pt x="0" y="10"/>
                  </a:cubicBezTo>
                  <a:cubicBezTo>
                    <a:pt x="0" y="3"/>
                    <a:pt x="2" y="0"/>
                    <a:pt x="9" y="1"/>
                  </a:cubicBezTo>
                  <a:cubicBezTo>
                    <a:pt x="57" y="1"/>
                    <a:pt x="104" y="1"/>
                    <a:pt x="152" y="1"/>
                  </a:cubicBezTo>
                  <a:cubicBezTo>
                    <a:pt x="159" y="0"/>
                    <a:pt x="161" y="3"/>
                    <a:pt x="161" y="10"/>
                  </a:cubicBezTo>
                  <a:cubicBezTo>
                    <a:pt x="161" y="58"/>
                    <a:pt x="161" y="105"/>
                    <a:pt x="161" y="153"/>
                  </a:cubicBezTo>
                  <a:cubicBezTo>
                    <a:pt x="161" y="160"/>
                    <a:pt x="159" y="163"/>
                    <a:pt x="151" y="163"/>
                  </a:cubicBezTo>
                  <a:cubicBezTo>
                    <a:pt x="104" y="163"/>
                    <a:pt x="56" y="163"/>
                    <a:pt x="9" y="163"/>
                  </a:cubicBezTo>
                  <a:cubicBezTo>
                    <a:pt x="2" y="163"/>
                    <a:pt x="0" y="160"/>
                    <a:pt x="0" y="154"/>
                  </a:cubicBezTo>
                  <a:cubicBezTo>
                    <a:pt x="0" y="130"/>
                    <a:pt x="0" y="106"/>
                    <a:pt x="0" y="82"/>
                  </a:cubicBezTo>
                  <a:close/>
                  <a:moveTo>
                    <a:pt x="127" y="83"/>
                  </a:moveTo>
                  <a:cubicBezTo>
                    <a:pt x="127" y="83"/>
                    <a:pt x="127" y="83"/>
                    <a:pt x="127" y="83"/>
                  </a:cubicBezTo>
                  <a:cubicBezTo>
                    <a:pt x="127" y="70"/>
                    <a:pt x="127" y="58"/>
                    <a:pt x="127" y="45"/>
                  </a:cubicBezTo>
                  <a:cubicBezTo>
                    <a:pt x="127" y="38"/>
                    <a:pt x="125" y="35"/>
                    <a:pt x="117" y="35"/>
                  </a:cubicBezTo>
                  <a:cubicBezTo>
                    <a:pt x="93" y="36"/>
                    <a:pt x="68" y="36"/>
                    <a:pt x="44" y="35"/>
                  </a:cubicBezTo>
                  <a:cubicBezTo>
                    <a:pt x="36" y="35"/>
                    <a:pt x="33" y="37"/>
                    <a:pt x="34" y="45"/>
                  </a:cubicBezTo>
                  <a:cubicBezTo>
                    <a:pt x="34" y="70"/>
                    <a:pt x="34" y="95"/>
                    <a:pt x="34" y="119"/>
                  </a:cubicBezTo>
                  <a:cubicBezTo>
                    <a:pt x="34" y="126"/>
                    <a:pt x="35" y="129"/>
                    <a:pt x="43" y="129"/>
                  </a:cubicBezTo>
                  <a:cubicBezTo>
                    <a:pt x="68" y="129"/>
                    <a:pt x="93" y="129"/>
                    <a:pt x="119" y="129"/>
                  </a:cubicBezTo>
                  <a:cubicBezTo>
                    <a:pt x="125" y="129"/>
                    <a:pt x="127" y="126"/>
                    <a:pt x="127" y="120"/>
                  </a:cubicBezTo>
                  <a:cubicBezTo>
                    <a:pt x="127" y="108"/>
                    <a:pt x="127" y="96"/>
                    <a:pt x="127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myP_Components">
            <a:extLst>
              <a:ext uri="{FF2B5EF4-FFF2-40B4-BE49-F238E27FC236}">
                <a16:creationId xmlns:a16="http://schemas.microsoft.com/office/drawing/2014/main" id="{8B54DB84-8C10-40C1-AB1E-A97B3BB45986}"/>
              </a:ext>
            </a:extLst>
          </p:cNvPr>
          <p:cNvSpPr>
            <a:spLocks noEditPoints="1"/>
          </p:cNvSpPr>
          <p:nvPr/>
        </p:nvSpPr>
        <p:spPr bwMode="auto">
          <a:xfrm>
            <a:off x="1247135" y="4228164"/>
            <a:ext cx="405849" cy="383540"/>
          </a:xfrm>
          <a:custGeom>
            <a:avLst/>
            <a:gdLst>
              <a:gd name="T0" fmla="*/ 471 w 471"/>
              <a:gd name="T1" fmla="*/ 223 h 445"/>
              <a:gd name="T2" fmla="*/ 469 w 471"/>
              <a:gd name="T3" fmla="*/ 220 h 445"/>
              <a:gd name="T4" fmla="*/ 402 w 471"/>
              <a:gd name="T5" fmla="*/ 180 h 445"/>
              <a:gd name="T6" fmla="*/ 469 w 471"/>
              <a:gd name="T7" fmla="*/ 141 h 445"/>
              <a:gd name="T8" fmla="*/ 471 w 471"/>
              <a:gd name="T9" fmla="*/ 138 h 445"/>
              <a:gd name="T10" fmla="*/ 469 w 471"/>
              <a:gd name="T11" fmla="*/ 135 h 445"/>
              <a:gd name="T12" fmla="*/ 237 w 471"/>
              <a:gd name="T13" fmla="*/ 1 h 445"/>
              <a:gd name="T14" fmla="*/ 233 w 471"/>
              <a:gd name="T15" fmla="*/ 1 h 445"/>
              <a:gd name="T16" fmla="*/ 2 w 471"/>
              <a:gd name="T17" fmla="*/ 135 h 445"/>
              <a:gd name="T18" fmla="*/ 0 w 471"/>
              <a:gd name="T19" fmla="*/ 138 h 445"/>
              <a:gd name="T20" fmla="*/ 2 w 471"/>
              <a:gd name="T21" fmla="*/ 141 h 445"/>
              <a:gd name="T22" fmla="*/ 69 w 471"/>
              <a:gd name="T23" fmla="*/ 180 h 445"/>
              <a:gd name="T24" fmla="*/ 2 w 471"/>
              <a:gd name="T25" fmla="*/ 220 h 445"/>
              <a:gd name="T26" fmla="*/ 0 w 471"/>
              <a:gd name="T27" fmla="*/ 223 h 445"/>
              <a:gd name="T28" fmla="*/ 2 w 471"/>
              <a:gd name="T29" fmla="*/ 226 h 445"/>
              <a:gd name="T30" fmla="*/ 69 w 471"/>
              <a:gd name="T31" fmla="*/ 265 h 445"/>
              <a:gd name="T32" fmla="*/ 2 w 471"/>
              <a:gd name="T33" fmla="*/ 304 h 445"/>
              <a:gd name="T34" fmla="*/ 0 w 471"/>
              <a:gd name="T35" fmla="*/ 307 h 445"/>
              <a:gd name="T36" fmla="*/ 2 w 471"/>
              <a:gd name="T37" fmla="*/ 310 h 445"/>
              <a:gd name="T38" fmla="*/ 234 w 471"/>
              <a:gd name="T39" fmla="*/ 445 h 445"/>
              <a:gd name="T40" fmla="*/ 236 w 471"/>
              <a:gd name="T41" fmla="*/ 445 h 445"/>
              <a:gd name="T42" fmla="*/ 238 w 471"/>
              <a:gd name="T43" fmla="*/ 445 h 445"/>
              <a:gd name="T44" fmla="*/ 469 w 471"/>
              <a:gd name="T45" fmla="*/ 310 h 445"/>
              <a:gd name="T46" fmla="*/ 471 w 471"/>
              <a:gd name="T47" fmla="*/ 307 h 445"/>
              <a:gd name="T48" fmla="*/ 469 w 471"/>
              <a:gd name="T49" fmla="*/ 304 h 445"/>
              <a:gd name="T50" fmla="*/ 402 w 471"/>
              <a:gd name="T51" fmla="*/ 265 h 445"/>
              <a:gd name="T52" fmla="*/ 469 w 471"/>
              <a:gd name="T53" fmla="*/ 226 h 445"/>
              <a:gd name="T54" fmla="*/ 471 w 471"/>
              <a:gd name="T55" fmla="*/ 223 h 445"/>
              <a:gd name="T56" fmla="*/ 11 w 471"/>
              <a:gd name="T57" fmla="*/ 307 h 445"/>
              <a:gd name="T58" fmla="*/ 76 w 471"/>
              <a:gd name="T59" fmla="*/ 269 h 445"/>
              <a:gd name="T60" fmla="*/ 234 w 471"/>
              <a:gd name="T61" fmla="*/ 360 h 445"/>
              <a:gd name="T62" fmla="*/ 236 w 471"/>
              <a:gd name="T63" fmla="*/ 361 h 445"/>
              <a:gd name="T64" fmla="*/ 238 w 471"/>
              <a:gd name="T65" fmla="*/ 360 h 445"/>
              <a:gd name="T66" fmla="*/ 395 w 471"/>
              <a:gd name="T67" fmla="*/ 269 h 445"/>
              <a:gd name="T68" fmla="*/ 460 w 471"/>
              <a:gd name="T69" fmla="*/ 307 h 445"/>
              <a:gd name="T70" fmla="*/ 236 w 471"/>
              <a:gd name="T71" fmla="*/ 437 h 445"/>
              <a:gd name="T72" fmla="*/ 11 w 471"/>
              <a:gd name="T73" fmla="*/ 307 h 445"/>
              <a:gd name="T74" fmla="*/ 391 w 471"/>
              <a:gd name="T75" fmla="*/ 263 h 445"/>
              <a:gd name="T76" fmla="*/ 387 w 471"/>
              <a:gd name="T77" fmla="*/ 265 h 445"/>
              <a:gd name="T78" fmla="*/ 236 w 471"/>
              <a:gd name="T79" fmla="*/ 353 h 445"/>
              <a:gd name="T80" fmla="*/ 84 w 471"/>
              <a:gd name="T81" fmla="*/ 265 h 445"/>
              <a:gd name="T82" fmla="*/ 80 w 471"/>
              <a:gd name="T83" fmla="*/ 263 h 445"/>
              <a:gd name="T84" fmla="*/ 76 w 471"/>
              <a:gd name="T85" fmla="*/ 261 h 445"/>
              <a:gd name="T86" fmla="*/ 11 w 471"/>
              <a:gd name="T87" fmla="*/ 223 h 445"/>
              <a:gd name="T88" fmla="*/ 76 w 471"/>
              <a:gd name="T89" fmla="*/ 184 h 445"/>
              <a:gd name="T90" fmla="*/ 142 w 471"/>
              <a:gd name="T91" fmla="*/ 222 h 445"/>
              <a:gd name="T92" fmla="*/ 146 w 471"/>
              <a:gd name="T93" fmla="*/ 224 h 445"/>
              <a:gd name="T94" fmla="*/ 150 w 471"/>
              <a:gd name="T95" fmla="*/ 227 h 445"/>
              <a:gd name="T96" fmla="*/ 234 w 471"/>
              <a:gd name="T97" fmla="*/ 276 h 445"/>
              <a:gd name="T98" fmla="*/ 236 w 471"/>
              <a:gd name="T99" fmla="*/ 276 h 445"/>
              <a:gd name="T100" fmla="*/ 238 w 471"/>
              <a:gd name="T101" fmla="*/ 276 h 445"/>
              <a:gd name="T102" fmla="*/ 321 w 471"/>
              <a:gd name="T103" fmla="*/ 227 h 445"/>
              <a:gd name="T104" fmla="*/ 325 w 471"/>
              <a:gd name="T105" fmla="*/ 225 h 445"/>
              <a:gd name="T106" fmla="*/ 329 w 471"/>
              <a:gd name="T107" fmla="*/ 223 h 445"/>
              <a:gd name="T108" fmla="*/ 395 w 471"/>
              <a:gd name="T109" fmla="*/ 185 h 445"/>
              <a:gd name="T110" fmla="*/ 460 w 471"/>
              <a:gd name="T111" fmla="*/ 223 h 445"/>
              <a:gd name="T112" fmla="*/ 394 w 471"/>
              <a:gd name="T113" fmla="*/ 261 h 445"/>
              <a:gd name="T114" fmla="*/ 391 w 471"/>
              <a:gd name="T115" fmla="*/ 263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1" h="445">
                <a:moveTo>
                  <a:pt x="471" y="223"/>
                </a:moveTo>
                <a:cubicBezTo>
                  <a:pt x="471" y="221"/>
                  <a:pt x="470" y="220"/>
                  <a:pt x="469" y="220"/>
                </a:cubicBezTo>
                <a:cubicBezTo>
                  <a:pt x="402" y="180"/>
                  <a:pt x="402" y="180"/>
                  <a:pt x="402" y="180"/>
                </a:cubicBezTo>
                <a:cubicBezTo>
                  <a:pt x="469" y="141"/>
                  <a:pt x="469" y="141"/>
                  <a:pt x="469" y="141"/>
                </a:cubicBezTo>
                <a:cubicBezTo>
                  <a:pt x="470" y="141"/>
                  <a:pt x="471" y="139"/>
                  <a:pt x="471" y="138"/>
                </a:cubicBezTo>
                <a:cubicBezTo>
                  <a:pt x="471" y="137"/>
                  <a:pt x="470" y="136"/>
                  <a:pt x="469" y="135"/>
                </a:cubicBezTo>
                <a:cubicBezTo>
                  <a:pt x="237" y="1"/>
                  <a:pt x="237" y="1"/>
                  <a:pt x="237" y="1"/>
                </a:cubicBezTo>
                <a:cubicBezTo>
                  <a:pt x="235" y="0"/>
                  <a:pt x="234" y="0"/>
                  <a:pt x="233" y="1"/>
                </a:cubicBezTo>
                <a:cubicBezTo>
                  <a:pt x="2" y="135"/>
                  <a:pt x="2" y="135"/>
                  <a:pt x="2" y="135"/>
                </a:cubicBezTo>
                <a:cubicBezTo>
                  <a:pt x="0" y="136"/>
                  <a:pt x="0" y="137"/>
                  <a:pt x="0" y="138"/>
                </a:cubicBezTo>
                <a:cubicBezTo>
                  <a:pt x="0" y="139"/>
                  <a:pt x="1" y="141"/>
                  <a:pt x="2" y="141"/>
                </a:cubicBezTo>
                <a:cubicBezTo>
                  <a:pt x="69" y="180"/>
                  <a:pt x="69" y="180"/>
                  <a:pt x="69" y="180"/>
                </a:cubicBezTo>
                <a:cubicBezTo>
                  <a:pt x="2" y="220"/>
                  <a:pt x="2" y="220"/>
                  <a:pt x="2" y="220"/>
                </a:cubicBezTo>
                <a:cubicBezTo>
                  <a:pt x="0" y="220"/>
                  <a:pt x="0" y="221"/>
                  <a:pt x="0" y="223"/>
                </a:cubicBezTo>
                <a:cubicBezTo>
                  <a:pt x="0" y="224"/>
                  <a:pt x="1" y="225"/>
                  <a:pt x="2" y="226"/>
                </a:cubicBezTo>
                <a:cubicBezTo>
                  <a:pt x="69" y="265"/>
                  <a:pt x="69" y="265"/>
                  <a:pt x="69" y="265"/>
                </a:cubicBezTo>
                <a:cubicBezTo>
                  <a:pt x="2" y="304"/>
                  <a:pt x="2" y="304"/>
                  <a:pt x="2" y="304"/>
                </a:cubicBezTo>
                <a:cubicBezTo>
                  <a:pt x="0" y="305"/>
                  <a:pt x="0" y="306"/>
                  <a:pt x="0" y="307"/>
                </a:cubicBezTo>
                <a:cubicBezTo>
                  <a:pt x="0" y="309"/>
                  <a:pt x="1" y="310"/>
                  <a:pt x="2" y="310"/>
                </a:cubicBezTo>
                <a:cubicBezTo>
                  <a:pt x="234" y="445"/>
                  <a:pt x="234" y="445"/>
                  <a:pt x="234" y="445"/>
                </a:cubicBezTo>
                <a:cubicBezTo>
                  <a:pt x="235" y="445"/>
                  <a:pt x="236" y="445"/>
                  <a:pt x="236" y="445"/>
                </a:cubicBezTo>
                <a:cubicBezTo>
                  <a:pt x="237" y="445"/>
                  <a:pt x="237" y="445"/>
                  <a:pt x="238" y="445"/>
                </a:cubicBezTo>
                <a:cubicBezTo>
                  <a:pt x="469" y="310"/>
                  <a:pt x="469" y="310"/>
                  <a:pt x="469" y="310"/>
                </a:cubicBezTo>
                <a:cubicBezTo>
                  <a:pt x="470" y="310"/>
                  <a:pt x="471" y="309"/>
                  <a:pt x="471" y="307"/>
                </a:cubicBezTo>
                <a:cubicBezTo>
                  <a:pt x="471" y="306"/>
                  <a:pt x="470" y="305"/>
                  <a:pt x="469" y="304"/>
                </a:cubicBezTo>
                <a:cubicBezTo>
                  <a:pt x="402" y="265"/>
                  <a:pt x="402" y="265"/>
                  <a:pt x="402" y="265"/>
                </a:cubicBezTo>
                <a:cubicBezTo>
                  <a:pt x="469" y="226"/>
                  <a:pt x="469" y="226"/>
                  <a:pt x="469" y="226"/>
                </a:cubicBezTo>
                <a:cubicBezTo>
                  <a:pt x="470" y="225"/>
                  <a:pt x="471" y="224"/>
                  <a:pt x="471" y="223"/>
                </a:cubicBezTo>
                <a:close/>
                <a:moveTo>
                  <a:pt x="11" y="307"/>
                </a:moveTo>
                <a:cubicBezTo>
                  <a:pt x="76" y="269"/>
                  <a:pt x="76" y="269"/>
                  <a:pt x="76" y="269"/>
                </a:cubicBezTo>
                <a:cubicBezTo>
                  <a:pt x="234" y="360"/>
                  <a:pt x="234" y="360"/>
                  <a:pt x="234" y="360"/>
                </a:cubicBezTo>
                <a:cubicBezTo>
                  <a:pt x="235" y="361"/>
                  <a:pt x="236" y="361"/>
                  <a:pt x="236" y="361"/>
                </a:cubicBezTo>
                <a:cubicBezTo>
                  <a:pt x="237" y="361"/>
                  <a:pt x="237" y="361"/>
                  <a:pt x="238" y="360"/>
                </a:cubicBezTo>
                <a:cubicBezTo>
                  <a:pt x="395" y="269"/>
                  <a:pt x="395" y="269"/>
                  <a:pt x="395" y="269"/>
                </a:cubicBezTo>
                <a:cubicBezTo>
                  <a:pt x="460" y="307"/>
                  <a:pt x="460" y="307"/>
                  <a:pt x="460" y="307"/>
                </a:cubicBezTo>
                <a:cubicBezTo>
                  <a:pt x="236" y="437"/>
                  <a:pt x="236" y="437"/>
                  <a:pt x="236" y="437"/>
                </a:cubicBezTo>
                <a:lnTo>
                  <a:pt x="11" y="307"/>
                </a:lnTo>
                <a:close/>
                <a:moveTo>
                  <a:pt x="391" y="263"/>
                </a:moveTo>
                <a:cubicBezTo>
                  <a:pt x="387" y="265"/>
                  <a:pt x="387" y="265"/>
                  <a:pt x="387" y="265"/>
                </a:cubicBezTo>
                <a:cubicBezTo>
                  <a:pt x="236" y="353"/>
                  <a:pt x="236" y="353"/>
                  <a:pt x="236" y="353"/>
                </a:cubicBezTo>
                <a:cubicBezTo>
                  <a:pt x="84" y="265"/>
                  <a:pt x="84" y="265"/>
                  <a:pt x="84" y="265"/>
                </a:cubicBezTo>
                <a:cubicBezTo>
                  <a:pt x="80" y="263"/>
                  <a:pt x="80" y="263"/>
                  <a:pt x="80" y="263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11" y="223"/>
                  <a:pt x="11" y="223"/>
                  <a:pt x="11" y="223"/>
                </a:cubicBezTo>
                <a:cubicBezTo>
                  <a:pt x="76" y="184"/>
                  <a:pt x="76" y="184"/>
                  <a:pt x="76" y="184"/>
                </a:cubicBezTo>
                <a:cubicBezTo>
                  <a:pt x="142" y="222"/>
                  <a:pt x="142" y="222"/>
                  <a:pt x="142" y="222"/>
                </a:cubicBezTo>
                <a:cubicBezTo>
                  <a:pt x="146" y="224"/>
                  <a:pt x="146" y="224"/>
                  <a:pt x="146" y="224"/>
                </a:cubicBezTo>
                <a:cubicBezTo>
                  <a:pt x="150" y="227"/>
                  <a:pt x="150" y="227"/>
                  <a:pt x="150" y="227"/>
                </a:cubicBezTo>
                <a:cubicBezTo>
                  <a:pt x="234" y="276"/>
                  <a:pt x="234" y="276"/>
                  <a:pt x="234" y="276"/>
                </a:cubicBezTo>
                <a:cubicBezTo>
                  <a:pt x="235" y="276"/>
                  <a:pt x="236" y="276"/>
                  <a:pt x="236" y="276"/>
                </a:cubicBezTo>
                <a:cubicBezTo>
                  <a:pt x="237" y="276"/>
                  <a:pt x="237" y="276"/>
                  <a:pt x="238" y="276"/>
                </a:cubicBezTo>
                <a:cubicBezTo>
                  <a:pt x="321" y="227"/>
                  <a:pt x="321" y="227"/>
                  <a:pt x="321" y="227"/>
                </a:cubicBezTo>
                <a:cubicBezTo>
                  <a:pt x="325" y="225"/>
                  <a:pt x="325" y="225"/>
                  <a:pt x="325" y="225"/>
                </a:cubicBezTo>
                <a:cubicBezTo>
                  <a:pt x="329" y="223"/>
                  <a:pt x="329" y="223"/>
                  <a:pt x="329" y="223"/>
                </a:cubicBezTo>
                <a:cubicBezTo>
                  <a:pt x="395" y="185"/>
                  <a:pt x="395" y="185"/>
                  <a:pt x="395" y="185"/>
                </a:cubicBezTo>
                <a:cubicBezTo>
                  <a:pt x="460" y="223"/>
                  <a:pt x="460" y="223"/>
                  <a:pt x="460" y="223"/>
                </a:cubicBezTo>
                <a:cubicBezTo>
                  <a:pt x="394" y="261"/>
                  <a:pt x="394" y="261"/>
                  <a:pt x="394" y="261"/>
                </a:cubicBezTo>
                <a:lnTo>
                  <a:pt x="391" y="26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4" name="myP_Gear">
            <a:extLst>
              <a:ext uri="{FF2B5EF4-FFF2-40B4-BE49-F238E27FC236}">
                <a16:creationId xmlns:a16="http://schemas.microsoft.com/office/drawing/2014/main" id="{3E69E54D-4A44-4C31-967C-8E4681D8357C}"/>
              </a:ext>
            </a:extLst>
          </p:cNvPr>
          <p:cNvGrpSpPr/>
          <p:nvPr/>
        </p:nvGrpSpPr>
        <p:grpSpPr>
          <a:xfrm>
            <a:off x="1303326" y="3349739"/>
            <a:ext cx="293466" cy="320812"/>
            <a:chOff x="10179051" y="4278312"/>
            <a:chExt cx="1584325" cy="1731963"/>
          </a:xfrm>
          <a:solidFill>
            <a:schemeClr val="tx1"/>
          </a:solidFill>
        </p:grpSpPr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2D61B050-6A9C-4475-8673-DE552969C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0163" y="5229225"/>
              <a:ext cx="1530350" cy="781050"/>
            </a:xfrm>
            <a:custGeom>
              <a:avLst/>
              <a:gdLst>
                <a:gd name="T0" fmla="*/ 192 w 1511"/>
                <a:gd name="T1" fmla="*/ 0 h 771"/>
                <a:gd name="T2" fmla="*/ 356 w 1511"/>
                <a:gd name="T3" fmla="*/ 0 h 771"/>
                <a:gd name="T4" fmla="*/ 381 w 1511"/>
                <a:gd name="T5" fmla="*/ 23 h 771"/>
                <a:gd name="T6" fmla="*/ 720 w 1511"/>
                <a:gd name="T7" fmla="*/ 391 h 771"/>
                <a:gd name="T8" fmla="*/ 1126 w 1511"/>
                <a:gd name="T9" fmla="*/ 81 h 771"/>
                <a:gd name="T10" fmla="*/ 1131 w 1511"/>
                <a:gd name="T11" fmla="*/ 20 h 771"/>
                <a:gd name="T12" fmla="*/ 1149 w 1511"/>
                <a:gd name="T13" fmla="*/ 0 h 771"/>
                <a:gd name="T14" fmla="*/ 1491 w 1511"/>
                <a:gd name="T15" fmla="*/ 0 h 771"/>
                <a:gd name="T16" fmla="*/ 1510 w 1511"/>
                <a:gd name="T17" fmla="*/ 21 h 771"/>
                <a:gd name="T18" fmla="*/ 1508 w 1511"/>
                <a:gd name="T19" fmla="*/ 65 h 771"/>
                <a:gd name="T20" fmla="*/ 1477 w 1511"/>
                <a:gd name="T21" fmla="*/ 98 h 771"/>
                <a:gd name="T22" fmla="*/ 1374 w 1511"/>
                <a:gd name="T23" fmla="*/ 106 h 771"/>
                <a:gd name="T24" fmla="*/ 1339 w 1511"/>
                <a:gd name="T25" fmla="*/ 135 h 771"/>
                <a:gd name="T26" fmla="*/ 1321 w 1511"/>
                <a:gd name="T27" fmla="*/ 204 h 771"/>
                <a:gd name="T28" fmla="*/ 1339 w 1511"/>
                <a:gd name="T29" fmla="*/ 251 h 771"/>
                <a:gd name="T30" fmla="*/ 1417 w 1511"/>
                <a:gd name="T31" fmla="*/ 303 h 771"/>
                <a:gd name="T32" fmla="*/ 1430 w 1511"/>
                <a:gd name="T33" fmla="*/ 356 h 771"/>
                <a:gd name="T34" fmla="*/ 1386 w 1511"/>
                <a:gd name="T35" fmla="*/ 432 h 771"/>
                <a:gd name="T36" fmla="*/ 1339 w 1511"/>
                <a:gd name="T37" fmla="*/ 447 h 771"/>
                <a:gd name="T38" fmla="*/ 1248 w 1511"/>
                <a:gd name="T39" fmla="*/ 404 h 771"/>
                <a:gd name="T40" fmla="*/ 1202 w 1511"/>
                <a:gd name="T41" fmla="*/ 412 h 771"/>
                <a:gd name="T42" fmla="*/ 1148 w 1511"/>
                <a:gd name="T43" fmla="*/ 465 h 771"/>
                <a:gd name="T44" fmla="*/ 1141 w 1511"/>
                <a:gd name="T45" fmla="*/ 507 h 771"/>
                <a:gd name="T46" fmla="*/ 1185 w 1511"/>
                <a:gd name="T47" fmla="*/ 596 h 771"/>
                <a:gd name="T48" fmla="*/ 1168 w 1511"/>
                <a:gd name="T49" fmla="*/ 649 h 771"/>
                <a:gd name="T50" fmla="*/ 1097 w 1511"/>
                <a:gd name="T51" fmla="*/ 690 h 771"/>
                <a:gd name="T52" fmla="*/ 1043 w 1511"/>
                <a:gd name="T53" fmla="*/ 678 h 771"/>
                <a:gd name="T54" fmla="*/ 988 w 1511"/>
                <a:gd name="T55" fmla="*/ 597 h 771"/>
                <a:gd name="T56" fmla="*/ 945 w 1511"/>
                <a:gd name="T57" fmla="*/ 582 h 771"/>
                <a:gd name="T58" fmla="*/ 878 w 1511"/>
                <a:gd name="T59" fmla="*/ 600 h 771"/>
                <a:gd name="T60" fmla="*/ 844 w 1511"/>
                <a:gd name="T61" fmla="*/ 641 h 771"/>
                <a:gd name="T62" fmla="*/ 836 w 1511"/>
                <a:gd name="T63" fmla="*/ 738 h 771"/>
                <a:gd name="T64" fmla="*/ 802 w 1511"/>
                <a:gd name="T65" fmla="*/ 770 h 771"/>
                <a:gd name="T66" fmla="*/ 707 w 1511"/>
                <a:gd name="T67" fmla="*/ 770 h 771"/>
                <a:gd name="T68" fmla="*/ 674 w 1511"/>
                <a:gd name="T69" fmla="*/ 739 h 771"/>
                <a:gd name="T70" fmla="*/ 666 w 1511"/>
                <a:gd name="T71" fmla="*/ 637 h 771"/>
                <a:gd name="T72" fmla="*/ 635 w 1511"/>
                <a:gd name="T73" fmla="*/ 600 h 771"/>
                <a:gd name="T74" fmla="*/ 566 w 1511"/>
                <a:gd name="T75" fmla="*/ 582 h 771"/>
                <a:gd name="T76" fmla="*/ 525 w 1511"/>
                <a:gd name="T77" fmla="*/ 596 h 771"/>
                <a:gd name="T78" fmla="*/ 470 w 1511"/>
                <a:gd name="T79" fmla="*/ 675 h 771"/>
                <a:gd name="T80" fmla="*/ 412 w 1511"/>
                <a:gd name="T81" fmla="*/ 689 h 771"/>
                <a:gd name="T82" fmla="*/ 343 w 1511"/>
                <a:gd name="T83" fmla="*/ 649 h 771"/>
                <a:gd name="T84" fmla="*/ 325 w 1511"/>
                <a:gd name="T85" fmla="*/ 598 h 771"/>
                <a:gd name="T86" fmla="*/ 368 w 1511"/>
                <a:gd name="T87" fmla="*/ 510 h 771"/>
                <a:gd name="T88" fmla="*/ 358 w 1511"/>
                <a:gd name="T89" fmla="*/ 461 h 771"/>
                <a:gd name="T90" fmla="*/ 311 w 1511"/>
                <a:gd name="T91" fmla="*/ 414 h 771"/>
                <a:gd name="T92" fmla="*/ 261 w 1511"/>
                <a:gd name="T93" fmla="*/ 405 h 771"/>
                <a:gd name="T94" fmla="*/ 176 w 1511"/>
                <a:gd name="T95" fmla="*/ 445 h 771"/>
                <a:gd name="T96" fmla="*/ 122 w 1511"/>
                <a:gd name="T97" fmla="*/ 428 h 771"/>
                <a:gd name="T98" fmla="*/ 81 w 1511"/>
                <a:gd name="T99" fmla="*/ 357 h 771"/>
                <a:gd name="T100" fmla="*/ 92 w 1511"/>
                <a:gd name="T101" fmla="*/ 305 h 771"/>
                <a:gd name="T102" fmla="*/ 173 w 1511"/>
                <a:gd name="T103" fmla="*/ 250 h 771"/>
                <a:gd name="T104" fmla="*/ 189 w 1511"/>
                <a:gd name="T105" fmla="*/ 203 h 771"/>
                <a:gd name="T106" fmla="*/ 171 w 1511"/>
                <a:gd name="T107" fmla="*/ 133 h 771"/>
                <a:gd name="T108" fmla="*/ 139 w 1511"/>
                <a:gd name="T109" fmla="*/ 106 h 771"/>
                <a:gd name="T110" fmla="*/ 35 w 1511"/>
                <a:gd name="T111" fmla="*/ 98 h 771"/>
                <a:gd name="T112" fmla="*/ 2 w 1511"/>
                <a:gd name="T113" fmla="*/ 62 h 771"/>
                <a:gd name="T114" fmla="*/ 62 w 1511"/>
                <a:gd name="T115" fmla="*/ 0 h 771"/>
                <a:gd name="T116" fmla="*/ 128 w 1511"/>
                <a:gd name="T117" fmla="*/ 0 h 771"/>
                <a:gd name="T118" fmla="*/ 192 w 1511"/>
                <a:gd name="T119" fmla="*/ 0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11" h="771">
                  <a:moveTo>
                    <a:pt x="192" y="0"/>
                  </a:moveTo>
                  <a:cubicBezTo>
                    <a:pt x="246" y="0"/>
                    <a:pt x="301" y="1"/>
                    <a:pt x="356" y="0"/>
                  </a:cubicBezTo>
                  <a:cubicBezTo>
                    <a:pt x="373" y="0"/>
                    <a:pt x="380" y="4"/>
                    <a:pt x="381" y="23"/>
                  </a:cubicBezTo>
                  <a:cubicBezTo>
                    <a:pt x="385" y="216"/>
                    <a:pt x="528" y="371"/>
                    <a:pt x="720" y="391"/>
                  </a:cubicBezTo>
                  <a:cubicBezTo>
                    <a:pt x="912" y="412"/>
                    <a:pt x="1096" y="271"/>
                    <a:pt x="1126" y="81"/>
                  </a:cubicBezTo>
                  <a:cubicBezTo>
                    <a:pt x="1130" y="61"/>
                    <a:pt x="1131" y="40"/>
                    <a:pt x="1131" y="20"/>
                  </a:cubicBezTo>
                  <a:cubicBezTo>
                    <a:pt x="1131" y="7"/>
                    <a:pt x="1135" y="0"/>
                    <a:pt x="1149" y="0"/>
                  </a:cubicBezTo>
                  <a:cubicBezTo>
                    <a:pt x="1263" y="0"/>
                    <a:pt x="1377" y="0"/>
                    <a:pt x="1491" y="0"/>
                  </a:cubicBezTo>
                  <a:cubicBezTo>
                    <a:pt x="1507" y="0"/>
                    <a:pt x="1511" y="8"/>
                    <a:pt x="1510" y="21"/>
                  </a:cubicBezTo>
                  <a:cubicBezTo>
                    <a:pt x="1510" y="36"/>
                    <a:pt x="1509" y="51"/>
                    <a:pt x="1508" y="65"/>
                  </a:cubicBezTo>
                  <a:cubicBezTo>
                    <a:pt x="1507" y="85"/>
                    <a:pt x="1497" y="96"/>
                    <a:pt x="1477" y="98"/>
                  </a:cubicBezTo>
                  <a:cubicBezTo>
                    <a:pt x="1443" y="101"/>
                    <a:pt x="1408" y="104"/>
                    <a:pt x="1374" y="106"/>
                  </a:cubicBezTo>
                  <a:cubicBezTo>
                    <a:pt x="1354" y="107"/>
                    <a:pt x="1344" y="115"/>
                    <a:pt x="1339" y="135"/>
                  </a:cubicBezTo>
                  <a:cubicBezTo>
                    <a:pt x="1335" y="158"/>
                    <a:pt x="1328" y="181"/>
                    <a:pt x="1321" y="204"/>
                  </a:cubicBezTo>
                  <a:cubicBezTo>
                    <a:pt x="1314" y="229"/>
                    <a:pt x="1317" y="236"/>
                    <a:pt x="1339" y="251"/>
                  </a:cubicBezTo>
                  <a:cubicBezTo>
                    <a:pt x="1365" y="268"/>
                    <a:pt x="1391" y="285"/>
                    <a:pt x="1417" y="303"/>
                  </a:cubicBezTo>
                  <a:cubicBezTo>
                    <a:pt x="1439" y="318"/>
                    <a:pt x="1443" y="333"/>
                    <a:pt x="1430" y="356"/>
                  </a:cubicBezTo>
                  <a:cubicBezTo>
                    <a:pt x="1416" y="382"/>
                    <a:pt x="1401" y="407"/>
                    <a:pt x="1386" y="432"/>
                  </a:cubicBezTo>
                  <a:cubicBezTo>
                    <a:pt x="1374" y="452"/>
                    <a:pt x="1360" y="457"/>
                    <a:pt x="1339" y="447"/>
                  </a:cubicBezTo>
                  <a:cubicBezTo>
                    <a:pt x="1308" y="433"/>
                    <a:pt x="1278" y="419"/>
                    <a:pt x="1248" y="404"/>
                  </a:cubicBezTo>
                  <a:cubicBezTo>
                    <a:pt x="1230" y="395"/>
                    <a:pt x="1216" y="396"/>
                    <a:pt x="1202" y="412"/>
                  </a:cubicBezTo>
                  <a:cubicBezTo>
                    <a:pt x="1185" y="430"/>
                    <a:pt x="1167" y="448"/>
                    <a:pt x="1148" y="465"/>
                  </a:cubicBezTo>
                  <a:cubicBezTo>
                    <a:pt x="1135" y="478"/>
                    <a:pt x="1133" y="491"/>
                    <a:pt x="1141" y="507"/>
                  </a:cubicBezTo>
                  <a:cubicBezTo>
                    <a:pt x="1156" y="536"/>
                    <a:pt x="1171" y="566"/>
                    <a:pt x="1185" y="596"/>
                  </a:cubicBezTo>
                  <a:cubicBezTo>
                    <a:pt x="1197" y="622"/>
                    <a:pt x="1192" y="635"/>
                    <a:pt x="1168" y="649"/>
                  </a:cubicBezTo>
                  <a:cubicBezTo>
                    <a:pt x="1144" y="663"/>
                    <a:pt x="1120" y="676"/>
                    <a:pt x="1097" y="690"/>
                  </a:cubicBezTo>
                  <a:cubicBezTo>
                    <a:pt x="1072" y="704"/>
                    <a:pt x="1059" y="701"/>
                    <a:pt x="1043" y="678"/>
                  </a:cubicBezTo>
                  <a:cubicBezTo>
                    <a:pt x="1024" y="651"/>
                    <a:pt x="1005" y="624"/>
                    <a:pt x="988" y="597"/>
                  </a:cubicBezTo>
                  <a:cubicBezTo>
                    <a:pt x="977" y="580"/>
                    <a:pt x="964" y="575"/>
                    <a:pt x="945" y="582"/>
                  </a:cubicBezTo>
                  <a:cubicBezTo>
                    <a:pt x="923" y="589"/>
                    <a:pt x="900" y="594"/>
                    <a:pt x="878" y="600"/>
                  </a:cubicBezTo>
                  <a:cubicBezTo>
                    <a:pt x="850" y="607"/>
                    <a:pt x="845" y="613"/>
                    <a:pt x="844" y="641"/>
                  </a:cubicBezTo>
                  <a:cubicBezTo>
                    <a:pt x="842" y="673"/>
                    <a:pt x="839" y="706"/>
                    <a:pt x="836" y="738"/>
                  </a:cubicBezTo>
                  <a:cubicBezTo>
                    <a:pt x="834" y="760"/>
                    <a:pt x="824" y="770"/>
                    <a:pt x="802" y="770"/>
                  </a:cubicBezTo>
                  <a:cubicBezTo>
                    <a:pt x="771" y="770"/>
                    <a:pt x="738" y="771"/>
                    <a:pt x="707" y="770"/>
                  </a:cubicBezTo>
                  <a:cubicBezTo>
                    <a:pt x="687" y="769"/>
                    <a:pt x="676" y="758"/>
                    <a:pt x="674" y="739"/>
                  </a:cubicBezTo>
                  <a:cubicBezTo>
                    <a:pt x="671" y="705"/>
                    <a:pt x="668" y="671"/>
                    <a:pt x="666" y="637"/>
                  </a:cubicBezTo>
                  <a:cubicBezTo>
                    <a:pt x="665" y="616"/>
                    <a:pt x="657" y="604"/>
                    <a:pt x="635" y="600"/>
                  </a:cubicBezTo>
                  <a:cubicBezTo>
                    <a:pt x="612" y="595"/>
                    <a:pt x="589" y="589"/>
                    <a:pt x="566" y="582"/>
                  </a:cubicBezTo>
                  <a:cubicBezTo>
                    <a:pt x="548" y="576"/>
                    <a:pt x="535" y="580"/>
                    <a:pt x="525" y="596"/>
                  </a:cubicBezTo>
                  <a:cubicBezTo>
                    <a:pt x="507" y="622"/>
                    <a:pt x="489" y="648"/>
                    <a:pt x="470" y="675"/>
                  </a:cubicBezTo>
                  <a:cubicBezTo>
                    <a:pt x="452" y="701"/>
                    <a:pt x="439" y="704"/>
                    <a:pt x="412" y="689"/>
                  </a:cubicBezTo>
                  <a:cubicBezTo>
                    <a:pt x="389" y="676"/>
                    <a:pt x="366" y="663"/>
                    <a:pt x="343" y="649"/>
                  </a:cubicBezTo>
                  <a:cubicBezTo>
                    <a:pt x="319" y="636"/>
                    <a:pt x="314" y="622"/>
                    <a:pt x="325" y="598"/>
                  </a:cubicBezTo>
                  <a:cubicBezTo>
                    <a:pt x="339" y="568"/>
                    <a:pt x="354" y="539"/>
                    <a:pt x="368" y="510"/>
                  </a:cubicBezTo>
                  <a:cubicBezTo>
                    <a:pt x="379" y="487"/>
                    <a:pt x="376" y="477"/>
                    <a:pt x="358" y="461"/>
                  </a:cubicBezTo>
                  <a:cubicBezTo>
                    <a:pt x="342" y="446"/>
                    <a:pt x="326" y="431"/>
                    <a:pt x="311" y="414"/>
                  </a:cubicBezTo>
                  <a:cubicBezTo>
                    <a:pt x="293" y="395"/>
                    <a:pt x="285" y="393"/>
                    <a:pt x="261" y="405"/>
                  </a:cubicBezTo>
                  <a:cubicBezTo>
                    <a:pt x="232" y="418"/>
                    <a:pt x="204" y="432"/>
                    <a:pt x="176" y="445"/>
                  </a:cubicBezTo>
                  <a:cubicBezTo>
                    <a:pt x="150" y="458"/>
                    <a:pt x="136" y="453"/>
                    <a:pt x="122" y="428"/>
                  </a:cubicBezTo>
                  <a:cubicBezTo>
                    <a:pt x="108" y="404"/>
                    <a:pt x="95" y="380"/>
                    <a:pt x="81" y="357"/>
                  </a:cubicBezTo>
                  <a:cubicBezTo>
                    <a:pt x="68" y="334"/>
                    <a:pt x="71" y="320"/>
                    <a:pt x="92" y="305"/>
                  </a:cubicBezTo>
                  <a:cubicBezTo>
                    <a:pt x="118" y="286"/>
                    <a:pt x="146" y="268"/>
                    <a:pt x="173" y="250"/>
                  </a:cubicBezTo>
                  <a:cubicBezTo>
                    <a:pt x="194" y="235"/>
                    <a:pt x="196" y="228"/>
                    <a:pt x="189" y="203"/>
                  </a:cubicBezTo>
                  <a:cubicBezTo>
                    <a:pt x="183" y="180"/>
                    <a:pt x="176" y="157"/>
                    <a:pt x="171" y="133"/>
                  </a:cubicBezTo>
                  <a:cubicBezTo>
                    <a:pt x="167" y="116"/>
                    <a:pt x="157" y="107"/>
                    <a:pt x="139" y="106"/>
                  </a:cubicBezTo>
                  <a:cubicBezTo>
                    <a:pt x="104" y="104"/>
                    <a:pt x="70" y="101"/>
                    <a:pt x="35" y="98"/>
                  </a:cubicBezTo>
                  <a:cubicBezTo>
                    <a:pt x="13" y="96"/>
                    <a:pt x="2" y="85"/>
                    <a:pt x="2" y="62"/>
                  </a:cubicBezTo>
                  <a:cubicBezTo>
                    <a:pt x="0" y="0"/>
                    <a:pt x="0" y="0"/>
                    <a:pt x="62" y="0"/>
                  </a:cubicBezTo>
                  <a:cubicBezTo>
                    <a:pt x="84" y="0"/>
                    <a:pt x="106" y="0"/>
                    <a:pt x="128" y="0"/>
                  </a:cubicBezTo>
                  <a:cubicBezTo>
                    <a:pt x="149" y="0"/>
                    <a:pt x="170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784E63E8-9FC2-4E5C-9483-FB7C67771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9051" y="4278312"/>
              <a:ext cx="1141413" cy="863600"/>
            </a:xfrm>
            <a:custGeom>
              <a:avLst/>
              <a:gdLst>
                <a:gd name="T0" fmla="*/ 0 w 1126"/>
                <a:gd name="T1" fmla="*/ 771 h 851"/>
                <a:gd name="T2" fmla="*/ 188 w 1126"/>
                <a:gd name="T3" fmla="*/ 288 h 851"/>
                <a:gd name="T4" fmla="*/ 672 w 1126"/>
                <a:gd name="T5" fmla="*/ 23 h 851"/>
                <a:gd name="T6" fmla="*/ 1108 w 1126"/>
                <a:gd name="T7" fmla="*/ 87 h 851"/>
                <a:gd name="T8" fmla="*/ 1115 w 1126"/>
                <a:gd name="T9" fmla="*/ 114 h 851"/>
                <a:gd name="T10" fmla="*/ 1073 w 1126"/>
                <a:gd name="T11" fmla="*/ 168 h 851"/>
                <a:gd name="T12" fmla="*/ 1042 w 1126"/>
                <a:gd name="T13" fmla="*/ 175 h 851"/>
                <a:gd name="T14" fmla="*/ 760 w 1126"/>
                <a:gd name="T15" fmla="*/ 123 h 851"/>
                <a:gd name="T16" fmla="*/ 357 w 1126"/>
                <a:gd name="T17" fmla="*/ 274 h 851"/>
                <a:gd name="T18" fmla="*/ 115 w 1126"/>
                <a:gd name="T19" fmla="*/ 694 h 851"/>
                <a:gd name="T20" fmla="*/ 106 w 1126"/>
                <a:gd name="T21" fmla="*/ 795 h 851"/>
                <a:gd name="T22" fmla="*/ 52 w 1126"/>
                <a:gd name="T23" fmla="*/ 849 h 851"/>
                <a:gd name="T24" fmla="*/ 0 w 1126"/>
                <a:gd name="T25" fmla="*/ 790 h 851"/>
                <a:gd name="T26" fmla="*/ 0 w 1126"/>
                <a:gd name="T27" fmla="*/ 771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6" h="851">
                  <a:moveTo>
                    <a:pt x="0" y="771"/>
                  </a:moveTo>
                  <a:cubicBezTo>
                    <a:pt x="8" y="589"/>
                    <a:pt x="69" y="427"/>
                    <a:pt x="188" y="288"/>
                  </a:cubicBezTo>
                  <a:cubicBezTo>
                    <a:pt x="316" y="139"/>
                    <a:pt x="478" y="51"/>
                    <a:pt x="672" y="23"/>
                  </a:cubicBezTo>
                  <a:cubicBezTo>
                    <a:pt x="823" y="0"/>
                    <a:pt x="969" y="24"/>
                    <a:pt x="1108" y="87"/>
                  </a:cubicBezTo>
                  <a:cubicBezTo>
                    <a:pt x="1124" y="94"/>
                    <a:pt x="1126" y="101"/>
                    <a:pt x="1115" y="114"/>
                  </a:cubicBezTo>
                  <a:cubicBezTo>
                    <a:pt x="1100" y="131"/>
                    <a:pt x="1086" y="149"/>
                    <a:pt x="1073" y="168"/>
                  </a:cubicBezTo>
                  <a:cubicBezTo>
                    <a:pt x="1064" y="180"/>
                    <a:pt x="1055" y="181"/>
                    <a:pt x="1042" y="175"/>
                  </a:cubicBezTo>
                  <a:cubicBezTo>
                    <a:pt x="952" y="137"/>
                    <a:pt x="858" y="120"/>
                    <a:pt x="760" y="123"/>
                  </a:cubicBezTo>
                  <a:cubicBezTo>
                    <a:pt x="609" y="128"/>
                    <a:pt x="474" y="178"/>
                    <a:pt x="357" y="274"/>
                  </a:cubicBezTo>
                  <a:cubicBezTo>
                    <a:pt x="224" y="383"/>
                    <a:pt x="143" y="523"/>
                    <a:pt x="115" y="694"/>
                  </a:cubicBezTo>
                  <a:cubicBezTo>
                    <a:pt x="110" y="727"/>
                    <a:pt x="109" y="761"/>
                    <a:pt x="106" y="795"/>
                  </a:cubicBezTo>
                  <a:cubicBezTo>
                    <a:pt x="104" y="829"/>
                    <a:pt x="82" y="851"/>
                    <a:pt x="52" y="849"/>
                  </a:cubicBezTo>
                  <a:cubicBezTo>
                    <a:pt x="23" y="848"/>
                    <a:pt x="0" y="823"/>
                    <a:pt x="0" y="790"/>
                  </a:cubicBezTo>
                  <a:cubicBezTo>
                    <a:pt x="0" y="784"/>
                    <a:pt x="0" y="778"/>
                    <a:pt x="0" y="7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55B137DD-34A8-47B5-AEC4-E302ED2DA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7388" y="4356100"/>
              <a:ext cx="627063" cy="814388"/>
            </a:xfrm>
            <a:custGeom>
              <a:avLst/>
              <a:gdLst>
                <a:gd name="T0" fmla="*/ 81 w 619"/>
                <a:gd name="T1" fmla="*/ 803 h 804"/>
                <a:gd name="T2" fmla="*/ 18 w 619"/>
                <a:gd name="T3" fmla="*/ 755 h 804"/>
                <a:gd name="T4" fmla="*/ 29 w 619"/>
                <a:gd name="T5" fmla="*/ 652 h 804"/>
                <a:gd name="T6" fmla="*/ 194 w 619"/>
                <a:gd name="T7" fmla="*/ 444 h 804"/>
                <a:gd name="T8" fmla="*/ 519 w 619"/>
                <a:gd name="T9" fmla="*/ 33 h 804"/>
                <a:gd name="T10" fmla="*/ 592 w 619"/>
                <a:gd name="T11" fmla="*/ 17 h 804"/>
                <a:gd name="T12" fmla="*/ 602 w 619"/>
                <a:gd name="T13" fmla="*/ 88 h 804"/>
                <a:gd name="T14" fmla="*/ 427 w 619"/>
                <a:gd name="T15" fmla="*/ 366 h 804"/>
                <a:gd name="T16" fmla="*/ 187 w 619"/>
                <a:gd name="T17" fmla="*/ 746 h 804"/>
                <a:gd name="T18" fmla="*/ 81 w 619"/>
                <a:gd name="T19" fmla="*/ 80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9" h="804">
                  <a:moveTo>
                    <a:pt x="81" y="803"/>
                  </a:moveTo>
                  <a:cubicBezTo>
                    <a:pt x="62" y="803"/>
                    <a:pt x="34" y="787"/>
                    <a:pt x="18" y="755"/>
                  </a:cubicBezTo>
                  <a:cubicBezTo>
                    <a:pt x="0" y="719"/>
                    <a:pt x="4" y="684"/>
                    <a:pt x="29" y="652"/>
                  </a:cubicBezTo>
                  <a:cubicBezTo>
                    <a:pt x="84" y="583"/>
                    <a:pt x="139" y="513"/>
                    <a:pt x="194" y="444"/>
                  </a:cubicBezTo>
                  <a:cubicBezTo>
                    <a:pt x="303" y="307"/>
                    <a:pt x="411" y="170"/>
                    <a:pt x="519" y="33"/>
                  </a:cubicBezTo>
                  <a:cubicBezTo>
                    <a:pt x="540" y="6"/>
                    <a:pt x="567" y="0"/>
                    <a:pt x="592" y="17"/>
                  </a:cubicBezTo>
                  <a:cubicBezTo>
                    <a:pt x="614" y="31"/>
                    <a:pt x="619" y="61"/>
                    <a:pt x="602" y="88"/>
                  </a:cubicBezTo>
                  <a:cubicBezTo>
                    <a:pt x="544" y="181"/>
                    <a:pt x="485" y="273"/>
                    <a:pt x="427" y="366"/>
                  </a:cubicBezTo>
                  <a:cubicBezTo>
                    <a:pt x="347" y="492"/>
                    <a:pt x="266" y="619"/>
                    <a:pt x="187" y="746"/>
                  </a:cubicBezTo>
                  <a:cubicBezTo>
                    <a:pt x="166" y="780"/>
                    <a:pt x="140" y="804"/>
                    <a:pt x="81" y="8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2321AB7F-2F7B-4C63-9F09-95A77EAF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0001" y="4487863"/>
              <a:ext cx="333375" cy="650875"/>
            </a:xfrm>
            <a:custGeom>
              <a:avLst/>
              <a:gdLst>
                <a:gd name="T0" fmla="*/ 328 w 328"/>
                <a:gd name="T1" fmla="*/ 562 h 641"/>
                <a:gd name="T2" fmla="*/ 328 w 328"/>
                <a:gd name="T3" fmla="*/ 588 h 641"/>
                <a:gd name="T4" fmla="*/ 275 w 328"/>
                <a:gd name="T5" fmla="*/ 641 h 641"/>
                <a:gd name="T6" fmla="*/ 222 w 328"/>
                <a:gd name="T7" fmla="*/ 588 h 641"/>
                <a:gd name="T8" fmla="*/ 159 w 328"/>
                <a:gd name="T9" fmla="*/ 306 h 641"/>
                <a:gd name="T10" fmla="*/ 14 w 328"/>
                <a:gd name="T11" fmla="*/ 104 h 641"/>
                <a:gd name="T12" fmla="*/ 10 w 328"/>
                <a:gd name="T13" fmla="*/ 71 h 641"/>
                <a:gd name="T14" fmla="*/ 46 w 328"/>
                <a:gd name="T15" fmla="*/ 13 h 641"/>
                <a:gd name="T16" fmla="*/ 71 w 328"/>
                <a:gd name="T17" fmla="*/ 10 h 641"/>
                <a:gd name="T18" fmla="*/ 223 w 328"/>
                <a:gd name="T19" fmla="*/ 199 h 641"/>
                <a:gd name="T20" fmla="*/ 328 w 328"/>
                <a:gd name="T21" fmla="*/ 562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" h="641">
                  <a:moveTo>
                    <a:pt x="328" y="562"/>
                  </a:moveTo>
                  <a:cubicBezTo>
                    <a:pt x="328" y="574"/>
                    <a:pt x="328" y="581"/>
                    <a:pt x="328" y="588"/>
                  </a:cubicBezTo>
                  <a:cubicBezTo>
                    <a:pt x="327" y="619"/>
                    <a:pt x="304" y="641"/>
                    <a:pt x="275" y="641"/>
                  </a:cubicBezTo>
                  <a:cubicBezTo>
                    <a:pt x="244" y="641"/>
                    <a:pt x="223" y="620"/>
                    <a:pt x="222" y="588"/>
                  </a:cubicBezTo>
                  <a:cubicBezTo>
                    <a:pt x="219" y="490"/>
                    <a:pt x="201" y="395"/>
                    <a:pt x="159" y="306"/>
                  </a:cubicBezTo>
                  <a:cubicBezTo>
                    <a:pt x="123" y="230"/>
                    <a:pt x="75" y="162"/>
                    <a:pt x="14" y="104"/>
                  </a:cubicBezTo>
                  <a:cubicBezTo>
                    <a:pt x="2" y="93"/>
                    <a:pt x="0" y="84"/>
                    <a:pt x="10" y="71"/>
                  </a:cubicBezTo>
                  <a:cubicBezTo>
                    <a:pt x="23" y="52"/>
                    <a:pt x="35" y="33"/>
                    <a:pt x="46" y="13"/>
                  </a:cubicBezTo>
                  <a:cubicBezTo>
                    <a:pt x="54" y="1"/>
                    <a:pt x="60" y="0"/>
                    <a:pt x="71" y="10"/>
                  </a:cubicBezTo>
                  <a:cubicBezTo>
                    <a:pt x="131" y="65"/>
                    <a:pt x="182" y="128"/>
                    <a:pt x="223" y="199"/>
                  </a:cubicBezTo>
                  <a:cubicBezTo>
                    <a:pt x="289" y="313"/>
                    <a:pt x="323" y="436"/>
                    <a:pt x="328" y="5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1">
              <a:extLst>
                <a:ext uri="{FF2B5EF4-FFF2-40B4-BE49-F238E27FC236}">
                  <a16:creationId xmlns:a16="http://schemas.microsoft.com/office/drawing/2014/main" id="{5136C4ED-2BB3-4597-A685-BA01BF0C8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5226" y="5033963"/>
              <a:ext cx="261938" cy="111125"/>
            </a:xfrm>
            <a:custGeom>
              <a:avLst/>
              <a:gdLst>
                <a:gd name="T0" fmla="*/ 126 w 258"/>
                <a:gd name="T1" fmla="*/ 110 h 110"/>
                <a:gd name="T2" fmla="*/ 58 w 258"/>
                <a:gd name="T3" fmla="*/ 110 h 110"/>
                <a:gd name="T4" fmla="*/ 1 w 258"/>
                <a:gd name="T5" fmla="*/ 56 h 110"/>
                <a:gd name="T6" fmla="*/ 55 w 258"/>
                <a:gd name="T7" fmla="*/ 2 h 110"/>
                <a:gd name="T8" fmla="*/ 199 w 258"/>
                <a:gd name="T9" fmla="*/ 1 h 110"/>
                <a:gd name="T10" fmla="*/ 257 w 258"/>
                <a:gd name="T11" fmla="*/ 57 h 110"/>
                <a:gd name="T12" fmla="*/ 196 w 258"/>
                <a:gd name="T13" fmla="*/ 110 h 110"/>
                <a:gd name="T14" fmla="*/ 126 w 258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8" h="110">
                  <a:moveTo>
                    <a:pt x="126" y="110"/>
                  </a:moveTo>
                  <a:cubicBezTo>
                    <a:pt x="103" y="110"/>
                    <a:pt x="81" y="110"/>
                    <a:pt x="58" y="110"/>
                  </a:cubicBezTo>
                  <a:cubicBezTo>
                    <a:pt x="23" y="108"/>
                    <a:pt x="1" y="88"/>
                    <a:pt x="1" y="56"/>
                  </a:cubicBezTo>
                  <a:cubicBezTo>
                    <a:pt x="0" y="25"/>
                    <a:pt x="21" y="3"/>
                    <a:pt x="55" y="2"/>
                  </a:cubicBezTo>
                  <a:cubicBezTo>
                    <a:pt x="103" y="0"/>
                    <a:pt x="151" y="0"/>
                    <a:pt x="199" y="1"/>
                  </a:cubicBezTo>
                  <a:cubicBezTo>
                    <a:pt x="235" y="2"/>
                    <a:pt x="258" y="26"/>
                    <a:pt x="257" y="57"/>
                  </a:cubicBezTo>
                  <a:cubicBezTo>
                    <a:pt x="256" y="88"/>
                    <a:pt x="232" y="109"/>
                    <a:pt x="196" y="110"/>
                  </a:cubicBezTo>
                  <a:cubicBezTo>
                    <a:pt x="173" y="110"/>
                    <a:pt x="149" y="110"/>
                    <a:pt x="126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id="{2771B7B6-76A9-410C-9B94-705145418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5176" y="4464050"/>
              <a:ext cx="112713" cy="261938"/>
            </a:xfrm>
            <a:custGeom>
              <a:avLst/>
              <a:gdLst>
                <a:gd name="T0" fmla="*/ 1 w 112"/>
                <a:gd name="T1" fmla="*/ 129 h 259"/>
                <a:gd name="T2" fmla="*/ 1 w 112"/>
                <a:gd name="T3" fmla="*/ 57 h 259"/>
                <a:gd name="T4" fmla="*/ 50 w 112"/>
                <a:gd name="T5" fmla="*/ 2 h 259"/>
                <a:gd name="T6" fmla="*/ 108 w 112"/>
                <a:gd name="T7" fmla="*/ 50 h 259"/>
                <a:gd name="T8" fmla="*/ 108 w 112"/>
                <a:gd name="T9" fmla="*/ 208 h 259"/>
                <a:gd name="T10" fmla="*/ 54 w 112"/>
                <a:gd name="T11" fmla="*/ 258 h 259"/>
                <a:gd name="T12" fmla="*/ 1 w 112"/>
                <a:gd name="T13" fmla="*/ 203 h 259"/>
                <a:gd name="T14" fmla="*/ 1 w 112"/>
                <a:gd name="T15" fmla="*/ 129 h 259"/>
                <a:gd name="T16" fmla="*/ 1 w 112"/>
                <a:gd name="T17" fmla="*/ 12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259">
                  <a:moveTo>
                    <a:pt x="1" y="129"/>
                  </a:moveTo>
                  <a:cubicBezTo>
                    <a:pt x="1" y="105"/>
                    <a:pt x="1" y="81"/>
                    <a:pt x="1" y="57"/>
                  </a:cubicBezTo>
                  <a:cubicBezTo>
                    <a:pt x="2" y="26"/>
                    <a:pt x="22" y="4"/>
                    <a:pt x="50" y="2"/>
                  </a:cubicBezTo>
                  <a:cubicBezTo>
                    <a:pt x="81" y="0"/>
                    <a:pt x="105" y="18"/>
                    <a:pt x="108" y="50"/>
                  </a:cubicBezTo>
                  <a:cubicBezTo>
                    <a:pt x="112" y="103"/>
                    <a:pt x="112" y="156"/>
                    <a:pt x="108" y="208"/>
                  </a:cubicBezTo>
                  <a:cubicBezTo>
                    <a:pt x="105" y="239"/>
                    <a:pt x="82" y="259"/>
                    <a:pt x="54" y="258"/>
                  </a:cubicBezTo>
                  <a:cubicBezTo>
                    <a:pt x="25" y="258"/>
                    <a:pt x="2" y="234"/>
                    <a:pt x="1" y="203"/>
                  </a:cubicBezTo>
                  <a:cubicBezTo>
                    <a:pt x="0" y="179"/>
                    <a:pt x="1" y="154"/>
                    <a:pt x="1" y="129"/>
                  </a:cubicBezTo>
                  <a:cubicBezTo>
                    <a:pt x="1" y="129"/>
                    <a:pt x="1" y="129"/>
                    <a:pt x="1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3">
              <a:extLst>
                <a:ext uri="{FF2B5EF4-FFF2-40B4-BE49-F238E27FC236}">
                  <a16:creationId xmlns:a16="http://schemas.microsoft.com/office/drawing/2014/main" id="{8882BADA-913A-45D7-829F-4F6AE16A1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6701" y="4729163"/>
              <a:ext cx="254000" cy="193675"/>
            </a:xfrm>
            <a:custGeom>
              <a:avLst/>
              <a:gdLst>
                <a:gd name="T0" fmla="*/ 190 w 251"/>
                <a:gd name="T1" fmla="*/ 190 h 190"/>
                <a:gd name="T2" fmla="*/ 161 w 251"/>
                <a:gd name="T3" fmla="*/ 180 h 190"/>
                <a:gd name="T4" fmla="*/ 42 w 251"/>
                <a:gd name="T5" fmla="*/ 111 h 190"/>
                <a:gd name="T6" fmla="*/ 17 w 251"/>
                <a:gd name="T7" fmla="*/ 34 h 190"/>
                <a:gd name="T8" fmla="*/ 97 w 251"/>
                <a:gd name="T9" fmla="*/ 19 h 190"/>
                <a:gd name="T10" fmla="*/ 218 w 251"/>
                <a:gd name="T11" fmla="*/ 89 h 190"/>
                <a:gd name="T12" fmla="*/ 244 w 251"/>
                <a:gd name="T13" fmla="*/ 150 h 190"/>
                <a:gd name="T14" fmla="*/ 190 w 251"/>
                <a:gd name="T15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190">
                  <a:moveTo>
                    <a:pt x="190" y="190"/>
                  </a:moveTo>
                  <a:cubicBezTo>
                    <a:pt x="181" y="190"/>
                    <a:pt x="171" y="186"/>
                    <a:pt x="161" y="180"/>
                  </a:cubicBezTo>
                  <a:cubicBezTo>
                    <a:pt x="121" y="157"/>
                    <a:pt x="81" y="134"/>
                    <a:pt x="42" y="111"/>
                  </a:cubicBezTo>
                  <a:cubicBezTo>
                    <a:pt x="10" y="92"/>
                    <a:pt x="0" y="62"/>
                    <a:pt x="17" y="34"/>
                  </a:cubicBezTo>
                  <a:cubicBezTo>
                    <a:pt x="34" y="6"/>
                    <a:pt x="66" y="0"/>
                    <a:pt x="97" y="19"/>
                  </a:cubicBezTo>
                  <a:cubicBezTo>
                    <a:pt x="138" y="42"/>
                    <a:pt x="178" y="65"/>
                    <a:pt x="218" y="89"/>
                  </a:cubicBezTo>
                  <a:cubicBezTo>
                    <a:pt x="242" y="103"/>
                    <a:pt x="251" y="126"/>
                    <a:pt x="244" y="150"/>
                  </a:cubicBezTo>
                  <a:cubicBezTo>
                    <a:pt x="237" y="174"/>
                    <a:pt x="217" y="190"/>
                    <a:pt x="190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4">
              <a:extLst>
                <a:ext uri="{FF2B5EF4-FFF2-40B4-BE49-F238E27FC236}">
                  <a16:creationId xmlns:a16="http://schemas.microsoft.com/office/drawing/2014/main" id="{72B9C850-D82A-4BC7-8921-8C5A772B7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076" y="4741863"/>
              <a:ext cx="247650" cy="204788"/>
            </a:xfrm>
            <a:custGeom>
              <a:avLst/>
              <a:gdLst>
                <a:gd name="T0" fmla="*/ 244 w 244"/>
                <a:gd name="T1" fmla="*/ 66 h 202"/>
                <a:gd name="T2" fmla="*/ 217 w 244"/>
                <a:gd name="T3" fmla="*/ 112 h 202"/>
                <a:gd name="T4" fmla="*/ 88 w 244"/>
                <a:gd name="T5" fmla="*/ 187 h 202"/>
                <a:gd name="T6" fmla="*/ 15 w 244"/>
                <a:gd name="T7" fmla="*/ 168 h 202"/>
                <a:gd name="T8" fmla="*/ 34 w 244"/>
                <a:gd name="T9" fmla="*/ 95 h 202"/>
                <a:gd name="T10" fmla="*/ 167 w 244"/>
                <a:gd name="T11" fmla="*/ 19 h 202"/>
                <a:gd name="T12" fmla="*/ 244 w 244"/>
                <a:gd name="T13" fmla="*/ 6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" h="202">
                  <a:moveTo>
                    <a:pt x="244" y="66"/>
                  </a:moveTo>
                  <a:cubicBezTo>
                    <a:pt x="244" y="85"/>
                    <a:pt x="235" y="101"/>
                    <a:pt x="217" y="112"/>
                  </a:cubicBezTo>
                  <a:cubicBezTo>
                    <a:pt x="174" y="137"/>
                    <a:pt x="131" y="163"/>
                    <a:pt x="88" y="187"/>
                  </a:cubicBezTo>
                  <a:cubicBezTo>
                    <a:pt x="60" y="202"/>
                    <a:pt x="30" y="193"/>
                    <a:pt x="15" y="168"/>
                  </a:cubicBezTo>
                  <a:cubicBezTo>
                    <a:pt x="0" y="142"/>
                    <a:pt x="6" y="112"/>
                    <a:pt x="34" y="95"/>
                  </a:cubicBezTo>
                  <a:cubicBezTo>
                    <a:pt x="77" y="69"/>
                    <a:pt x="121" y="43"/>
                    <a:pt x="167" y="19"/>
                  </a:cubicBezTo>
                  <a:cubicBezTo>
                    <a:pt x="202" y="0"/>
                    <a:pt x="243" y="25"/>
                    <a:pt x="244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5">
              <a:extLst>
                <a:ext uri="{FF2B5EF4-FFF2-40B4-BE49-F238E27FC236}">
                  <a16:creationId xmlns:a16="http://schemas.microsoft.com/office/drawing/2014/main" id="{0011887C-3596-4B59-871F-C0C00A152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4188" y="4530725"/>
              <a:ext cx="193675" cy="252413"/>
            </a:xfrm>
            <a:custGeom>
              <a:avLst/>
              <a:gdLst>
                <a:gd name="T0" fmla="*/ 1 w 190"/>
                <a:gd name="T1" fmla="*/ 60 h 249"/>
                <a:gd name="T2" fmla="*/ 37 w 190"/>
                <a:gd name="T3" fmla="*/ 7 h 249"/>
                <a:gd name="T4" fmla="*/ 97 w 190"/>
                <a:gd name="T5" fmla="*/ 27 h 249"/>
                <a:gd name="T6" fmla="*/ 175 w 190"/>
                <a:gd name="T7" fmla="*/ 162 h 249"/>
                <a:gd name="T8" fmla="*/ 154 w 190"/>
                <a:gd name="T9" fmla="*/ 235 h 249"/>
                <a:gd name="T10" fmla="*/ 82 w 190"/>
                <a:gd name="T11" fmla="*/ 213 h 249"/>
                <a:gd name="T12" fmla="*/ 7 w 190"/>
                <a:gd name="T13" fmla="*/ 86 h 249"/>
                <a:gd name="T14" fmla="*/ 1 w 190"/>
                <a:gd name="T15" fmla="*/ 6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" h="249">
                  <a:moveTo>
                    <a:pt x="1" y="60"/>
                  </a:moveTo>
                  <a:cubicBezTo>
                    <a:pt x="1" y="34"/>
                    <a:pt x="13" y="15"/>
                    <a:pt x="37" y="7"/>
                  </a:cubicBezTo>
                  <a:cubicBezTo>
                    <a:pt x="59" y="0"/>
                    <a:pt x="84" y="7"/>
                    <a:pt x="97" y="27"/>
                  </a:cubicBezTo>
                  <a:cubicBezTo>
                    <a:pt x="124" y="72"/>
                    <a:pt x="150" y="117"/>
                    <a:pt x="175" y="162"/>
                  </a:cubicBezTo>
                  <a:cubicBezTo>
                    <a:pt x="190" y="190"/>
                    <a:pt x="180" y="221"/>
                    <a:pt x="154" y="235"/>
                  </a:cubicBezTo>
                  <a:cubicBezTo>
                    <a:pt x="128" y="249"/>
                    <a:pt x="99" y="241"/>
                    <a:pt x="82" y="213"/>
                  </a:cubicBezTo>
                  <a:cubicBezTo>
                    <a:pt x="56" y="171"/>
                    <a:pt x="32" y="128"/>
                    <a:pt x="7" y="86"/>
                  </a:cubicBezTo>
                  <a:cubicBezTo>
                    <a:pt x="3" y="77"/>
                    <a:pt x="0" y="68"/>
                    <a:pt x="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6">
              <a:extLst>
                <a:ext uri="{FF2B5EF4-FFF2-40B4-BE49-F238E27FC236}">
                  <a16:creationId xmlns:a16="http://schemas.microsoft.com/office/drawing/2014/main" id="{B18D6658-72CC-420F-BA12-BF5A3EF92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5263" y="5016500"/>
              <a:ext cx="261938" cy="109538"/>
            </a:xfrm>
            <a:custGeom>
              <a:avLst/>
              <a:gdLst>
                <a:gd name="T0" fmla="*/ 131 w 259"/>
                <a:gd name="T1" fmla="*/ 1 h 108"/>
                <a:gd name="T2" fmla="*/ 205 w 259"/>
                <a:gd name="T3" fmla="*/ 1 h 108"/>
                <a:gd name="T4" fmla="*/ 257 w 259"/>
                <a:gd name="T5" fmla="*/ 48 h 108"/>
                <a:gd name="T6" fmla="*/ 210 w 259"/>
                <a:gd name="T7" fmla="*/ 106 h 108"/>
                <a:gd name="T8" fmla="*/ 48 w 259"/>
                <a:gd name="T9" fmla="*/ 106 h 108"/>
                <a:gd name="T10" fmla="*/ 1 w 259"/>
                <a:gd name="T11" fmla="*/ 53 h 108"/>
                <a:gd name="T12" fmla="*/ 51 w 259"/>
                <a:gd name="T13" fmla="*/ 1 h 108"/>
                <a:gd name="T14" fmla="*/ 91 w 259"/>
                <a:gd name="T15" fmla="*/ 1 h 108"/>
                <a:gd name="T16" fmla="*/ 131 w 259"/>
                <a:gd name="T17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08">
                  <a:moveTo>
                    <a:pt x="131" y="1"/>
                  </a:moveTo>
                  <a:cubicBezTo>
                    <a:pt x="155" y="1"/>
                    <a:pt x="180" y="0"/>
                    <a:pt x="205" y="1"/>
                  </a:cubicBezTo>
                  <a:cubicBezTo>
                    <a:pt x="233" y="1"/>
                    <a:pt x="255" y="22"/>
                    <a:pt x="257" y="48"/>
                  </a:cubicBezTo>
                  <a:cubicBezTo>
                    <a:pt x="259" y="79"/>
                    <a:pt x="240" y="105"/>
                    <a:pt x="210" y="106"/>
                  </a:cubicBezTo>
                  <a:cubicBezTo>
                    <a:pt x="156" y="108"/>
                    <a:pt x="102" y="108"/>
                    <a:pt x="48" y="106"/>
                  </a:cubicBezTo>
                  <a:cubicBezTo>
                    <a:pt x="23" y="106"/>
                    <a:pt x="0" y="79"/>
                    <a:pt x="1" y="53"/>
                  </a:cubicBezTo>
                  <a:cubicBezTo>
                    <a:pt x="1" y="26"/>
                    <a:pt x="23" y="2"/>
                    <a:pt x="51" y="1"/>
                  </a:cubicBezTo>
                  <a:cubicBezTo>
                    <a:pt x="64" y="0"/>
                    <a:pt x="78" y="1"/>
                    <a:pt x="91" y="1"/>
                  </a:cubicBezTo>
                  <a:cubicBezTo>
                    <a:pt x="104" y="1"/>
                    <a:pt x="117" y="1"/>
                    <a:pt x="13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381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1" name="Object 310" hidden="1">
            <a:extLst>
              <a:ext uri="{FF2B5EF4-FFF2-40B4-BE49-F238E27FC236}">
                <a16:creationId xmlns:a16="http://schemas.microsoft.com/office/drawing/2014/main" id="{39A47BCA-890B-44BD-BDDE-5A36E2E290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385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311" name="Object 310" hidden="1">
                        <a:extLst>
                          <a:ext uri="{FF2B5EF4-FFF2-40B4-BE49-F238E27FC236}">
                            <a16:creationId xmlns:a16="http://schemas.microsoft.com/office/drawing/2014/main" id="{39A47BCA-890B-44BD-BDDE-5A36E2E290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01329974-8EEC-4BBB-80C0-AC6CC4E178E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ith the Holmes project we replace IBM Watson and add a custom-built AI for Medical Coding to the MP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83CC61-2405-41C0-9BDC-C214FBB55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148248-F00D-4DFB-95D1-BCF2A58ED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6A083A-B3B7-4BB2-B323-DE609C301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8</a:t>
            </a:fld>
            <a:endParaRPr lang="en-US"/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6D0871BE-4735-43E5-8847-9FDB7A1E3B06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618" name="Computer">
            <a:extLst>
              <a:ext uri="{FF2B5EF4-FFF2-40B4-BE49-F238E27FC236}">
                <a16:creationId xmlns:a16="http://schemas.microsoft.com/office/drawing/2014/main" id="{3479B41B-0ED6-4206-8DAD-49D08989A76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accent1"/>
          </a:solidFill>
        </p:grpSpPr>
        <p:sp>
          <p:nvSpPr>
            <p:cNvPr id="619" name="Freeform 614">
              <a:extLst>
                <a:ext uri="{FF2B5EF4-FFF2-40B4-BE49-F238E27FC236}">
                  <a16:creationId xmlns:a16="http://schemas.microsoft.com/office/drawing/2014/main" id="{B72E6E6D-D801-41B5-B2C5-0D8F685C1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0" name="Freeform: Shape 329">
              <a:extLst>
                <a:ext uri="{FF2B5EF4-FFF2-40B4-BE49-F238E27FC236}">
                  <a16:creationId xmlns:a16="http://schemas.microsoft.com/office/drawing/2014/main" id="{E07F1338-6A12-452D-9BF1-677DFB8927C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1" name="Freeform: Shape 327">
              <a:extLst>
                <a:ext uri="{FF2B5EF4-FFF2-40B4-BE49-F238E27FC236}">
                  <a16:creationId xmlns:a16="http://schemas.microsoft.com/office/drawing/2014/main" id="{D4B16153-AA9B-47C0-BA17-CC627D2214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2" name="Freeform 617">
              <a:extLst>
                <a:ext uri="{FF2B5EF4-FFF2-40B4-BE49-F238E27FC236}">
                  <a16:creationId xmlns:a16="http://schemas.microsoft.com/office/drawing/2014/main" id="{C52BDC64-A2FC-4826-8C8F-C3022598FF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3" name="Freeform: Shape 330">
              <a:extLst>
                <a:ext uri="{FF2B5EF4-FFF2-40B4-BE49-F238E27FC236}">
                  <a16:creationId xmlns:a16="http://schemas.microsoft.com/office/drawing/2014/main" id="{3CA1DA92-B162-4D61-BCD8-7204594A1D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624" name="Computer">
            <a:extLst>
              <a:ext uri="{FF2B5EF4-FFF2-40B4-BE49-F238E27FC236}">
                <a16:creationId xmlns:a16="http://schemas.microsoft.com/office/drawing/2014/main" id="{6A72DD22-1DFD-401E-B10A-1F25E560661D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accent1"/>
          </a:solidFill>
        </p:grpSpPr>
        <p:sp>
          <p:nvSpPr>
            <p:cNvPr id="625" name="Freeform 620">
              <a:extLst>
                <a:ext uri="{FF2B5EF4-FFF2-40B4-BE49-F238E27FC236}">
                  <a16:creationId xmlns:a16="http://schemas.microsoft.com/office/drawing/2014/main" id="{41E8BE38-0921-479A-A665-FB50FDAC39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6" name="Freeform: Shape 329">
              <a:extLst>
                <a:ext uri="{FF2B5EF4-FFF2-40B4-BE49-F238E27FC236}">
                  <a16:creationId xmlns:a16="http://schemas.microsoft.com/office/drawing/2014/main" id="{8AEAC9BD-CF25-444A-AC11-53320F7B31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7" name="Freeform: Shape 327">
              <a:extLst>
                <a:ext uri="{FF2B5EF4-FFF2-40B4-BE49-F238E27FC236}">
                  <a16:creationId xmlns:a16="http://schemas.microsoft.com/office/drawing/2014/main" id="{E8C7E2F6-7D28-446B-95ED-F454E2725A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8" name="Freeform 623">
              <a:extLst>
                <a:ext uri="{FF2B5EF4-FFF2-40B4-BE49-F238E27FC236}">
                  <a16:creationId xmlns:a16="http://schemas.microsoft.com/office/drawing/2014/main" id="{2E22044C-111A-4531-B927-E7440A67D4F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629" name="Freeform: Shape 330">
              <a:extLst>
                <a:ext uri="{FF2B5EF4-FFF2-40B4-BE49-F238E27FC236}">
                  <a16:creationId xmlns:a16="http://schemas.microsoft.com/office/drawing/2014/main" id="{7479FC02-B5E9-4B0E-8824-2918696966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9E2A317C-45A3-431E-A7EC-3802AC362B02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</p:grpSpPr>
        <p:grpSp>
          <p:nvGrpSpPr>
            <p:cNvPr id="631" name="Gruppieren 907">
              <a:extLst>
                <a:ext uri="{FF2B5EF4-FFF2-40B4-BE49-F238E27FC236}">
                  <a16:creationId xmlns:a16="http://schemas.microsoft.com/office/drawing/2014/main" id="{A3830EA2-0D67-4E6F-8200-FB134F063E5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</p:grpSpPr>
          <p:sp>
            <p:nvSpPr>
              <p:cNvPr id="654" name="Abgerundetes Rechteck 908">
                <a:extLst>
                  <a:ext uri="{FF2B5EF4-FFF2-40B4-BE49-F238E27FC236}">
                    <a16:creationId xmlns:a16="http://schemas.microsoft.com/office/drawing/2014/main" id="{BC9B1A64-BDA6-4964-B3B9-63DC4C83448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655" name="Gruppieren 909">
                <a:extLst>
                  <a:ext uri="{FF2B5EF4-FFF2-40B4-BE49-F238E27FC236}">
                    <a16:creationId xmlns:a16="http://schemas.microsoft.com/office/drawing/2014/main" id="{BAEF5F76-FAEB-4E1E-BDA4-9305B6E72C72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673" name="Freeform 668">
                  <a:extLst>
                    <a:ext uri="{FF2B5EF4-FFF2-40B4-BE49-F238E27FC236}">
                      <a16:creationId xmlns:a16="http://schemas.microsoft.com/office/drawing/2014/main" id="{410035AF-9739-4FF1-A926-FE01259E4AB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74" name="Freeform 669">
                  <a:extLst>
                    <a:ext uri="{FF2B5EF4-FFF2-40B4-BE49-F238E27FC236}">
                      <a16:creationId xmlns:a16="http://schemas.microsoft.com/office/drawing/2014/main" id="{B74C8BDA-3A4E-4DAD-A1C8-563A4F6A2F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656" name="Gruppieren 910">
                <a:extLst>
                  <a:ext uri="{FF2B5EF4-FFF2-40B4-BE49-F238E27FC236}">
                    <a16:creationId xmlns:a16="http://schemas.microsoft.com/office/drawing/2014/main" id="{67450759-E486-4A5C-A597-ACABF499CFD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657" name="Abgerundetes Rechteck 911">
                  <a:extLst>
                    <a:ext uri="{FF2B5EF4-FFF2-40B4-BE49-F238E27FC236}">
                      <a16:creationId xmlns:a16="http://schemas.microsoft.com/office/drawing/2014/main" id="{186A44F5-325F-40D4-AFCC-D7859DF2877C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58" name="Rectangle 657">
                  <a:extLst>
                    <a:ext uri="{FF2B5EF4-FFF2-40B4-BE49-F238E27FC236}">
                      <a16:creationId xmlns:a16="http://schemas.microsoft.com/office/drawing/2014/main" id="{25F292F1-DD41-49A8-BA39-2A13958B5A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59" name="Rectangle 658">
                  <a:extLst>
                    <a:ext uri="{FF2B5EF4-FFF2-40B4-BE49-F238E27FC236}">
                      <a16:creationId xmlns:a16="http://schemas.microsoft.com/office/drawing/2014/main" id="{04668E8D-6665-4448-93E6-424D5AA235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0" name="Rectangle 659">
                  <a:extLst>
                    <a:ext uri="{FF2B5EF4-FFF2-40B4-BE49-F238E27FC236}">
                      <a16:creationId xmlns:a16="http://schemas.microsoft.com/office/drawing/2014/main" id="{46801DA0-85BD-435D-AFB3-469EF8097B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1" name="Rectangle 660">
                  <a:extLst>
                    <a:ext uri="{FF2B5EF4-FFF2-40B4-BE49-F238E27FC236}">
                      <a16:creationId xmlns:a16="http://schemas.microsoft.com/office/drawing/2014/main" id="{B819CA70-B0DB-4609-B448-4F7F4AE81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2" name="Rectangle 661">
                  <a:extLst>
                    <a:ext uri="{FF2B5EF4-FFF2-40B4-BE49-F238E27FC236}">
                      <a16:creationId xmlns:a16="http://schemas.microsoft.com/office/drawing/2014/main" id="{F5C5BE7C-03EF-4C95-8774-D3BD9C354B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3" name="Rectangle 662">
                  <a:extLst>
                    <a:ext uri="{FF2B5EF4-FFF2-40B4-BE49-F238E27FC236}">
                      <a16:creationId xmlns:a16="http://schemas.microsoft.com/office/drawing/2014/main" id="{00DF0029-1A2E-411C-9140-51CE619D78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4" name="Rectangle 663">
                  <a:extLst>
                    <a:ext uri="{FF2B5EF4-FFF2-40B4-BE49-F238E27FC236}">
                      <a16:creationId xmlns:a16="http://schemas.microsoft.com/office/drawing/2014/main" id="{CDAEE6EB-0D90-4625-8349-E0471F4FDF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5" name="Rectangle 664">
                  <a:extLst>
                    <a:ext uri="{FF2B5EF4-FFF2-40B4-BE49-F238E27FC236}">
                      <a16:creationId xmlns:a16="http://schemas.microsoft.com/office/drawing/2014/main" id="{F906820D-DA8D-44C2-855A-29A117EB94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6" name="Rectangle 665">
                  <a:extLst>
                    <a:ext uri="{FF2B5EF4-FFF2-40B4-BE49-F238E27FC236}">
                      <a16:creationId xmlns:a16="http://schemas.microsoft.com/office/drawing/2014/main" id="{F94F8F43-9F35-456B-87CA-F8D885B77E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7" name="Rectangle 666">
                  <a:extLst>
                    <a:ext uri="{FF2B5EF4-FFF2-40B4-BE49-F238E27FC236}">
                      <a16:creationId xmlns:a16="http://schemas.microsoft.com/office/drawing/2014/main" id="{82B03563-1BB7-48AB-9FD2-A7FDF1614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8" name="Rectangle 667">
                  <a:extLst>
                    <a:ext uri="{FF2B5EF4-FFF2-40B4-BE49-F238E27FC236}">
                      <a16:creationId xmlns:a16="http://schemas.microsoft.com/office/drawing/2014/main" id="{CD2F9D92-C720-4723-98FB-FCDAF35167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69" name="Rectangle 668">
                  <a:extLst>
                    <a:ext uri="{FF2B5EF4-FFF2-40B4-BE49-F238E27FC236}">
                      <a16:creationId xmlns:a16="http://schemas.microsoft.com/office/drawing/2014/main" id="{969FCC6E-3CD5-4615-9143-E3333F45B5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70" name="Rectangle 669">
                  <a:extLst>
                    <a:ext uri="{FF2B5EF4-FFF2-40B4-BE49-F238E27FC236}">
                      <a16:creationId xmlns:a16="http://schemas.microsoft.com/office/drawing/2014/main" id="{30E3F903-4F08-422C-A145-BD508DE862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71" name="Rectangle 670">
                  <a:extLst>
                    <a:ext uri="{FF2B5EF4-FFF2-40B4-BE49-F238E27FC236}">
                      <a16:creationId xmlns:a16="http://schemas.microsoft.com/office/drawing/2014/main" id="{6EC0D27B-E4A8-4D98-9E77-A56A41DB07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72" name="Rectangle 671">
                  <a:extLst>
                    <a:ext uri="{FF2B5EF4-FFF2-40B4-BE49-F238E27FC236}">
                      <a16:creationId xmlns:a16="http://schemas.microsoft.com/office/drawing/2014/main" id="{A242E0ED-42E5-454A-B1BE-A79AA8081A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632" name="Gruppieren 907">
              <a:extLst>
                <a:ext uri="{FF2B5EF4-FFF2-40B4-BE49-F238E27FC236}">
                  <a16:creationId xmlns:a16="http://schemas.microsoft.com/office/drawing/2014/main" id="{45389E81-7F46-46B2-BC08-F15E70E19CE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</p:grpSpPr>
          <p:sp>
            <p:nvSpPr>
              <p:cNvPr id="633" name="Abgerundetes Rechteck 908">
                <a:extLst>
                  <a:ext uri="{FF2B5EF4-FFF2-40B4-BE49-F238E27FC236}">
                    <a16:creationId xmlns:a16="http://schemas.microsoft.com/office/drawing/2014/main" id="{296E0034-057C-4099-BCCA-AEC4CB82EF8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634" name="Gruppieren 909">
                <a:extLst>
                  <a:ext uri="{FF2B5EF4-FFF2-40B4-BE49-F238E27FC236}">
                    <a16:creationId xmlns:a16="http://schemas.microsoft.com/office/drawing/2014/main" id="{5BE4A2F2-E6DA-4EAC-B451-C1976D3ADCE6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652" name="Freeform 647">
                  <a:extLst>
                    <a:ext uri="{FF2B5EF4-FFF2-40B4-BE49-F238E27FC236}">
                      <a16:creationId xmlns:a16="http://schemas.microsoft.com/office/drawing/2014/main" id="{E4E1F552-48DC-4F40-AB0F-ED73FDA9BB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53" name="Freeform 648">
                  <a:extLst>
                    <a:ext uri="{FF2B5EF4-FFF2-40B4-BE49-F238E27FC236}">
                      <a16:creationId xmlns:a16="http://schemas.microsoft.com/office/drawing/2014/main" id="{865CB7CC-5B81-4C77-81C0-155775200CB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635" name="Gruppieren 910">
                <a:extLst>
                  <a:ext uri="{FF2B5EF4-FFF2-40B4-BE49-F238E27FC236}">
                    <a16:creationId xmlns:a16="http://schemas.microsoft.com/office/drawing/2014/main" id="{9194CD67-D881-473D-BB90-8998593462AE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636" name="Abgerundetes Rechteck 911">
                  <a:extLst>
                    <a:ext uri="{FF2B5EF4-FFF2-40B4-BE49-F238E27FC236}">
                      <a16:creationId xmlns:a16="http://schemas.microsoft.com/office/drawing/2014/main" id="{EBAA79CE-BCA2-4E17-AEFB-301E931C1D3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37" name="Rectangle 636">
                  <a:extLst>
                    <a:ext uri="{FF2B5EF4-FFF2-40B4-BE49-F238E27FC236}">
                      <a16:creationId xmlns:a16="http://schemas.microsoft.com/office/drawing/2014/main" id="{EB74AD2B-37CB-4E36-8822-8F4EFA20FF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38" name="Rectangle 637">
                  <a:extLst>
                    <a:ext uri="{FF2B5EF4-FFF2-40B4-BE49-F238E27FC236}">
                      <a16:creationId xmlns:a16="http://schemas.microsoft.com/office/drawing/2014/main" id="{60CDD1BE-4F42-4550-8E9A-6D48309A50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39" name="Rectangle 638">
                  <a:extLst>
                    <a:ext uri="{FF2B5EF4-FFF2-40B4-BE49-F238E27FC236}">
                      <a16:creationId xmlns:a16="http://schemas.microsoft.com/office/drawing/2014/main" id="{BEF9B334-13BA-42FF-AF03-2CF2C1A47E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0" name="Rectangle 639">
                  <a:extLst>
                    <a:ext uri="{FF2B5EF4-FFF2-40B4-BE49-F238E27FC236}">
                      <a16:creationId xmlns:a16="http://schemas.microsoft.com/office/drawing/2014/main" id="{526D685D-A269-44F8-800C-2700CCF399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1" name="Rectangle 640">
                  <a:extLst>
                    <a:ext uri="{FF2B5EF4-FFF2-40B4-BE49-F238E27FC236}">
                      <a16:creationId xmlns:a16="http://schemas.microsoft.com/office/drawing/2014/main" id="{2D0D7F5D-E4A2-4C25-9018-D80941ED4C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2" name="Rectangle 641">
                  <a:extLst>
                    <a:ext uri="{FF2B5EF4-FFF2-40B4-BE49-F238E27FC236}">
                      <a16:creationId xmlns:a16="http://schemas.microsoft.com/office/drawing/2014/main" id="{16189EEF-856A-4353-ACC9-0DF2063F67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3" name="Rectangle 642">
                  <a:extLst>
                    <a:ext uri="{FF2B5EF4-FFF2-40B4-BE49-F238E27FC236}">
                      <a16:creationId xmlns:a16="http://schemas.microsoft.com/office/drawing/2014/main" id="{944DCE97-7605-4543-84A5-1B391907FC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4" name="Rectangle 643">
                  <a:extLst>
                    <a:ext uri="{FF2B5EF4-FFF2-40B4-BE49-F238E27FC236}">
                      <a16:creationId xmlns:a16="http://schemas.microsoft.com/office/drawing/2014/main" id="{399C71FF-5B6F-44BE-8A29-4C1C0BE986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5" name="Rectangle 644">
                  <a:extLst>
                    <a:ext uri="{FF2B5EF4-FFF2-40B4-BE49-F238E27FC236}">
                      <a16:creationId xmlns:a16="http://schemas.microsoft.com/office/drawing/2014/main" id="{3EFB8618-98CB-4EF0-8431-E2187A9F1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6" name="Rectangle 645">
                  <a:extLst>
                    <a:ext uri="{FF2B5EF4-FFF2-40B4-BE49-F238E27FC236}">
                      <a16:creationId xmlns:a16="http://schemas.microsoft.com/office/drawing/2014/main" id="{8FDDBE31-29FB-4341-8233-FF3DFCA541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7" name="Rectangle 646">
                  <a:extLst>
                    <a:ext uri="{FF2B5EF4-FFF2-40B4-BE49-F238E27FC236}">
                      <a16:creationId xmlns:a16="http://schemas.microsoft.com/office/drawing/2014/main" id="{E19A79ED-BBAF-4296-B9F8-2FE3B5047C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8" name="Rectangle 647">
                  <a:extLst>
                    <a:ext uri="{FF2B5EF4-FFF2-40B4-BE49-F238E27FC236}">
                      <a16:creationId xmlns:a16="http://schemas.microsoft.com/office/drawing/2014/main" id="{15795C0D-D566-4A2E-824A-900402AD95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49" name="Rectangle 648">
                  <a:extLst>
                    <a:ext uri="{FF2B5EF4-FFF2-40B4-BE49-F238E27FC236}">
                      <a16:creationId xmlns:a16="http://schemas.microsoft.com/office/drawing/2014/main" id="{5EA069F8-13FD-47F6-9388-D00090591F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50" name="Rectangle 649">
                  <a:extLst>
                    <a:ext uri="{FF2B5EF4-FFF2-40B4-BE49-F238E27FC236}">
                      <a16:creationId xmlns:a16="http://schemas.microsoft.com/office/drawing/2014/main" id="{5205A405-E990-4EAA-BA9C-2E5164B5EE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651" name="Rectangle 650">
                  <a:extLst>
                    <a:ext uri="{FF2B5EF4-FFF2-40B4-BE49-F238E27FC236}">
                      <a16:creationId xmlns:a16="http://schemas.microsoft.com/office/drawing/2014/main" id="{1B1C22A2-B53D-4637-B62D-A0E4A2CCD1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675" name="Rectangle 674">
            <a:extLst>
              <a:ext uri="{FF2B5EF4-FFF2-40B4-BE49-F238E27FC236}">
                <a16:creationId xmlns:a16="http://schemas.microsoft.com/office/drawing/2014/main" id="{38B2D0EC-903F-45A4-A5E5-6E93B1AEBCE1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676" name="TextBox 179">
            <a:extLst>
              <a:ext uri="{FF2B5EF4-FFF2-40B4-BE49-F238E27FC236}">
                <a16:creationId xmlns:a16="http://schemas.microsoft.com/office/drawing/2014/main" id="{2ABECAE7-649A-4D94-94CD-CD20845722A8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D2E84B43-EACC-46A9-98C9-D900782BC2F0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678" name="Gruppieren 907">
            <a:extLst>
              <a:ext uri="{FF2B5EF4-FFF2-40B4-BE49-F238E27FC236}">
                <a16:creationId xmlns:a16="http://schemas.microsoft.com/office/drawing/2014/main" id="{9743010B-B367-4D2B-A0C8-F71B09E8F20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</p:grpSpPr>
        <p:sp>
          <p:nvSpPr>
            <p:cNvPr id="679" name="Abgerundetes Rechteck 908">
              <a:extLst>
                <a:ext uri="{FF2B5EF4-FFF2-40B4-BE49-F238E27FC236}">
                  <a16:creationId xmlns:a16="http://schemas.microsoft.com/office/drawing/2014/main" id="{45F2BC21-0276-4F96-A08A-410B2F540AC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680" name="Gruppieren 909">
              <a:extLst>
                <a:ext uri="{FF2B5EF4-FFF2-40B4-BE49-F238E27FC236}">
                  <a16:creationId xmlns:a16="http://schemas.microsoft.com/office/drawing/2014/main" id="{0235FD79-360F-4B79-912C-05803ECC9824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698" name="Freeform 693">
                <a:extLst>
                  <a:ext uri="{FF2B5EF4-FFF2-40B4-BE49-F238E27FC236}">
                    <a16:creationId xmlns:a16="http://schemas.microsoft.com/office/drawing/2014/main" id="{755800ED-F890-418C-B2E7-2223ED8739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9" name="Freeform 694">
                <a:extLst>
                  <a:ext uri="{FF2B5EF4-FFF2-40B4-BE49-F238E27FC236}">
                    <a16:creationId xmlns:a16="http://schemas.microsoft.com/office/drawing/2014/main" id="{87AAD6A1-9308-4B06-B08E-D861AA8C1B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681" name="Gruppieren 910">
              <a:extLst>
                <a:ext uri="{FF2B5EF4-FFF2-40B4-BE49-F238E27FC236}">
                  <a16:creationId xmlns:a16="http://schemas.microsoft.com/office/drawing/2014/main" id="{2D4B8E9C-3EB1-48E6-BC00-9E1978B40855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682" name="Abgerundetes Rechteck 911">
                <a:extLst>
                  <a:ext uri="{FF2B5EF4-FFF2-40B4-BE49-F238E27FC236}">
                    <a16:creationId xmlns:a16="http://schemas.microsoft.com/office/drawing/2014/main" id="{CDC34FE5-3EF8-46BD-86B2-4E32DE1CBD76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3" name="Rectangle 682">
                <a:extLst>
                  <a:ext uri="{FF2B5EF4-FFF2-40B4-BE49-F238E27FC236}">
                    <a16:creationId xmlns:a16="http://schemas.microsoft.com/office/drawing/2014/main" id="{1C5E0984-6552-4B42-8E6B-D9A51DC2DB9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4" name="Rectangle 683">
                <a:extLst>
                  <a:ext uri="{FF2B5EF4-FFF2-40B4-BE49-F238E27FC236}">
                    <a16:creationId xmlns:a16="http://schemas.microsoft.com/office/drawing/2014/main" id="{63CA7370-E33E-43C2-A5A9-A8E47B84FEC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5" name="Rectangle 684">
                <a:extLst>
                  <a:ext uri="{FF2B5EF4-FFF2-40B4-BE49-F238E27FC236}">
                    <a16:creationId xmlns:a16="http://schemas.microsoft.com/office/drawing/2014/main" id="{9C46D199-F0B2-438F-9E11-3A1278AAD1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6" name="Rectangle 685">
                <a:extLst>
                  <a:ext uri="{FF2B5EF4-FFF2-40B4-BE49-F238E27FC236}">
                    <a16:creationId xmlns:a16="http://schemas.microsoft.com/office/drawing/2014/main" id="{48BA0D37-82DF-4E7D-9144-5A2EBBC2B66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7" name="Rectangle 686">
                <a:extLst>
                  <a:ext uri="{FF2B5EF4-FFF2-40B4-BE49-F238E27FC236}">
                    <a16:creationId xmlns:a16="http://schemas.microsoft.com/office/drawing/2014/main" id="{B9E3507E-8321-449D-91A4-16A415768D9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8" name="Rectangle 687">
                <a:extLst>
                  <a:ext uri="{FF2B5EF4-FFF2-40B4-BE49-F238E27FC236}">
                    <a16:creationId xmlns:a16="http://schemas.microsoft.com/office/drawing/2014/main" id="{8D4429F4-BAD7-4964-9986-1B2FB62BE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89" name="Rectangle 688">
                <a:extLst>
                  <a:ext uri="{FF2B5EF4-FFF2-40B4-BE49-F238E27FC236}">
                    <a16:creationId xmlns:a16="http://schemas.microsoft.com/office/drawing/2014/main" id="{CA5EB785-FB3D-4033-A3C4-4C33522BD0E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0" name="Rectangle 689">
                <a:extLst>
                  <a:ext uri="{FF2B5EF4-FFF2-40B4-BE49-F238E27FC236}">
                    <a16:creationId xmlns:a16="http://schemas.microsoft.com/office/drawing/2014/main" id="{6F45899B-F238-46A3-B45D-C278452D5A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1" name="Rectangle 690">
                <a:extLst>
                  <a:ext uri="{FF2B5EF4-FFF2-40B4-BE49-F238E27FC236}">
                    <a16:creationId xmlns:a16="http://schemas.microsoft.com/office/drawing/2014/main" id="{16C69D00-FE5D-4EE8-A9CD-EDE3A623435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2" name="Rectangle 691">
                <a:extLst>
                  <a:ext uri="{FF2B5EF4-FFF2-40B4-BE49-F238E27FC236}">
                    <a16:creationId xmlns:a16="http://schemas.microsoft.com/office/drawing/2014/main" id="{217E4590-79DF-4E53-BD8A-069900B88D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3" name="Rectangle 692">
                <a:extLst>
                  <a:ext uri="{FF2B5EF4-FFF2-40B4-BE49-F238E27FC236}">
                    <a16:creationId xmlns:a16="http://schemas.microsoft.com/office/drawing/2014/main" id="{FA29C533-228E-4064-88D0-8D567C08971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4" name="Rectangle 693">
                <a:extLst>
                  <a:ext uri="{FF2B5EF4-FFF2-40B4-BE49-F238E27FC236}">
                    <a16:creationId xmlns:a16="http://schemas.microsoft.com/office/drawing/2014/main" id="{F6DD8FFE-C3C0-484A-9AE3-049AB624D2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5" name="Rectangle 694">
                <a:extLst>
                  <a:ext uri="{FF2B5EF4-FFF2-40B4-BE49-F238E27FC236}">
                    <a16:creationId xmlns:a16="http://schemas.microsoft.com/office/drawing/2014/main" id="{5D22B82E-566C-4C3B-8461-A8EE281A65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6" name="Rectangle 695">
                <a:extLst>
                  <a:ext uri="{FF2B5EF4-FFF2-40B4-BE49-F238E27FC236}">
                    <a16:creationId xmlns:a16="http://schemas.microsoft.com/office/drawing/2014/main" id="{8904B9A7-49D9-412C-8234-1BD001D815B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697" name="Rectangle 696">
                <a:extLst>
                  <a:ext uri="{FF2B5EF4-FFF2-40B4-BE49-F238E27FC236}">
                    <a16:creationId xmlns:a16="http://schemas.microsoft.com/office/drawing/2014/main" id="{17223C99-A35B-4A9C-8090-75ED04A6201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700" name="Gruppieren 907">
            <a:extLst>
              <a:ext uri="{FF2B5EF4-FFF2-40B4-BE49-F238E27FC236}">
                <a16:creationId xmlns:a16="http://schemas.microsoft.com/office/drawing/2014/main" id="{614F57A5-BC14-4CD2-8C2E-DF75B5C445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</p:grpSpPr>
        <p:sp>
          <p:nvSpPr>
            <p:cNvPr id="701" name="Abgerundetes Rechteck 908">
              <a:extLst>
                <a:ext uri="{FF2B5EF4-FFF2-40B4-BE49-F238E27FC236}">
                  <a16:creationId xmlns:a16="http://schemas.microsoft.com/office/drawing/2014/main" id="{5AE3B4C1-D8C7-448D-A8B3-8DA2FB5C8A6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702" name="Gruppieren 909">
              <a:extLst>
                <a:ext uri="{FF2B5EF4-FFF2-40B4-BE49-F238E27FC236}">
                  <a16:creationId xmlns:a16="http://schemas.microsoft.com/office/drawing/2014/main" id="{68A5E56E-F396-4F77-A38C-029BD598D12C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720" name="Freeform 715">
                <a:extLst>
                  <a:ext uri="{FF2B5EF4-FFF2-40B4-BE49-F238E27FC236}">
                    <a16:creationId xmlns:a16="http://schemas.microsoft.com/office/drawing/2014/main" id="{EEFE4E5B-7505-45B1-BE8B-723E1372C1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21" name="Freeform 716">
                <a:extLst>
                  <a:ext uri="{FF2B5EF4-FFF2-40B4-BE49-F238E27FC236}">
                    <a16:creationId xmlns:a16="http://schemas.microsoft.com/office/drawing/2014/main" id="{2C7ED307-EB1D-4CAF-AE0F-B78201AD5B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703" name="Gruppieren 910">
              <a:extLst>
                <a:ext uri="{FF2B5EF4-FFF2-40B4-BE49-F238E27FC236}">
                  <a16:creationId xmlns:a16="http://schemas.microsoft.com/office/drawing/2014/main" id="{3951BD18-E465-4478-A15B-7B523F34ED6B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704" name="Abgerundetes Rechteck 911">
                <a:extLst>
                  <a:ext uri="{FF2B5EF4-FFF2-40B4-BE49-F238E27FC236}">
                    <a16:creationId xmlns:a16="http://schemas.microsoft.com/office/drawing/2014/main" id="{6BF3803C-1302-4CA7-8D6C-757B85714D17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05" name="Rectangle 704">
                <a:extLst>
                  <a:ext uri="{FF2B5EF4-FFF2-40B4-BE49-F238E27FC236}">
                    <a16:creationId xmlns:a16="http://schemas.microsoft.com/office/drawing/2014/main" id="{F801E9E1-296E-401D-97F0-8C16E3AA00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06" name="Rectangle 705">
                <a:extLst>
                  <a:ext uri="{FF2B5EF4-FFF2-40B4-BE49-F238E27FC236}">
                    <a16:creationId xmlns:a16="http://schemas.microsoft.com/office/drawing/2014/main" id="{240ADA27-9ED8-4976-BC92-1DCB0AB5D06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07" name="Rectangle 706">
                <a:extLst>
                  <a:ext uri="{FF2B5EF4-FFF2-40B4-BE49-F238E27FC236}">
                    <a16:creationId xmlns:a16="http://schemas.microsoft.com/office/drawing/2014/main" id="{51E70150-DE47-4DF8-A4C1-76E2512F29E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08" name="Rectangle 707">
                <a:extLst>
                  <a:ext uri="{FF2B5EF4-FFF2-40B4-BE49-F238E27FC236}">
                    <a16:creationId xmlns:a16="http://schemas.microsoft.com/office/drawing/2014/main" id="{C758B32C-F135-450C-BB67-851233BFF5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09" name="Rectangle 708">
                <a:extLst>
                  <a:ext uri="{FF2B5EF4-FFF2-40B4-BE49-F238E27FC236}">
                    <a16:creationId xmlns:a16="http://schemas.microsoft.com/office/drawing/2014/main" id="{C2A5B9B9-6187-4DB5-AC7A-0AD9A6CF497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0" name="Rectangle 709">
                <a:extLst>
                  <a:ext uri="{FF2B5EF4-FFF2-40B4-BE49-F238E27FC236}">
                    <a16:creationId xmlns:a16="http://schemas.microsoft.com/office/drawing/2014/main" id="{7F43ABD9-4CCD-44BA-82CA-55DE1A9E4F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1" name="Rectangle 710">
                <a:extLst>
                  <a:ext uri="{FF2B5EF4-FFF2-40B4-BE49-F238E27FC236}">
                    <a16:creationId xmlns:a16="http://schemas.microsoft.com/office/drawing/2014/main" id="{5975D891-5FEB-4201-A929-3731267F44D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2" name="Rectangle 711">
                <a:extLst>
                  <a:ext uri="{FF2B5EF4-FFF2-40B4-BE49-F238E27FC236}">
                    <a16:creationId xmlns:a16="http://schemas.microsoft.com/office/drawing/2014/main" id="{0AD6CE34-DA69-4C08-ACAA-7BF2B09DD1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3" name="Rectangle 712">
                <a:extLst>
                  <a:ext uri="{FF2B5EF4-FFF2-40B4-BE49-F238E27FC236}">
                    <a16:creationId xmlns:a16="http://schemas.microsoft.com/office/drawing/2014/main" id="{8848905C-C123-4FBD-B9B8-3392A94A346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4" name="Rectangle 713">
                <a:extLst>
                  <a:ext uri="{FF2B5EF4-FFF2-40B4-BE49-F238E27FC236}">
                    <a16:creationId xmlns:a16="http://schemas.microsoft.com/office/drawing/2014/main" id="{042F0995-F5FC-4ECD-BDF6-09691CFE83F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5" name="Rectangle 714">
                <a:extLst>
                  <a:ext uri="{FF2B5EF4-FFF2-40B4-BE49-F238E27FC236}">
                    <a16:creationId xmlns:a16="http://schemas.microsoft.com/office/drawing/2014/main" id="{EDD5B4AF-8C0D-40DF-9808-1174ABD44B5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6" name="Rectangle 715">
                <a:extLst>
                  <a:ext uri="{FF2B5EF4-FFF2-40B4-BE49-F238E27FC236}">
                    <a16:creationId xmlns:a16="http://schemas.microsoft.com/office/drawing/2014/main" id="{D1574D10-27D3-4968-8294-3FA33A13DAD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7" name="Rectangle 716">
                <a:extLst>
                  <a:ext uri="{FF2B5EF4-FFF2-40B4-BE49-F238E27FC236}">
                    <a16:creationId xmlns:a16="http://schemas.microsoft.com/office/drawing/2014/main" id="{4C15414B-F217-449A-A576-B960C4FA278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8" name="Rectangle 717">
                <a:extLst>
                  <a:ext uri="{FF2B5EF4-FFF2-40B4-BE49-F238E27FC236}">
                    <a16:creationId xmlns:a16="http://schemas.microsoft.com/office/drawing/2014/main" id="{54AE930D-CC34-470B-8222-FC4BF7ED55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19" name="Rectangle 718">
                <a:extLst>
                  <a:ext uri="{FF2B5EF4-FFF2-40B4-BE49-F238E27FC236}">
                    <a16:creationId xmlns:a16="http://schemas.microsoft.com/office/drawing/2014/main" id="{B5A15022-81D4-411E-9563-D5CAFDD5537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722" name="Gruppieren 907">
            <a:extLst>
              <a:ext uri="{FF2B5EF4-FFF2-40B4-BE49-F238E27FC236}">
                <a16:creationId xmlns:a16="http://schemas.microsoft.com/office/drawing/2014/main" id="{4E891A59-4282-4D2C-8F0D-41C590D686A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</p:grpSpPr>
        <p:sp>
          <p:nvSpPr>
            <p:cNvPr id="723" name="Abgerundetes Rechteck 908">
              <a:extLst>
                <a:ext uri="{FF2B5EF4-FFF2-40B4-BE49-F238E27FC236}">
                  <a16:creationId xmlns:a16="http://schemas.microsoft.com/office/drawing/2014/main" id="{80F988CD-F3A6-4BE2-8972-AA79CFD437CB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724" name="Gruppieren 909">
              <a:extLst>
                <a:ext uri="{FF2B5EF4-FFF2-40B4-BE49-F238E27FC236}">
                  <a16:creationId xmlns:a16="http://schemas.microsoft.com/office/drawing/2014/main" id="{48FB69FF-0077-446E-8006-39C5584333A4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742" name="Freeform 737">
                <a:extLst>
                  <a:ext uri="{FF2B5EF4-FFF2-40B4-BE49-F238E27FC236}">
                    <a16:creationId xmlns:a16="http://schemas.microsoft.com/office/drawing/2014/main" id="{3418146E-25EF-44E3-AAC5-0AFCA97C25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43" name="Freeform 738">
                <a:extLst>
                  <a:ext uri="{FF2B5EF4-FFF2-40B4-BE49-F238E27FC236}">
                    <a16:creationId xmlns:a16="http://schemas.microsoft.com/office/drawing/2014/main" id="{90AD32D4-9F66-4546-8127-F97812E0A6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725" name="Gruppieren 910">
              <a:extLst>
                <a:ext uri="{FF2B5EF4-FFF2-40B4-BE49-F238E27FC236}">
                  <a16:creationId xmlns:a16="http://schemas.microsoft.com/office/drawing/2014/main" id="{6765FF98-D3D3-408B-900E-382F921398A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726" name="Abgerundetes Rechteck 911">
                <a:extLst>
                  <a:ext uri="{FF2B5EF4-FFF2-40B4-BE49-F238E27FC236}">
                    <a16:creationId xmlns:a16="http://schemas.microsoft.com/office/drawing/2014/main" id="{2C791E41-3B88-4F96-93C3-3E2DD30A1FF5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27" name="Rectangle 726">
                <a:extLst>
                  <a:ext uri="{FF2B5EF4-FFF2-40B4-BE49-F238E27FC236}">
                    <a16:creationId xmlns:a16="http://schemas.microsoft.com/office/drawing/2014/main" id="{5FC68A93-7749-472A-A9B8-D292782EB64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28" name="Rectangle 727">
                <a:extLst>
                  <a:ext uri="{FF2B5EF4-FFF2-40B4-BE49-F238E27FC236}">
                    <a16:creationId xmlns:a16="http://schemas.microsoft.com/office/drawing/2014/main" id="{505B7F65-63FC-4B61-A637-A1A0BBDF6A0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29" name="Rectangle 728">
                <a:extLst>
                  <a:ext uri="{FF2B5EF4-FFF2-40B4-BE49-F238E27FC236}">
                    <a16:creationId xmlns:a16="http://schemas.microsoft.com/office/drawing/2014/main" id="{D08E39E4-FA7E-406D-A5CD-22DB2D89658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0" name="Rectangle 729">
                <a:extLst>
                  <a:ext uri="{FF2B5EF4-FFF2-40B4-BE49-F238E27FC236}">
                    <a16:creationId xmlns:a16="http://schemas.microsoft.com/office/drawing/2014/main" id="{EF887DF3-32AE-4AA7-A88C-A1387F73790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1" name="Rectangle 730">
                <a:extLst>
                  <a:ext uri="{FF2B5EF4-FFF2-40B4-BE49-F238E27FC236}">
                    <a16:creationId xmlns:a16="http://schemas.microsoft.com/office/drawing/2014/main" id="{190ADED9-DF8D-44F8-B44A-73D4DE96DB0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2" name="Rectangle 731">
                <a:extLst>
                  <a:ext uri="{FF2B5EF4-FFF2-40B4-BE49-F238E27FC236}">
                    <a16:creationId xmlns:a16="http://schemas.microsoft.com/office/drawing/2014/main" id="{60113696-24C1-4D28-8456-B992D79AAEC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3" name="Rectangle 732">
                <a:extLst>
                  <a:ext uri="{FF2B5EF4-FFF2-40B4-BE49-F238E27FC236}">
                    <a16:creationId xmlns:a16="http://schemas.microsoft.com/office/drawing/2014/main" id="{3DE2282D-0BA6-49A6-9D5A-2013464E8AE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4" name="Rectangle 733">
                <a:extLst>
                  <a:ext uri="{FF2B5EF4-FFF2-40B4-BE49-F238E27FC236}">
                    <a16:creationId xmlns:a16="http://schemas.microsoft.com/office/drawing/2014/main" id="{76CF4DC5-2A25-4081-95B7-FCA7C1D8AB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5" name="Rectangle 734">
                <a:extLst>
                  <a:ext uri="{FF2B5EF4-FFF2-40B4-BE49-F238E27FC236}">
                    <a16:creationId xmlns:a16="http://schemas.microsoft.com/office/drawing/2014/main" id="{9D4A37E8-7D9A-4EA4-A9B7-86F87714F4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6" name="Rectangle 735">
                <a:extLst>
                  <a:ext uri="{FF2B5EF4-FFF2-40B4-BE49-F238E27FC236}">
                    <a16:creationId xmlns:a16="http://schemas.microsoft.com/office/drawing/2014/main" id="{1B2C3723-0A8A-4960-86FB-B100D7406C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7" name="Rectangle 736">
                <a:extLst>
                  <a:ext uri="{FF2B5EF4-FFF2-40B4-BE49-F238E27FC236}">
                    <a16:creationId xmlns:a16="http://schemas.microsoft.com/office/drawing/2014/main" id="{71A05436-443E-4992-A7CC-AB07A7F803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8" name="Rectangle 737">
                <a:extLst>
                  <a:ext uri="{FF2B5EF4-FFF2-40B4-BE49-F238E27FC236}">
                    <a16:creationId xmlns:a16="http://schemas.microsoft.com/office/drawing/2014/main" id="{BD9BD1B5-3DC7-4E45-B393-E0CEEFF06A2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39" name="Rectangle 738">
                <a:extLst>
                  <a:ext uri="{FF2B5EF4-FFF2-40B4-BE49-F238E27FC236}">
                    <a16:creationId xmlns:a16="http://schemas.microsoft.com/office/drawing/2014/main" id="{5B0B7BBC-9FEB-47FA-8DAF-FF71D868497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40" name="Rectangle 739">
                <a:extLst>
                  <a:ext uri="{FF2B5EF4-FFF2-40B4-BE49-F238E27FC236}">
                    <a16:creationId xmlns:a16="http://schemas.microsoft.com/office/drawing/2014/main" id="{C110B80C-0A83-4A57-A1E1-27C12498EC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41" name="Rectangle 740">
                <a:extLst>
                  <a:ext uri="{FF2B5EF4-FFF2-40B4-BE49-F238E27FC236}">
                    <a16:creationId xmlns:a16="http://schemas.microsoft.com/office/drawing/2014/main" id="{B49DCAB3-7FF1-4404-8B17-B942FFDAADB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744" name="Rectangle 743">
            <a:extLst>
              <a:ext uri="{FF2B5EF4-FFF2-40B4-BE49-F238E27FC236}">
                <a16:creationId xmlns:a16="http://schemas.microsoft.com/office/drawing/2014/main" id="{026E545C-5F36-4527-92F2-402C6E6110AC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745" name="Gruppieren 907">
            <a:extLst>
              <a:ext uri="{FF2B5EF4-FFF2-40B4-BE49-F238E27FC236}">
                <a16:creationId xmlns:a16="http://schemas.microsoft.com/office/drawing/2014/main" id="{39EAD067-C49E-4D99-B013-77DE180200B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</p:grpSpPr>
        <p:sp>
          <p:nvSpPr>
            <p:cNvPr id="746" name="Abgerundetes Rechteck 908">
              <a:extLst>
                <a:ext uri="{FF2B5EF4-FFF2-40B4-BE49-F238E27FC236}">
                  <a16:creationId xmlns:a16="http://schemas.microsoft.com/office/drawing/2014/main" id="{EA406461-37BB-4DC5-BA82-8CFA08DB1D6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747" name="Gruppieren 909">
              <a:extLst>
                <a:ext uri="{FF2B5EF4-FFF2-40B4-BE49-F238E27FC236}">
                  <a16:creationId xmlns:a16="http://schemas.microsoft.com/office/drawing/2014/main" id="{142C1218-8912-492D-B963-19BE99339DA2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765" name="Freeform 760">
                <a:extLst>
                  <a:ext uri="{FF2B5EF4-FFF2-40B4-BE49-F238E27FC236}">
                    <a16:creationId xmlns:a16="http://schemas.microsoft.com/office/drawing/2014/main" id="{FDBC5149-ECB9-4284-BB61-0928D841B6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6" name="Freeform 761">
                <a:extLst>
                  <a:ext uri="{FF2B5EF4-FFF2-40B4-BE49-F238E27FC236}">
                    <a16:creationId xmlns:a16="http://schemas.microsoft.com/office/drawing/2014/main" id="{116C0F9B-41A4-4630-A6CE-1C9CA25DC1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748" name="Gruppieren 910">
              <a:extLst>
                <a:ext uri="{FF2B5EF4-FFF2-40B4-BE49-F238E27FC236}">
                  <a16:creationId xmlns:a16="http://schemas.microsoft.com/office/drawing/2014/main" id="{511F9010-0814-4427-9428-28AC5EB85D8D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749" name="Abgerundetes Rechteck 911">
                <a:extLst>
                  <a:ext uri="{FF2B5EF4-FFF2-40B4-BE49-F238E27FC236}">
                    <a16:creationId xmlns:a16="http://schemas.microsoft.com/office/drawing/2014/main" id="{4636770A-B489-458D-9F4D-44C17A21C8C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0" name="Rectangle 749">
                <a:extLst>
                  <a:ext uri="{FF2B5EF4-FFF2-40B4-BE49-F238E27FC236}">
                    <a16:creationId xmlns:a16="http://schemas.microsoft.com/office/drawing/2014/main" id="{0AA8F6E5-A3AD-404E-9675-A81D0AD10F8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1" name="Rectangle 750">
                <a:extLst>
                  <a:ext uri="{FF2B5EF4-FFF2-40B4-BE49-F238E27FC236}">
                    <a16:creationId xmlns:a16="http://schemas.microsoft.com/office/drawing/2014/main" id="{A72CB797-8443-4D63-8925-24ABB56210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2" name="Rectangle 751">
                <a:extLst>
                  <a:ext uri="{FF2B5EF4-FFF2-40B4-BE49-F238E27FC236}">
                    <a16:creationId xmlns:a16="http://schemas.microsoft.com/office/drawing/2014/main" id="{8408CA59-5B32-4814-AA0A-685D9A0416E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3" name="Rectangle 752">
                <a:extLst>
                  <a:ext uri="{FF2B5EF4-FFF2-40B4-BE49-F238E27FC236}">
                    <a16:creationId xmlns:a16="http://schemas.microsoft.com/office/drawing/2014/main" id="{054C3AF7-FDA1-4064-BE92-9A0ADFA0E67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4" name="Rectangle 753">
                <a:extLst>
                  <a:ext uri="{FF2B5EF4-FFF2-40B4-BE49-F238E27FC236}">
                    <a16:creationId xmlns:a16="http://schemas.microsoft.com/office/drawing/2014/main" id="{7F6C57CB-65F3-4B80-A2AF-522C04453F3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5" name="Rectangle 754">
                <a:extLst>
                  <a:ext uri="{FF2B5EF4-FFF2-40B4-BE49-F238E27FC236}">
                    <a16:creationId xmlns:a16="http://schemas.microsoft.com/office/drawing/2014/main" id="{81FFD70E-2124-49E0-8C02-A0D2BE04667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6" name="Rectangle 755">
                <a:extLst>
                  <a:ext uri="{FF2B5EF4-FFF2-40B4-BE49-F238E27FC236}">
                    <a16:creationId xmlns:a16="http://schemas.microsoft.com/office/drawing/2014/main" id="{CDFF726C-F6E0-4919-8028-1EF850473A3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7" name="Rectangle 756">
                <a:extLst>
                  <a:ext uri="{FF2B5EF4-FFF2-40B4-BE49-F238E27FC236}">
                    <a16:creationId xmlns:a16="http://schemas.microsoft.com/office/drawing/2014/main" id="{C70BF4EA-C7EF-4B19-8BE7-A5E439AA46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8" name="Rectangle 757">
                <a:extLst>
                  <a:ext uri="{FF2B5EF4-FFF2-40B4-BE49-F238E27FC236}">
                    <a16:creationId xmlns:a16="http://schemas.microsoft.com/office/drawing/2014/main" id="{0CACB34E-A252-48A9-B18C-FE4DC550AF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59" name="Rectangle 758">
                <a:extLst>
                  <a:ext uri="{FF2B5EF4-FFF2-40B4-BE49-F238E27FC236}">
                    <a16:creationId xmlns:a16="http://schemas.microsoft.com/office/drawing/2014/main" id="{3CB8BD5C-2390-4979-822F-07A9FEBB882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0" name="Rectangle 759">
                <a:extLst>
                  <a:ext uri="{FF2B5EF4-FFF2-40B4-BE49-F238E27FC236}">
                    <a16:creationId xmlns:a16="http://schemas.microsoft.com/office/drawing/2014/main" id="{BD6626B7-2D35-4400-9CE0-E3EF4804B6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1" name="Rectangle 760">
                <a:extLst>
                  <a:ext uri="{FF2B5EF4-FFF2-40B4-BE49-F238E27FC236}">
                    <a16:creationId xmlns:a16="http://schemas.microsoft.com/office/drawing/2014/main" id="{5E3EA567-3431-4E0C-A184-4D93909D6C5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2" name="Rectangle 761">
                <a:extLst>
                  <a:ext uri="{FF2B5EF4-FFF2-40B4-BE49-F238E27FC236}">
                    <a16:creationId xmlns:a16="http://schemas.microsoft.com/office/drawing/2014/main" id="{3C2F84A0-662D-4DF6-8B17-04F08EDC33F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3" name="Rectangle 762">
                <a:extLst>
                  <a:ext uri="{FF2B5EF4-FFF2-40B4-BE49-F238E27FC236}">
                    <a16:creationId xmlns:a16="http://schemas.microsoft.com/office/drawing/2014/main" id="{41BE74F0-33D3-4F37-886E-0F6FB87F3D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64" name="Rectangle 763">
                <a:extLst>
                  <a:ext uri="{FF2B5EF4-FFF2-40B4-BE49-F238E27FC236}">
                    <a16:creationId xmlns:a16="http://schemas.microsoft.com/office/drawing/2014/main" id="{7316A3AD-40C4-4F3A-8853-783708E61D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767" name="Gruppieren 907">
            <a:extLst>
              <a:ext uri="{FF2B5EF4-FFF2-40B4-BE49-F238E27FC236}">
                <a16:creationId xmlns:a16="http://schemas.microsoft.com/office/drawing/2014/main" id="{859FE612-90EA-4C8E-8BD4-C8E02C428B5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</p:grpSpPr>
        <p:sp>
          <p:nvSpPr>
            <p:cNvPr id="768" name="Abgerundetes Rechteck 908">
              <a:extLst>
                <a:ext uri="{FF2B5EF4-FFF2-40B4-BE49-F238E27FC236}">
                  <a16:creationId xmlns:a16="http://schemas.microsoft.com/office/drawing/2014/main" id="{08D17B63-E7ED-403F-8B5E-71D2825D9AFF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769" name="Gruppieren 909">
              <a:extLst>
                <a:ext uri="{FF2B5EF4-FFF2-40B4-BE49-F238E27FC236}">
                  <a16:creationId xmlns:a16="http://schemas.microsoft.com/office/drawing/2014/main" id="{AC6B5374-CC1E-4175-B881-82BABD10C69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787" name="Freeform 782">
                <a:extLst>
                  <a:ext uri="{FF2B5EF4-FFF2-40B4-BE49-F238E27FC236}">
                    <a16:creationId xmlns:a16="http://schemas.microsoft.com/office/drawing/2014/main" id="{0A29EB19-67D4-4A8F-8F63-105BBF989D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8" name="Freeform 783">
                <a:extLst>
                  <a:ext uri="{FF2B5EF4-FFF2-40B4-BE49-F238E27FC236}">
                    <a16:creationId xmlns:a16="http://schemas.microsoft.com/office/drawing/2014/main" id="{1AD9E6A7-3499-44DD-88F0-BF8C2DD63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770" name="Gruppieren 910">
              <a:extLst>
                <a:ext uri="{FF2B5EF4-FFF2-40B4-BE49-F238E27FC236}">
                  <a16:creationId xmlns:a16="http://schemas.microsoft.com/office/drawing/2014/main" id="{5C3DEC0F-C210-4B4B-8C76-8D275997C127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771" name="Abgerundetes Rechteck 911">
                <a:extLst>
                  <a:ext uri="{FF2B5EF4-FFF2-40B4-BE49-F238E27FC236}">
                    <a16:creationId xmlns:a16="http://schemas.microsoft.com/office/drawing/2014/main" id="{5A3468BA-BE10-4D5D-AAC9-660AD598AB9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2" name="Rectangle 771">
                <a:extLst>
                  <a:ext uri="{FF2B5EF4-FFF2-40B4-BE49-F238E27FC236}">
                    <a16:creationId xmlns:a16="http://schemas.microsoft.com/office/drawing/2014/main" id="{9741EFAE-8CCC-433F-9454-DA930560711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3" name="Rectangle 772">
                <a:extLst>
                  <a:ext uri="{FF2B5EF4-FFF2-40B4-BE49-F238E27FC236}">
                    <a16:creationId xmlns:a16="http://schemas.microsoft.com/office/drawing/2014/main" id="{253392E6-166F-4527-A129-234B50EA921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4" name="Rectangle 773">
                <a:extLst>
                  <a:ext uri="{FF2B5EF4-FFF2-40B4-BE49-F238E27FC236}">
                    <a16:creationId xmlns:a16="http://schemas.microsoft.com/office/drawing/2014/main" id="{D577A930-84D3-45A1-AC61-1A607B070E2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5" name="Rectangle 774">
                <a:extLst>
                  <a:ext uri="{FF2B5EF4-FFF2-40B4-BE49-F238E27FC236}">
                    <a16:creationId xmlns:a16="http://schemas.microsoft.com/office/drawing/2014/main" id="{C7C22FEF-0B5B-428A-8F17-5420AB61C65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234DBF88-DC81-4A52-AC0E-25CB42CA8B2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7" name="Rectangle 776">
                <a:extLst>
                  <a:ext uri="{FF2B5EF4-FFF2-40B4-BE49-F238E27FC236}">
                    <a16:creationId xmlns:a16="http://schemas.microsoft.com/office/drawing/2014/main" id="{C3165073-CDE5-4EEB-81AF-B1113EF3D0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8" name="Rectangle 777">
                <a:extLst>
                  <a:ext uri="{FF2B5EF4-FFF2-40B4-BE49-F238E27FC236}">
                    <a16:creationId xmlns:a16="http://schemas.microsoft.com/office/drawing/2014/main" id="{5C8C2C40-C6DE-435F-B0BC-4EF10AFEE57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79" name="Rectangle 778">
                <a:extLst>
                  <a:ext uri="{FF2B5EF4-FFF2-40B4-BE49-F238E27FC236}">
                    <a16:creationId xmlns:a16="http://schemas.microsoft.com/office/drawing/2014/main" id="{E17A7E6D-BEF6-4E30-95AA-6C5F0882C47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0" name="Rectangle 779">
                <a:extLst>
                  <a:ext uri="{FF2B5EF4-FFF2-40B4-BE49-F238E27FC236}">
                    <a16:creationId xmlns:a16="http://schemas.microsoft.com/office/drawing/2014/main" id="{A7EB18CD-1DAE-4565-9D74-1EFF8584F6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1" name="Rectangle 780">
                <a:extLst>
                  <a:ext uri="{FF2B5EF4-FFF2-40B4-BE49-F238E27FC236}">
                    <a16:creationId xmlns:a16="http://schemas.microsoft.com/office/drawing/2014/main" id="{ED6685E9-5E3E-4F8C-8E3B-551756AC3D9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2" name="Rectangle 781">
                <a:extLst>
                  <a:ext uri="{FF2B5EF4-FFF2-40B4-BE49-F238E27FC236}">
                    <a16:creationId xmlns:a16="http://schemas.microsoft.com/office/drawing/2014/main" id="{04C1A2EE-CAD1-49DE-B241-AF30B413219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3" name="Rectangle 782">
                <a:extLst>
                  <a:ext uri="{FF2B5EF4-FFF2-40B4-BE49-F238E27FC236}">
                    <a16:creationId xmlns:a16="http://schemas.microsoft.com/office/drawing/2014/main" id="{9A739380-95D4-4E18-ACA2-CA09A527324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4" name="Rectangle 783">
                <a:extLst>
                  <a:ext uri="{FF2B5EF4-FFF2-40B4-BE49-F238E27FC236}">
                    <a16:creationId xmlns:a16="http://schemas.microsoft.com/office/drawing/2014/main" id="{37028783-3ACE-4218-8A55-8ECF89F27A4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5" name="Rectangle 784">
                <a:extLst>
                  <a:ext uri="{FF2B5EF4-FFF2-40B4-BE49-F238E27FC236}">
                    <a16:creationId xmlns:a16="http://schemas.microsoft.com/office/drawing/2014/main" id="{25715908-70F0-40BB-9DAE-711E5B184E5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86" name="Rectangle 785">
                <a:extLst>
                  <a:ext uri="{FF2B5EF4-FFF2-40B4-BE49-F238E27FC236}">
                    <a16:creationId xmlns:a16="http://schemas.microsoft.com/office/drawing/2014/main" id="{609C3790-306E-43FE-BBC9-D31B908FC89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789" name="Gruppieren 907">
            <a:extLst>
              <a:ext uri="{FF2B5EF4-FFF2-40B4-BE49-F238E27FC236}">
                <a16:creationId xmlns:a16="http://schemas.microsoft.com/office/drawing/2014/main" id="{E2E45CC8-B0FB-4850-BA4C-992892787F3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</p:grpSpPr>
        <p:sp>
          <p:nvSpPr>
            <p:cNvPr id="790" name="Abgerundetes Rechteck 908">
              <a:extLst>
                <a:ext uri="{FF2B5EF4-FFF2-40B4-BE49-F238E27FC236}">
                  <a16:creationId xmlns:a16="http://schemas.microsoft.com/office/drawing/2014/main" id="{18259A6D-EDED-44FE-AC32-2DD3E81CBDB3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solidFill>
              <a:srgbClr val="C6C6C6"/>
            </a:solidFill>
            <a:ln>
              <a:noFill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791" name="Gruppieren 909">
              <a:extLst>
                <a:ext uri="{FF2B5EF4-FFF2-40B4-BE49-F238E27FC236}">
                  <a16:creationId xmlns:a16="http://schemas.microsoft.com/office/drawing/2014/main" id="{451C4A2E-6C9F-4036-8C1D-13763C32BAD8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</p:grpSpPr>
          <p:sp>
            <p:nvSpPr>
              <p:cNvPr id="809" name="Freeform 804">
                <a:extLst>
                  <a:ext uri="{FF2B5EF4-FFF2-40B4-BE49-F238E27FC236}">
                    <a16:creationId xmlns:a16="http://schemas.microsoft.com/office/drawing/2014/main" id="{036CC3C5-F477-4018-97FD-27A6BB8225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10" name="Freeform 805">
                <a:extLst>
                  <a:ext uri="{FF2B5EF4-FFF2-40B4-BE49-F238E27FC236}">
                    <a16:creationId xmlns:a16="http://schemas.microsoft.com/office/drawing/2014/main" id="{F08FCC24-5621-454C-A09E-9565532094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792" name="Gruppieren 910">
              <a:extLst>
                <a:ext uri="{FF2B5EF4-FFF2-40B4-BE49-F238E27FC236}">
                  <a16:creationId xmlns:a16="http://schemas.microsoft.com/office/drawing/2014/main" id="{F3EC6A1E-2BF6-449C-85C6-8D0A619C84C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</p:grpSpPr>
          <p:sp>
            <p:nvSpPr>
              <p:cNvPr id="793" name="Abgerundetes Rechteck 911">
                <a:extLst>
                  <a:ext uri="{FF2B5EF4-FFF2-40B4-BE49-F238E27FC236}">
                    <a16:creationId xmlns:a16="http://schemas.microsoft.com/office/drawing/2014/main" id="{E2A5E9FC-665D-4589-89DB-BC0208D636AF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4" name="Rectangle 793">
                <a:extLst>
                  <a:ext uri="{FF2B5EF4-FFF2-40B4-BE49-F238E27FC236}">
                    <a16:creationId xmlns:a16="http://schemas.microsoft.com/office/drawing/2014/main" id="{B68B0054-1782-4B92-A46D-8B52F0F0992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5" name="Rectangle 794">
                <a:extLst>
                  <a:ext uri="{FF2B5EF4-FFF2-40B4-BE49-F238E27FC236}">
                    <a16:creationId xmlns:a16="http://schemas.microsoft.com/office/drawing/2014/main" id="{003EFE92-972B-4AF9-8C4F-5C8920DF9D8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6" name="Rectangle 795">
                <a:extLst>
                  <a:ext uri="{FF2B5EF4-FFF2-40B4-BE49-F238E27FC236}">
                    <a16:creationId xmlns:a16="http://schemas.microsoft.com/office/drawing/2014/main" id="{799F2851-9D18-48C9-A42D-DE5FA5D98C3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7" name="Rectangle 796">
                <a:extLst>
                  <a:ext uri="{FF2B5EF4-FFF2-40B4-BE49-F238E27FC236}">
                    <a16:creationId xmlns:a16="http://schemas.microsoft.com/office/drawing/2014/main" id="{92C5F00B-76FE-4F80-8395-44813DF8FA0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8" name="Rectangle 797">
                <a:extLst>
                  <a:ext uri="{FF2B5EF4-FFF2-40B4-BE49-F238E27FC236}">
                    <a16:creationId xmlns:a16="http://schemas.microsoft.com/office/drawing/2014/main" id="{D1AAC82F-C130-482B-AE69-7CF0FE26591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799" name="Rectangle 798">
                <a:extLst>
                  <a:ext uri="{FF2B5EF4-FFF2-40B4-BE49-F238E27FC236}">
                    <a16:creationId xmlns:a16="http://schemas.microsoft.com/office/drawing/2014/main" id="{F84BC6D2-7DA3-4BA2-8F0F-9D7F2A7B05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0" name="Rectangle 799">
                <a:extLst>
                  <a:ext uri="{FF2B5EF4-FFF2-40B4-BE49-F238E27FC236}">
                    <a16:creationId xmlns:a16="http://schemas.microsoft.com/office/drawing/2014/main" id="{568636FD-CB47-4117-956F-1ABC401C8D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1" name="Rectangle 800">
                <a:extLst>
                  <a:ext uri="{FF2B5EF4-FFF2-40B4-BE49-F238E27FC236}">
                    <a16:creationId xmlns:a16="http://schemas.microsoft.com/office/drawing/2014/main" id="{D7E498C0-AB27-4CFA-BFCD-FC412C44356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2" name="Rectangle 801">
                <a:extLst>
                  <a:ext uri="{FF2B5EF4-FFF2-40B4-BE49-F238E27FC236}">
                    <a16:creationId xmlns:a16="http://schemas.microsoft.com/office/drawing/2014/main" id="{375DB19B-B867-49A6-B711-3468F425B0F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3" name="Rectangle 802">
                <a:extLst>
                  <a:ext uri="{FF2B5EF4-FFF2-40B4-BE49-F238E27FC236}">
                    <a16:creationId xmlns:a16="http://schemas.microsoft.com/office/drawing/2014/main" id="{B8F66B17-E41E-4FF1-9D6B-791B90611B4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4" name="Rectangle 803">
                <a:extLst>
                  <a:ext uri="{FF2B5EF4-FFF2-40B4-BE49-F238E27FC236}">
                    <a16:creationId xmlns:a16="http://schemas.microsoft.com/office/drawing/2014/main" id="{41060BD7-3155-4D4D-B12B-6D42D9C7B8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5" name="Rectangle 804">
                <a:extLst>
                  <a:ext uri="{FF2B5EF4-FFF2-40B4-BE49-F238E27FC236}">
                    <a16:creationId xmlns:a16="http://schemas.microsoft.com/office/drawing/2014/main" id="{25780312-202B-4AA9-8C9E-3A0C22BFC5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6" name="Rectangle 805">
                <a:extLst>
                  <a:ext uri="{FF2B5EF4-FFF2-40B4-BE49-F238E27FC236}">
                    <a16:creationId xmlns:a16="http://schemas.microsoft.com/office/drawing/2014/main" id="{8C2CB057-E5FB-4F2E-BFA0-60ABD84B54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solidFill>
                <a:srgbClr val="0061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7" name="Rectangle 806">
                <a:extLst>
                  <a:ext uri="{FF2B5EF4-FFF2-40B4-BE49-F238E27FC236}">
                    <a16:creationId xmlns:a16="http://schemas.microsoft.com/office/drawing/2014/main" id="{09A4C97E-F318-46EB-9653-AACC61D7CAC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808" name="Rectangle 807">
                <a:extLst>
                  <a:ext uri="{FF2B5EF4-FFF2-40B4-BE49-F238E27FC236}">
                    <a16:creationId xmlns:a16="http://schemas.microsoft.com/office/drawing/2014/main" id="{17B10369-E85A-474D-9016-D192C381EA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solidFill>
                <a:srgbClr val="0091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811" name="Group 810">
            <a:extLst>
              <a:ext uri="{FF2B5EF4-FFF2-40B4-BE49-F238E27FC236}">
                <a16:creationId xmlns:a16="http://schemas.microsoft.com/office/drawing/2014/main" id="{B065885F-742F-48A9-9734-102785228A7F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812" name="Gruppieren 907">
              <a:extLst>
                <a:ext uri="{FF2B5EF4-FFF2-40B4-BE49-F238E27FC236}">
                  <a16:creationId xmlns:a16="http://schemas.microsoft.com/office/drawing/2014/main" id="{CD61903F-73FE-49AE-9E73-020EE5474B5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835" name="Abgerundetes Rechteck 908">
                <a:extLst>
                  <a:ext uri="{FF2B5EF4-FFF2-40B4-BE49-F238E27FC236}">
                    <a16:creationId xmlns:a16="http://schemas.microsoft.com/office/drawing/2014/main" id="{A2D29C22-B3AE-484E-98B1-97F38BEC3587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836" name="Gruppieren 909">
                <a:extLst>
                  <a:ext uri="{FF2B5EF4-FFF2-40B4-BE49-F238E27FC236}">
                    <a16:creationId xmlns:a16="http://schemas.microsoft.com/office/drawing/2014/main" id="{FE85625D-217B-4223-8299-689CAF73627C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854" name="Freeform 849">
                  <a:extLst>
                    <a:ext uri="{FF2B5EF4-FFF2-40B4-BE49-F238E27FC236}">
                      <a16:creationId xmlns:a16="http://schemas.microsoft.com/office/drawing/2014/main" id="{D4F375F6-61F8-4E51-B228-7A859EEBCDE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55" name="Freeform 850">
                  <a:extLst>
                    <a:ext uri="{FF2B5EF4-FFF2-40B4-BE49-F238E27FC236}">
                      <a16:creationId xmlns:a16="http://schemas.microsoft.com/office/drawing/2014/main" id="{0369F692-8E4D-4464-9174-268BA9E548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837" name="Gruppieren 910">
                <a:extLst>
                  <a:ext uri="{FF2B5EF4-FFF2-40B4-BE49-F238E27FC236}">
                    <a16:creationId xmlns:a16="http://schemas.microsoft.com/office/drawing/2014/main" id="{0E735031-7FA6-4F3F-8DC6-6C39F4651669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838" name="Abgerundetes Rechteck 911">
                  <a:extLst>
                    <a:ext uri="{FF2B5EF4-FFF2-40B4-BE49-F238E27FC236}">
                      <a16:creationId xmlns:a16="http://schemas.microsoft.com/office/drawing/2014/main" id="{C09E18F8-1AC0-4CAA-9554-FA8103989023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39" name="Rectangle 838">
                  <a:extLst>
                    <a:ext uri="{FF2B5EF4-FFF2-40B4-BE49-F238E27FC236}">
                      <a16:creationId xmlns:a16="http://schemas.microsoft.com/office/drawing/2014/main" id="{D824B876-7011-45CB-8814-35CB094B6E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0" name="Rectangle 839">
                  <a:extLst>
                    <a:ext uri="{FF2B5EF4-FFF2-40B4-BE49-F238E27FC236}">
                      <a16:creationId xmlns:a16="http://schemas.microsoft.com/office/drawing/2014/main" id="{7562AFEF-6DE2-4E2C-85F4-767D1EA31D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1" name="Rectangle 840">
                  <a:extLst>
                    <a:ext uri="{FF2B5EF4-FFF2-40B4-BE49-F238E27FC236}">
                      <a16:creationId xmlns:a16="http://schemas.microsoft.com/office/drawing/2014/main" id="{C5A0D90B-0FAC-46B4-9B27-81EC7DEB4C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2" name="Rectangle 841">
                  <a:extLst>
                    <a:ext uri="{FF2B5EF4-FFF2-40B4-BE49-F238E27FC236}">
                      <a16:creationId xmlns:a16="http://schemas.microsoft.com/office/drawing/2014/main" id="{B6A26686-1CAD-4BFD-BE39-6B26B664FF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3" name="Rectangle 842">
                  <a:extLst>
                    <a:ext uri="{FF2B5EF4-FFF2-40B4-BE49-F238E27FC236}">
                      <a16:creationId xmlns:a16="http://schemas.microsoft.com/office/drawing/2014/main" id="{A75CA6CE-5401-4A81-B38A-485C06FCE3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4" name="Rectangle 843">
                  <a:extLst>
                    <a:ext uri="{FF2B5EF4-FFF2-40B4-BE49-F238E27FC236}">
                      <a16:creationId xmlns:a16="http://schemas.microsoft.com/office/drawing/2014/main" id="{CFE206C1-9AC7-4958-BCDF-5B3E5842A2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5" name="Rectangle 844">
                  <a:extLst>
                    <a:ext uri="{FF2B5EF4-FFF2-40B4-BE49-F238E27FC236}">
                      <a16:creationId xmlns:a16="http://schemas.microsoft.com/office/drawing/2014/main" id="{7677B7EA-14B9-481E-B8AF-98438C3A09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6" name="Rectangle 845">
                  <a:extLst>
                    <a:ext uri="{FF2B5EF4-FFF2-40B4-BE49-F238E27FC236}">
                      <a16:creationId xmlns:a16="http://schemas.microsoft.com/office/drawing/2014/main" id="{B98D7406-146F-4BDD-97FA-30B681C98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7" name="Rectangle 846">
                  <a:extLst>
                    <a:ext uri="{FF2B5EF4-FFF2-40B4-BE49-F238E27FC236}">
                      <a16:creationId xmlns:a16="http://schemas.microsoft.com/office/drawing/2014/main" id="{B7222712-FAE6-4548-BC28-5EFE48A3AE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8" name="Rectangle 847">
                  <a:extLst>
                    <a:ext uri="{FF2B5EF4-FFF2-40B4-BE49-F238E27FC236}">
                      <a16:creationId xmlns:a16="http://schemas.microsoft.com/office/drawing/2014/main" id="{A77141DB-6E44-4332-BC6E-37A661AB36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49" name="Rectangle 848">
                  <a:extLst>
                    <a:ext uri="{FF2B5EF4-FFF2-40B4-BE49-F238E27FC236}">
                      <a16:creationId xmlns:a16="http://schemas.microsoft.com/office/drawing/2014/main" id="{5366B957-BAB2-4F9B-8036-FA3C88CCBB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50" name="Rectangle 849">
                  <a:extLst>
                    <a:ext uri="{FF2B5EF4-FFF2-40B4-BE49-F238E27FC236}">
                      <a16:creationId xmlns:a16="http://schemas.microsoft.com/office/drawing/2014/main" id="{FF367FC6-00C4-4973-AC21-B714178D99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51" name="Rectangle 850">
                  <a:extLst>
                    <a:ext uri="{FF2B5EF4-FFF2-40B4-BE49-F238E27FC236}">
                      <a16:creationId xmlns:a16="http://schemas.microsoft.com/office/drawing/2014/main" id="{1DD9E961-6F7B-40BE-AD9E-5304168178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52" name="Rectangle 851">
                  <a:extLst>
                    <a:ext uri="{FF2B5EF4-FFF2-40B4-BE49-F238E27FC236}">
                      <a16:creationId xmlns:a16="http://schemas.microsoft.com/office/drawing/2014/main" id="{1FF8C5AA-7900-418E-A07E-947E7D530B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53" name="Rectangle 852">
                  <a:extLst>
                    <a:ext uri="{FF2B5EF4-FFF2-40B4-BE49-F238E27FC236}">
                      <a16:creationId xmlns:a16="http://schemas.microsoft.com/office/drawing/2014/main" id="{97377EC7-B50D-4E7A-BF94-1D51AC8C7E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813" name="Gruppieren 907">
              <a:extLst>
                <a:ext uri="{FF2B5EF4-FFF2-40B4-BE49-F238E27FC236}">
                  <a16:creationId xmlns:a16="http://schemas.microsoft.com/office/drawing/2014/main" id="{367A6D30-D13F-4E5F-8351-1DEF2277204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814" name="Abgerundetes Rechteck 908">
                <a:extLst>
                  <a:ext uri="{FF2B5EF4-FFF2-40B4-BE49-F238E27FC236}">
                    <a16:creationId xmlns:a16="http://schemas.microsoft.com/office/drawing/2014/main" id="{5369E845-BDEA-4AE7-8CC4-E4EE1264EFC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815" name="Gruppieren 909">
                <a:extLst>
                  <a:ext uri="{FF2B5EF4-FFF2-40B4-BE49-F238E27FC236}">
                    <a16:creationId xmlns:a16="http://schemas.microsoft.com/office/drawing/2014/main" id="{8286B8F6-DFAF-4489-8402-66D0CF69F5C0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833" name="Freeform 828">
                  <a:extLst>
                    <a:ext uri="{FF2B5EF4-FFF2-40B4-BE49-F238E27FC236}">
                      <a16:creationId xmlns:a16="http://schemas.microsoft.com/office/drawing/2014/main" id="{AAE45707-7043-4B7A-ABEF-25312F0A22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34" name="Freeform 829">
                  <a:extLst>
                    <a:ext uri="{FF2B5EF4-FFF2-40B4-BE49-F238E27FC236}">
                      <a16:creationId xmlns:a16="http://schemas.microsoft.com/office/drawing/2014/main" id="{F93AE934-5D95-4943-B373-835701F085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816" name="Gruppieren 910">
                <a:extLst>
                  <a:ext uri="{FF2B5EF4-FFF2-40B4-BE49-F238E27FC236}">
                    <a16:creationId xmlns:a16="http://schemas.microsoft.com/office/drawing/2014/main" id="{17605D13-83C6-4BD2-9AC5-5EB62294F11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817" name="Abgerundetes Rechteck 911">
                  <a:extLst>
                    <a:ext uri="{FF2B5EF4-FFF2-40B4-BE49-F238E27FC236}">
                      <a16:creationId xmlns:a16="http://schemas.microsoft.com/office/drawing/2014/main" id="{B0E61EFD-A7C2-4711-AD28-ECB2A0EEF61A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18" name="Rectangle 817">
                  <a:extLst>
                    <a:ext uri="{FF2B5EF4-FFF2-40B4-BE49-F238E27FC236}">
                      <a16:creationId xmlns:a16="http://schemas.microsoft.com/office/drawing/2014/main" id="{20C2BC36-70EF-46E6-B307-CD3BFC4A41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19" name="Rectangle 818">
                  <a:extLst>
                    <a:ext uri="{FF2B5EF4-FFF2-40B4-BE49-F238E27FC236}">
                      <a16:creationId xmlns:a16="http://schemas.microsoft.com/office/drawing/2014/main" id="{51DE0899-911D-4F1B-8C36-20552E42BB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0" name="Rectangle 819">
                  <a:extLst>
                    <a:ext uri="{FF2B5EF4-FFF2-40B4-BE49-F238E27FC236}">
                      <a16:creationId xmlns:a16="http://schemas.microsoft.com/office/drawing/2014/main" id="{D90197CB-82C2-4848-938C-6C4B07C289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1" name="Rectangle 820">
                  <a:extLst>
                    <a:ext uri="{FF2B5EF4-FFF2-40B4-BE49-F238E27FC236}">
                      <a16:creationId xmlns:a16="http://schemas.microsoft.com/office/drawing/2014/main" id="{0030B558-8563-4F26-93BD-B5FDC7F8B8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2" name="Rectangle 821">
                  <a:extLst>
                    <a:ext uri="{FF2B5EF4-FFF2-40B4-BE49-F238E27FC236}">
                      <a16:creationId xmlns:a16="http://schemas.microsoft.com/office/drawing/2014/main" id="{96F4277E-6C44-47ED-BC65-A7468828D5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3" name="Rectangle 822">
                  <a:extLst>
                    <a:ext uri="{FF2B5EF4-FFF2-40B4-BE49-F238E27FC236}">
                      <a16:creationId xmlns:a16="http://schemas.microsoft.com/office/drawing/2014/main" id="{9ECE40F9-4908-4EF6-8D17-09C049B82D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4" name="Rectangle 823">
                  <a:extLst>
                    <a:ext uri="{FF2B5EF4-FFF2-40B4-BE49-F238E27FC236}">
                      <a16:creationId xmlns:a16="http://schemas.microsoft.com/office/drawing/2014/main" id="{8108335A-07FF-4FED-AF57-D5E87391B5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5" name="Rectangle 824">
                  <a:extLst>
                    <a:ext uri="{FF2B5EF4-FFF2-40B4-BE49-F238E27FC236}">
                      <a16:creationId xmlns:a16="http://schemas.microsoft.com/office/drawing/2014/main" id="{CDDBA1B1-565E-4C7B-9396-14A3D9F4C98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6" name="Rectangle 825">
                  <a:extLst>
                    <a:ext uri="{FF2B5EF4-FFF2-40B4-BE49-F238E27FC236}">
                      <a16:creationId xmlns:a16="http://schemas.microsoft.com/office/drawing/2014/main" id="{E3BA6453-6625-4DC2-BD34-C52C655054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7" name="Rectangle 826">
                  <a:extLst>
                    <a:ext uri="{FF2B5EF4-FFF2-40B4-BE49-F238E27FC236}">
                      <a16:creationId xmlns:a16="http://schemas.microsoft.com/office/drawing/2014/main" id="{9E488129-D463-4E76-B432-F60054CC65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8" name="Rectangle 827">
                  <a:extLst>
                    <a:ext uri="{FF2B5EF4-FFF2-40B4-BE49-F238E27FC236}">
                      <a16:creationId xmlns:a16="http://schemas.microsoft.com/office/drawing/2014/main" id="{9584BA43-565B-4E41-8C3B-9895B4BF29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29" name="Rectangle 828">
                  <a:extLst>
                    <a:ext uri="{FF2B5EF4-FFF2-40B4-BE49-F238E27FC236}">
                      <a16:creationId xmlns:a16="http://schemas.microsoft.com/office/drawing/2014/main" id="{93DAB078-9B21-48E3-A1D6-EF8A71DA3C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30" name="Rectangle 829">
                  <a:extLst>
                    <a:ext uri="{FF2B5EF4-FFF2-40B4-BE49-F238E27FC236}">
                      <a16:creationId xmlns:a16="http://schemas.microsoft.com/office/drawing/2014/main" id="{118F11CC-343D-4576-82FB-18C396D8D7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31" name="Rectangle 830">
                  <a:extLst>
                    <a:ext uri="{FF2B5EF4-FFF2-40B4-BE49-F238E27FC236}">
                      <a16:creationId xmlns:a16="http://schemas.microsoft.com/office/drawing/2014/main" id="{BC0309BC-62C4-4A29-BFF5-7590A48D80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32" name="Rectangle 831">
                  <a:extLst>
                    <a:ext uri="{FF2B5EF4-FFF2-40B4-BE49-F238E27FC236}">
                      <a16:creationId xmlns:a16="http://schemas.microsoft.com/office/drawing/2014/main" id="{F82397FD-C5C4-4E3F-9A01-AD9D7598E6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856" name="Rectangle 855">
            <a:extLst>
              <a:ext uri="{FF2B5EF4-FFF2-40B4-BE49-F238E27FC236}">
                <a16:creationId xmlns:a16="http://schemas.microsoft.com/office/drawing/2014/main" id="{8484AFA5-2C69-4E14-B361-8C6683871EB1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857" name="Straight Arrow Connector 856">
            <a:extLst>
              <a:ext uri="{FF2B5EF4-FFF2-40B4-BE49-F238E27FC236}">
                <a16:creationId xmlns:a16="http://schemas.microsoft.com/office/drawing/2014/main" id="{1B71ED0C-3174-4F21-9629-069C72D8B1E2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Arrow Connector 857">
            <a:extLst>
              <a:ext uri="{FF2B5EF4-FFF2-40B4-BE49-F238E27FC236}">
                <a16:creationId xmlns:a16="http://schemas.microsoft.com/office/drawing/2014/main" id="{D91E7EF5-D9A0-4613-8754-831A4A6CC3DB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9" name="Straight Arrow Connector 858">
            <a:extLst>
              <a:ext uri="{FF2B5EF4-FFF2-40B4-BE49-F238E27FC236}">
                <a16:creationId xmlns:a16="http://schemas.microsoft.com/office/drawing/2014/main" id="{3483AA85-FDB4-43F7-85FA-1ED3F1F38A83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0" name="Straight Arrow Connector 859">
            <a:extLst>
              <a:ext uri="{FF2B5EF4-FFF2-40B4-BE49-F238E27FC236}">
                <a16:creationId xmlns:a16="http://schemas.microsoft.com/office/drawing/2014/main" id="{CC8D4AF7-9C51-405C-8B97-C168C21025CA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Arrow Connector 860">
            <a:extLst>
              <a:ext uri="{FF2B5EF4-FFF2-40B4-BE49-F238E27FC236}">
                <a16:creationId xmlns:a16="http://schemas.microsoft.com/office/drawing/2014/main" id="{79EA0D2F-3375-4021-B8BC-AAF52C96CB42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2" name="Straight Arrow Connector 861">
            <a:extLst>
              <a:ext uri="{FF2B5EF4-FFF2-40B4-BE49-F238E27FC236}">
                <a16:creationId xmlns:a16="http://schemas.microsoft.com/office/drawing/2014/main" id="{E62F9AA6-2689-4D40-802D-485F9F85382D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Arrow Connector 862">
            <a:extLst>
              <a:ext uri="{FF2B5EF4-FFF2-40B4-BE49-F238E27FC236}">
                <a16:creationId xmlns:a16="http://schemas.microsoft.com/office/drawing/2014/main" id="{6088E0AE-3A39-43C7-AB23-1266F06C9FA0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4" name="Straight Arrow Connector 863">
            <a:extLst>
              <a:ext uri="{FF2B5EF4-FFF2-40B4-BE49-F238E27FC236}">
                <a16:creationId xmlns:a16="http://schemas.microsoft.com/office/drawing/2014/main" id="{1B41A0A9-4834-4CB7-A74A-ED6964FAB0BF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5" name="Straight Arrow Connector 864">
            <a:extLst>
              <a:ext uri="{FF2B5EF4-FFF2-40B4-BE49-F238E27FC236}">
                <a16:creationId xmlns:a16="http://schemas.microsoft.com/office/drawing/2014/main" id="{21DB0E43-33AF-47E8-90D8-13FBD4D0F6CF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6" name="Straight Arrow Connector 865">
            <a:extLst>
              <a:ext uri="{FF2B5EF4-FFF2-40B4-BE49-F238E27FC236}">
                <a16:creationId xmlns:a16="http://schemas.microsoft.com/office/drawing/2014/main" id="{5441966C-904B-4CEC-BF52-BC70A40723FC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7" name="TextBox 179">
            <a:extLst>
              <a:ext uri="{FF2B5EF4-FFF2-40B4-BE49-F238E27FC236}">
                <a16:creationId xmlns:a16="http://schemas.microsoft.com/office/drawing/2014/main" id="{48DA9A28-BE1B-48ED-85E8-3CC3514683E1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868" name="TextBox 179">
            <a:extLst>
              <a:ext uri="{FF2B5EF4-FFF2-40B4-BE49-F238E27FC236}">
                <a16:creationId xmlns:a16="http://schemas.microsoft.com/office/drawing/2014/main" id="{E910FE30-87B6-4753-A632-59A361062B97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869" name="TextBox 179">
            <a:extLst>
              <a:ext uri="{FF2B5EF4-FFF2-40B4-BE49-F238E27FC236}">
                <a16:creationId xmlns:a16="http://schemas.microsoft.com/office/drawing/2014/main" id="{01FFA36A-F107-40F2-8363-A023BEEE2126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870" name="TextBox 179">
            <a:extLst>
              <a:ext uri="{FF2B5EF4-FFF2-40B4-BE49-F238E27FC236}">
                <a16:creationId xmlns:a16="http://schemas.microsoft.com/office/drawing/2014/main" id="{B0E674A1-2BF7-47D4-A027-D5B60CF572B4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871" name="TextBox 179">
            <a:extLst>
              <a:ext uri="{FF2B5EF4-FFF2-40B4-BE49-F238E27FC236}">
                <a16:creationId xmlns:a16="http://schemas.microsoft.com/office/drawing/2014/main" id="{2D6C9433-4C77-43A9-AA18-0523A25683BF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872" name="TextBox 179">
            <a:extLst>
              <a:ext uri="{FF2B5EF4-FFF2-40B4-BE49-F238E27FC236}">
                <a16:creationId xmlns:a16="http://schemas.microsoft.com/office/drawing/2014/main" id="{2E0DE02A-62A9-4DB2-A30E-F1063339C0C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873" name="Group 872">
            <a:extLst>
              <a:ext uri="{FF2B5EF4-FFF2-40B4-BE49-F238E27FC236}">
                <a16:creationId xmlns:a16="http://schemas.microsoft.com/office/drawing/2014/main" id="{47877F15-4ADC-4E11-A39C-29D374855938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</p:grpSpPr>
        <p:grpSp>
          <p:nvGrpSpPr>
            <p:cNvPr id="874" name="Gruppieren 907">
              <a:extLst>
                <a:ext uri="{FF2B5EF4-FFF2-40B4-BE49-F238E27FC236}">
                  <a16:creationId xmlns:a16="http://schemas.microsoft.com/office/drawing/2014/main" id="{88C3AE77-8EF9-4806-A70C-E9F8CA18A23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</p:grpSpPr>
          <p:sp>
            <p:nvSpPr>
              <p:cNvPr id="897" name="Abgerundetes Rechteck 908">
                <a:extLst>
                  <a:ext uri="{FF2B5EF4-FFF2-40B4-BE49-F238E27FC236}">
                    <a16:creationId xmlns:a16="http://schemas.microsoft.com/office/drawing/2014/main" id="{A213E6C2-EE3F-4B8D-8D13-959B534E1107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898" name="Gruppieren 909">
                <a:extLst>
                  <a:ext uri="{FF2B5EF4-FFF2-40B4-BE49-F238E27FC236}">
                    <a16:creationId xmlns:a16="http://schemas.microsoft.com/office/drawing/2014/main" id="{03AB6C26-7309-4E2D-B3E3-88F4E8BFFEC2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916" name="Freeform 912">
                  <a:extLst>
                    <a:ext uri="{FF2B5EF4-FFF2-40B4-BE49-F238E27FC236}">
                      <a16:creationId xmlns:a16="http://schemas.microsoft.com/office/drawing/2014/main" id="{2046F7FE-5347-4B82-AC72-D4CC27A7F3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7" name="Freeform 913">
                  <a:extLst>
                    <a:ext uri="{FF2B5EF4-FFF2-40B4-BE49-F238E27FC236}">
                      <a16:creationId xmlns:a16="http://schemas.microsoft.com/office/drawing/2014/main" id="{8E625DA7-F6F3-4466-8D0C-E2A3E0B72E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899" name="Gruppieren 910">
                <a:extLst>
                  <a:ext uri="{FF2B5EF4-FFF2-40B4-BE49-F238E27FC236}">
                    <a16:creationId xmlns:a16="http://schemas.microsoft.com/office/drawing/2014/main" id="{F2C506F2-CE19-4946-B948-B05AC5E2DBE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900" name="Abgerundetes Rechteck 911">
                  <a:extLst>
                    <a:ext uri="{FF2B5EF4-FFF2-40B4-BE49-F238E27FC236}">
                      <a16:creationId xmlns:a16="http://schemas.microsoft.com/office/drawing/2014/main" id="{4E9BCA8C-A57D-4744-BF89-53CAD10F0402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1" name="Rectangle 900">
                  <a:extLst>
                    <a:ext uri="{FF2B5EF4-FFF2-40B4-BE49-F238E27FC236}">
                      <a16:creationId xmlns:a16="http://schemas.microsoft.com/office/drawing/2014/main" id="{AC636C3B-6E19-4806-AFA6-68502EFB10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2" name="Rectangle 901">
                  <a:extLst>
                    <a:ext uri="{FF2B5EF4-FFF2-40B4-BE49-F238E27FC236}">
                      <a16:creationId xmlns:a16="http://schemas.microsoft.com/office/drawing/2014/main" id="{177000CE-38D1-447A-9776-51DD685B09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3" name="Rectangle 902">
                  <a:extLst>
                    <a:ext uri="{FF2B5EF4-FFF2-40B4-BE49-F238E27FC236}">
                      <a16:creationId xmlns:a16="http://schemas.microsoft.com/office/drawing/2014/main" id="{25A8D73D-EE65-481E-B9B5-C19AE5E2A4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4" name="Rectangle 903">
                  <a:extLst>
                    <a:ext uri="{FF2B5EF4-FFF2-40B4-BE49-F238E27FC236}">
                      <a16:creationId xmlns:a16="http://schemas.microsoft.com/office/drawing/2014/main" id="{EC87A8C9-906B-4CA4-96EB-E41F9261B5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5" name="Rectangle 904">
                  <a:extLst>
                    <a:ext uri="{FF2B5EF4-FFF2-40B4-BE49-F238E27FC236}">
                      <a16:creationId xmlns:a16="http://schemas.microsoft.com/office/drawing/2014/main" id="{6C80C9FC-AA2E-4737-9D3D-1C97A35729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6" name="Rectangle 905">
                  <a:extLst>
                    <a:ext uri="{FF2B5EF4-FFF2-40B4-BE49-F238E27FC236}">
                      <a16:creationId xmlns:a16="http://schemas.microsoft.com/office/drawing/2014/main" id="{A500062F-001D-404A-9737-B053955D5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7" name="Rectangle 906">
                  <a:extLst>
                    <a:ext uri="{FF2B5EF4-FFF2-40B4-BE49-F238E27FC236}">
                      <a16:creationId xmlns:a16="http://schemas.microsoft.com/office/drawing/2014/main" id="{CEEC38FC-8FAA-4900-A90C-A123B22871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8" name="Rectangle 907">
                  <a:extLst>
                    <a:ext uri="{FF2B5EF4-FFF2-40B4-BE49-F238E27FC236}">
                      <a16:creationId xmlns:a16="http://schemas.microsoft.com/office/drawing/2014/main" id="{87E6723C-45FB-4CCB-A51E-8DAD8D0A2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09" name="Rectangle 908">
                  <a:extLst>
                    <a:ext uri="{FF2B5EF4-FFF2-40B4-BE49-F238E27FC236}">
                      <a16:creationId xmlns:a16="http://schemas.microsoft.com/office/drawing/2014/main" id="{2607FCB2-6BC0-44B5-B55D-659C3B7B0F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0" name="Rectangle 909">
                  <a:extLst>
                    <a:ext uri="{FF2B5EF4-FFF2-40B4-BE49-F238E27FC236}">
                      <a16:creationId xmlns:a16="http://schemas.microsoft.com/office/drawing/2014/main" id="{D86088B7-7E79-4ADC-A3B0-7D8A999D81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1" name="Rectangle 910">
                  <a:extLst>
                    <a:ext uri="{FF2B5EF4-FFF2-40B4-BE49-F238E27FC236}">
                      <a16:creationId xmlns:a16="http://schemas.microsoft.com/office/drawing/2014/main" id="{8635B95C-1D97-4D64-AA91-54B5708F0B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2" name="Rectangle 911">
                  <a:extLst>
                    <a:ext uri="{FF2B5EF4-FFF2-40B4-BE49-F238E27FC236}">
                      <a16:creationId xmlns:a16="http://schemas.microsoft.com/office/drawing/2014/main" id="{CBCA21E2-E6CA-41D2-9C26-32F49239FD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3" name="Rectangle 912">
                  <a:extLst>
                    <a:ext uri="{FF2B5EF4-FFF2-40B4-BE49-F238E27FC236}">
                      <a16:creationId xmlns:a16="http://schemas.microsoft.com/office/drawing/2014/main" id="{3439D455-2C04-4EBB-9B47-3311FD4FFF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4" name="Rectangle 913">
                  <a:extLst>
                    <a:ext uri="{FF2B5EF4-FFF2-40B4-BE49-F238E27FC236}">
                      <a16:creationId xmlns:a16="http://schemas.microsoft.com/office/drawing/2014/main" id="{6FFD8530-222C-4F11-B004-14BBC98944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15" name="Rectangle 914">
                  <a:extLst>
                    <a:ext uri="{FF2B5EF4-FFF2-40B4-BE49-F238E27FC236}">
                      <a16:creationId xmlns:a16="http://schemas.microsoft.com/office/drawing/2014/main" id="{27B4C0F9-EE71-4144-9D6C-4E0C0BF65F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875" name="Gruppieren 907">
              <a:extLst>
                <a:ext uri="{FF2B5EF4-FFF2-40B4-BE49-F238E27FC236}">
                  <a16:creationId xmlns:a16="http://schemas.microsoft.com/office/drawing/2014/main" id="{A6D8A75E-BE06-4BB1-A1A7-3ABAE78715C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</p:grpSpPr>
          <p:sp>
            <p:nvSpPr>
              <p:cNvPr id="876" name="Abgerundetes Rechteck 908">
                <a:extLst>
                  <a:ext uri="{FF2B5EF4-FFF2-40B4-BE49-F238E27FC236}">
                    <a16:creationId xmlns:a16="http://schemas.microsoft.com/office/drawing/2014/main" id="{9CEF7687-D15D-4D26-979A-0811419D5A0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877" name="Gruppieren 909">
                <a:extLst>
                  <a:ext uri="{FF2B5EF4-FFF2-40B4-BE49-F238E27FC236}">
                    <a16:creationId xmlns:a16="http://schemas.microsoft.com/office/drawing/2014/main" id="{A5BEE823-6C8D-4BB1-8EF0-D63A3EF65411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895" name="Freeform 891">
                  <a:extLst>
                    <a:ext uri="{FF2B5EF4-FFF2-40B4-BE49-F238E27FC236}">
                      <a16:creationId xmlns:a16="http://schemas.microsoft.com/office/drawing/2014/main" id="{30E8C72A-5E8C-4BED-AA20-806312E5967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6" name="Freeform 892">
                  <a:extLst>
                    <a:ext uri="{FF2B5EF4-FFF2-40B4-BE49-F238E27FC236}">
                      <a16:creationId xmlns:a16="http://schemas.microsoft.com/office/drawing/2014/main" id="{A11D602E-980A-4B51-9AF0-ACD81670CD9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878" name="Gruppieren 910">
                <a:extLst>
                  <a:ext uri="{FF2B5EF4-FFF2-40B4-BE49-F238E27FC236}">
                    <a16:creationId xmlns:a16="http://schemas.microsoft.com/office/drawing/2014/main" id="{08FBC141-85D8-406A-925C-E9D4D083241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879" name="Abgerundetes Rechteck 911">
                  <a:extLst>
                    <a:ext uri="{FF2B5EF4-FFF2-40B4-BE49-F238E27FC236}">
                      <a16:creationId xmlns:a16="http://schemas.microsoft.com/office/drawing/2014/main" id="{AF175A80-FEA0-489E-A28D-F7316727E204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0" name="Rectangle 879">
                  <a:extLst>
                    <a:ext uri="{FF2B5EF4-FFF2-40B4-BE49-F238E27FC236}">
                      <a16:creationId xmlns:a16="http://schemas.microsoft.com/office/drawing/2014/main" id="{31337460-018C-4CCE-ACDB-A6ACCC8949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1" name="Rectangle 880">
                  <a:extLst>
                    <a:ext uri="{FF2B5EF4-FFF2-40B4-BE49-F238E27FC236}">
                      <a16:creationId xmlns:a16="http://schemas.microsoft.com/office/drawing/2014/main" id="{BC03A002-28C3-441E-AAB9-E1ECDB198D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2" name="Rectangle 881">
                  <a:extLst>
                    <a:ext uri="{FF2B5EF4-FFF2-40B4-BE49-F238E27FC236}">
                      <a16:creationId xmlns:a16="http://schemas.microsoft.com/office/drawing/2014/main" id="{25D04C2A-31E4-4A22-8331-847E255772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3" name="Rectangle 882">
                  <a:extLst>
                    <a:ext uri="{FF2B5EF4-FFF2-40B4-BE49-F238E27FC236}">
                      <a16:creationId xmlns:a16="http://schemas.microsoft.com/office/drawing/2014/main" id="{0A020F29-E789-49F5-A510-544E046ED5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4" name="Rectangle 883">
                  <a:extLst>
                    <a:ext uri="{FF2B5EF4-FFF2-40B4-BE49-F238E27FC236}">
                      <a16:creationId xmlns:a16="http://schemas.microsoft.com/office/drawing/2014/main" id="{67527065-4190-4347-9AA8-2E26CF82B1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5" name="Rectangle 884">
                  <a:extLst>
                    <a:ext uri="{FF2B5EF4-FFF2-40B4-BE49-F238E27FC236}">
                      <a16:creationId xmlns:a16="http://schemas.microsoft.com/office/drawing/2014/main" id="{2B3CE18B-A696-4211-9E0C-D5AF33390B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6" name="Rectangle 885">
                  <a:extLst>
                    <a:ext uri="{FF2B5EF4-FFF2-40B4-BE49-F238E27FC236}">
                      <a16:creationId xmlns:a16="http://schemas.microsoft.com/office/drawing/2014/main" id="{1814A9C5-078A-4A1C-A98F-3C43D1CE47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7" name="Rectangle 886">
                  <a:extLst>
                    <a:ext uri="{FF2B5EF4-FFF2-40B4-BE49-F238E27FC236}">
                      <a16:creationId xmlns:a16="http://schemas.microsoft.com/office/drawing/2014/main" id="{84C86697-402B-4D88-8215-C2315AC4ED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8" name="Rectangle 887">
                  <a:extLst>
                    <a:ext uri="{FF2B5EF4-FFF2-40B4-BE49-F238E27FC236}">
                      <a16:creationId xmlns:a16="http://schemas.microsoft.com/office/drawing/2014/main" id="{2B9D57D3-0943-436C-B822-AB58DABD6A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89" name="Rectangle 888">
                  <a:extLst>
                    <a:ext uri="{FF2B5EF4-FFF2-40B4-BE49-F238E27FC236}">
                      <a16:creationId xmlns:a16="http://schemas.microsoft.com/office/drawing/2014/main" id="{6735C1A9-2B31-4A0D-897B-EC46F99091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0" name="Rectangle 889">
                  <a:extLst>
                    <a:ext uri="{FF2B5EF4-FFF2-40B4-BE49-F238E27FC236}">
                      <a16:creationId xmlns:a16="http://schemas.microsoft.com/office/drawing/2014/main" id="{2E9001B3-589E-4749-9F01-34C87EB6AD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1" name="Rectangle 890">
                  <a:extLst>
                    <a:ext uri="{FF2B5EF4-FFF2-40B4-BE49-F238E27FC236}">
                      <a16:creationId xmlns:a16="http://schemas.microsoft.com/office/drawing/2014/main" id="{F8BCD3CC-CE33-411F-8E74-D036C29449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2" name="Rectangle 891">
                  <a:extLst>
                    <a:ext uri="{FF2B5EF4-FFF2-40B4-BE49-F238E27FC236}">
                      <a16:creationId xmlns:a16="http://schemas.microsoft.com/office/drawing/2014/main" id="{276C6C63-83BF-4259-837F-4C8CF94508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3" name="Rectangle 892">
                  <a:extLst>
                    <a:ext uri="{FF2B5EF4-FFF2-40B4-BE49-F238E27FC236}">
                      <a16:creationId xmlns:a16="http://schemas.microsoft.com/office/drawing/2014/main" id="{F0BE44D0-5B9F-405C-A634-20C6400B97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894" name="Rectangle 893">
                  <a:extLst>
                    <a:ext uri="{FF2B5EF4-FFF2-40B4-BE49-F238E27FC236}">
                      <a16:creationId xmlns:a16="http://schemas.microsoft.com/office/drawing/2014/main" id="{FACDB573-E539-406E-84B2-87A4648D3D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918" name="Rectangle 917">
            <a:extLst>
              <a:ext uri="{FF2B5EF4-FFF2-40B4-BE49-F238E27FC236}">
                <a16:creationId xmlns:a16="http://schemas.microsoft.com/office/drawing/2014/main" id="{016DF164-363B-419D-81FB-2B3EBA02CF6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919" name="TextBox 179">
            <a:extLst>
              <a:ext uri="{FF2B5EF4-FFF2-40B4-BE49-F238E27FC236}">
                <a16:creationId xmlns:a16="http://schemas.microsoft.com/office/drawing/2014/main" id="{812A4299-E940-4025-A733-3F9D552660D6}"/>
              </a:ext>
            </a:extLst>
          </p:cNvPr>
          <p:cNvSpPr txBox="1"/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89D329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89D329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920" name="Straight Arrow Connector 919">
            <a:extLst>
              <a:ext uri="{FF2B5EF4-FFF2-40B4-BE49-F238E27FC236}">
                <a16:creationId xmlns:a16="http://schemas.microsoft.com/office/drawing/2014/main" id="{D6ED3E3E-6ACC-4405-A9AB-0F782810BD7D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1" name="TextBox 179">
            <a:extLst>
              <a:ext uri="{FF2B5EF4-FFF2-40B4-BE49-F238E27FC236}">
                <a16:creationId xmlns:a16="http://schemas.microsoft.com/office/drawing/2014/main" id="{59253F39-F78F-4D67-9F1F-4855340BFAE8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</p:spTree>
    <p:extLst>
      <p:ext uri="{BB962C8B-B14F-4D97-AF65-F5344CB8AC3E}">
        <p14:creationId xmlns:p14="http://schemas.microsoft.com/office/powerpoint/2010/main" val="1054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304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1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ith the Holmes project we replace IBM Watson and add a custom-built AI for Medical Coding to the MPC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9</a:t>
            </a:fld>
            <a:endParaRPr lang="en-US"/>
          </a:p>
        </p:txBody>
      </p: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D13BE87-AE71-4181-9C40-AEA75778AD5C}"/>
              </a:ext>
            </a:extLst>
          </p:cNvPr>
          <p:cNvGrpSpPr>
            <a:grpSpLocks/>
          </p:cNvGrpSpPr>
          <p:nvPr/>
        </p:nvGrpSpPr>
        <p:grpSpPr>
          <a:xfrm>
            <a:off x="985889" y="2299604"/>
            <a:ext cx="3103090" cy="2896881"/>
            <a:chOff x="985889" y="2299604"/>
            <a:chExt cx="3103090" cy="289688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145D328-0F27-4F7A-A962-22E5F65A0985}"/>
                </a:ext>
              </a:extLst>
            </p:cNvPr>
            <p:cNvSpPr/>
            <p:nvPr/>
          </p:nvSpPr>
          <p:spPr bwMode="gray">
            <a:xfrm>
              <a:off x="985890" y="2471461"/>
              <a:ext cx="1421130" cy="65422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8" name="Computer">
              <a:extLst>
                <a:ext uri="{FF2B5EF4-FFF2-40B4-BE49-F238E27FC236}">
                  <a16:creationId xmlns:a16="http://schemas.microsoft.com/office/drawing/2014/main" id="{51CB5670-EE3A-400D-AE59-99DA547646D2}"/>
                </a:ext>
              </a:extLst>
            </p:cNvPr>
            <p:cNvGrpSpPr/>
            <p:nvPr/>
          </p:nvGrpSpPr>
          <p:grpSpPr>
            <a:xfrm>
              <a:off x="1109100" y="2673265"/>
              <a:ext cx="336328" cy="254511"/>
              <a:chOff x="2449092" y="1855816"/>
              <a:chExt cx="391852" cy="296527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355" name="Freeform 614">
                <a:extLst>
                  <a:ext uri="{FF2B5EF4-FFF2-40B4-BE49-F238E27FC236}">
                    <a16:creationId xmlns:a16="http://schemas.microsoft.com/office/drawing/2014/main" id="{801E3919-1ACE-4D32-A4CA-5199DA5050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0644" y="2047958"/>
                <a:ext cx="124865" cy="49957"/>
              </a:xfrm>
              <a:custGeom>
                <a:avLst/>
                <a:gdLst>
                  <a:gd name="T0" fmla="*/ 930 w 930"/>
                  <a:gd name="T1" fmla="*/ 268 h 372"/>
                  <a:gd name="T2" fmla="*/ 855 w 930"/>
                  <a:gd name="T3" fmla="*/ 372 h 372"/>
                  <a:gd name="T4" fmla="*/ 75 w 930"/>
                  <a:gd name="T5" fmla="*/ 372 h 372"/>
                  <a:gd name="T6" fmla="*/ 0 w 930"/>
                  <a:gd name="T7" fmla="*/ 268 h 372"/>
                  <a:gd name="T8" fmla="*/ 0 w 930"/>
                  <a:gd name="T9" fmla="*/ 105 h 372"/>
                  <a:gd name="T10" fmla="*/ 75 w 930"/>
                  <a:gd name="T11" fmla="*/ 0 h 372"/>
                  <a:gd name="T12" fmla="*/ 855 w 930"/>
                  <a:gd name="T13" fmla="*/ 0 h 372"/>
                  <a:gd name="T14" fmla="*/ 930 w 930"/>
                  <a:gd name="T15" fmla="*/ 105 h 372"/>
                  <a:gd name="T16" fmla="*/ 930 w 930"/>
                  <a:gd name="T17" fmla="*/ 26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0" h="372">
                    <a:moveTo>
                      <a:pt x="930" y="268"/>
                    </a:moveTo>
                    <a:cubicBezTo>
                      <a:pt x="930" y="326"/>
                      <a:pt x="897" y="372"/>
                      <a:pt x="855" y="372"/>
                    </a:cubicBezTo>
                    <a:cubicBezTo>
                      <a:pt x="75" y="372"/>
                      <a:pt x="75" y="372"/>
                      <a:pt x="75" y="372"/>
                    </a:cubicBezTo>
                    <a:cubicBezTo>
                      <a:pt x="34" y="372"/>
                      <a:pt x="0" y="326"/>
                      <a:pt x="0" y="26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47"/>
                      <a:pt x="34" y="0"/>
                      <a:pt x="75" y="0"/>
                    </a:cubicBezTo>
                    <a:cubicBezTo>
                      <a:pt x="855" y="0"/>
                      <a:pt x="855" y="0"/>
                      <a:pt x="855" y="0"/>
                    </a:cubicBezTo>
                    <a:cubicBezTo>
                      <a:pt x="897" y="0"/>
                      <a:pt x="930" y="47"/>
                      <a:pt x="930" y="105"/>
                    </a:cubicBezTo>
                    <a:lnTo>
                      <a:pt x="930" y="268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6" name="Freeform: Shape 329">
                <a:extLst>
                  <a:ext uri="{FF2B5EF4-FFF2-40B4-BE49-F238E27FC236}">
                    <a16:creationId xmlns:a16="http://schemas.microsoft.com/office/drawing/2014/main" id="{5CF413E2-152A-4767-A7E6-2819D4514B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1591" y="1863982"/>
                <a:ext cx="119353" cy="241619"/>
              </a:xfrm>
              <a:custGeom>
                <a:avLst/>
                <a:gdLst>
                  <a:gd name="connsiteX0" fmla="*/ 59677 w 119353"/>
                  <a:gd name="connsiteY0" fmla="*/ 189981 h 241619"/>
                  <a:gd name="connsiteX1" fmla="*/ 48173 w 119353"/>
                  <a:gd name="connsiteY1" fmla="*/ 201630 h 241619"/>
                  <a:gd name="connsiteX2" fmla="*/ 59677 w 119353"/>
                  <a:gd name="connsiteY2" fmla="*/ 213279 h 241619"/>
                  <a:gd name="connsiteX3" fmla="*/ 71181 w 119353"/>
                  <a:gd name="connsiteY3" fmla="*/ 201630 h 241619"/>
                  <a:gd name="connsiteX4" fmla="*/ 59677 w 119353"/>
                  <a:gd name="connsiteY4" fmla="*/ 189981 h 241619"/>
                  <a:gd name="connsiteX5" fmla="*/ 16765 w 119353"/>
                  <a:gd name="connsiteY5" fmla="*/ 33625 h 241619"/>
                  <a:gd name="connsiteX6" fmla="*/ 5752 w 119353"/>
                  <a:gd name="connsiteY6" fmla="*/ 44487 h 241619"/>
                  <a:gd name="connsiteX7" fmla="*/ 16765 w 119353"/>
                  <a:gd name="connsiteY7" fmla="*/ 55482 h 241619"/>
                  <a:gd name="connsiteX8" fmla="*/ 102588 w 119353"/>
                  <a:gd name="connsiteY8" fmla="*/ 55482 h 241619"/>
                  <a:gd name="connsiteX9" fmla="*/ 113601 w 119353"/>
                  <a:gd name="connsiteY9" fmla="*/ 44487 h 241619"/>
                  <a:gd name="connsiteX10" fmla="*/ 102588 w 119353"/>
                  <a:gd name="connsiteY10" fmla="*/ 33625 h 241619"/>
                  <a:gd name="connsiteX11" fmla="*/ 16765 w 119353"/>
                  <a:gd name="connsiteY11" fmla="*/ 33625 h 241619"/>
                  <a:gd name="connsiteX12" fmla="*/ 13963 w 119353"/>
                  <a:gd name="connsiteY12" fmla="*/ 0 h 241619"/>
                  <a:gd name="connsiteX13" fmla="*/ 105391 w 119353"/>
                  <a:gd name="connsiteY13" fmla="*/ 0 h 241619"/>
                  <a:gd name="connsiteX14" fmla="*/ 119353 w 119353"/>
                  <a:gd name="connsiteY14" fmla="*/ 13968 h 241619"/>
                  <a:gd name="connsiteX15" fmla="*/ 119353 w 119353"/>
                  <a:gd name="connsiteY15" fmla="*/ 227517 h 241619"/>
                  <a:gd name="connsiteX16" fmla="*/ 105391 w 119353"/>
                  <a:gd name="connsiteY16" fmla="*/ 241619 h 241619"/>
                  <a:gd name="connsiteX17" fmla="*/ 13963 w 119353"/>
                  <a:gd name="connsiteY17" fmla="*/ 241619 h 241619"/>
                  <a:gd name="connsiteX18" fmla="*/ 0 w 119353"/>
                  <a:gd name="connsiteY18" fmla="*/ 227517 h 241619"/>
                  <a:gd name="connsiteX19" fmla="*/ 0 w 119353"/>
                  <a:gd name="connsiteY19" fmla="*/ 13968 h 241619"/>
                  <a:gd name="connsiteX20" fmla="*/ 13963 w 119353"/>
                  <a:gd name="connsiteY20" fmla="*/ 0 h 24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53" h="241619">
                    <a:moveTo>
                      <a:pt x="59677" y="189981"/>
                    </a:moveTo>
                    <a:cubicBezTo>
                      <a:pt x="53324" y="189981"/>
                      <a:pt x="48173" y="195196"/>
                      <a:pt x="48173" y="201630"/>
                    </a:cubicBezTo>
                    <a:cubicBezTo>
                      <a:pt x="48173" y="208064"/>
                      <a:pt x="53324" y="213279"/>
                      <a:pt x="59677" y="213279"/>
                    </a:cubicBezTo>
                    <a:cubicBezTo>
                      <a:pt x="66030" y="213279"/>
                      <a:pt x="71181" y="208064"/>
                      <a:pt x="71181" y="201630"/>
                    </a:cubicBezTo>
                    <a:cubicBezTo>
                      <a:pt x="71181" y="195196"/>
                      <a:pt x="66030" y="189981"/>
                      <a:pt x="59677" y="189981"/>
                    </a:cubicBezTo>
                    <a:close/>
                    <a:moveTo>
                      <a:pt x="16765" y="33625"/>
                    </a:moveTo>
                    <a:cubicBezTo>
                      <a:pt x="10722" y="33625"/>
                      <a:pt x="5752" y="38452"/>
                      <a:pt x="5752" y="44487"/>
                    </a:cubicBezTo>
                    <a:cubicBezTo>
                      <a:pt x="5752" y="50521"/>
                      <a:pt x="10722" y="55482"/>
                      <a:pt x="16765" y="55482"/>
                    </a:cubicBezTo>
                    <a:cubicBezTo>
                      <a:pt x="16765" y="55482"/>
                      <a:pt x="16765" y="55482"/>
                      <a:pt x="102588" y="55482"/>
                    </a:cubicBezTo>
                    <a:cubicBezTo>
                      <a:pt x="108632" y="55482"/>
                      <a:pt x="113601" y="50521"/>
                      <a:pt x="113601" y="44487"/>
                    </a:cubicBezTo>
                    <a:cubicBezTo>
                      <a:pt x="113601" y="38452"/>
                      <a:pt x="108632" y="33625"/>
                      <a:pt x="102588" y="33625"/>
                    </a:cubicBezTo>
                    <a:cubicBezTo>
                      <a:pt x="102588" y="33625"/>
                      <a:pt x="102588" y="33625"/>
                      <a:pt x="16765" y="33625"/>
                    </a:cubicBezTo>
                    <a:close/>
                    <a:moveTo>
                      <a:pt x="13963" y="0"/>
                    </a:moveTo>
                    <a:cubicBezTo>
                      <a:pt x="105391" y="0"/>
                      <a:pt x="105391" y="0"/>
                      <a:pt x="105391" y="0"/>
                    </a:cubicBezTo>
                    <a:cubicBezTo>
                      <a:pt x="113043" y="0"/>
                      <a:pt x="119353" y="6313"/>
                      <a:pt x="119353" y="13968"/>
                    </a:cubicBezTo>
                    <a:lnTo>
                      <a:pt x="119353" y="227517"/>
                    </a:lnTo>
                    <a:cubicBezTo>
                      <a:pt x="119353" y="235307"/>
                      <a:pt x="113043" y="241619"/>
                      <a:pt x="105391" y="241619"/>
                    </a:cubicBezTo>
                    <a:cubicBezTo>
                      <a:pt x="13963" y="241619"/>
                      <a:pt x="13963" y="241619"/>
                      <a:pt x="13963" y="241619"/>
                    </a:cubicBezTo>
                    <a:cubicBezTo>
                      <a:pt x="6310" y="241619"/>
                      <a:pt x="0" y="235307"/>
                      <a:pt x="0" y="227517"/>
                    </a:cubicBezTo>
                    <a:cubicBezTo>
                      <a:pt x="0" y="13968"/>
                      <a:pt x="0" y="13968"/>
                      <a:pt x="0" y="13968"/>
                    </a:cubicBezTo>
                    <a:cubicBezTo>
                      <a:pt x="0" y="6313"/>
                      <a:pt x="6310" y="0"/>
                      <a:pt x="13963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7" name="Freeform: Shape 327">
                <a:extLst>
                  <a:ext uri="{FF2B5EF4-FFF2-40B4-BE49-F238E27FC236}">
                    <a16:creationId xmlns:a16="http://schemas.microsoft.com/office/drawing/2014/main" id="{F07F0261-EBA3-43A6-9830-5FC74F4881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2753" y="1855816"/>
                <a:ext cx="271780" cy="205833"/>
              </a:xfrm>
              <a:custGeom>
                <a:avLst/>
                <a:gdLst>
                  <a:gd name="connsiteX0" fmla="*/ 28434 w 271780"/>
                  <a:gd name="connsiteY0" fmla="*/ 13690 h 205833"/>
                  <a:gd name="connsiteX1" fmla="*/ 17975 w 271780"/>
                  <a:gd name="connsiteY1" fmla="*/ 24164 h 205833"/>
                  <a:gd name="connsiteX2" fmla="*/ 17975 w 271780"/>
                  <a:gd name="connsiteY2" fmla="*/ 181669 h 205833"/>
                  <a:gd name="connsiteX3" fmla="*/ 28434 w 271780"/>
                  <a:gd name="connsiteY3" fmla="*/ 192142 h 205833"/>
                  <a:gd name="connsiteX4" fmla="*/ 243106 w 271780"/>
                  <a:gd name="connsiteY4" fmla="*/ 192142 h 205833"/>
                  <a:gd name="connsiteX5" fmla="*/ 253565 w 271780"/>
                  <a:gd name="connsiteY5" fmla="*/ 181669 h 205833"/>
                  <a:gd name="connsiteX6" fmla="*/ 253565 w 271780"/>
                  <a:gd name="connsiteY6" fmla="*/ 24164 h 205833"/>
                  <a:gd name="connsiteX7" fmla="*/ 243106 w 271780"/>
                  <a:gd name="connsiteY7" fmla="*/ 13690 h 205833"/>
                  <a:gd name="connsiteX8" fmla="*/ 28434 w 271780"/>
                  <a:gd name="connsiteY8" fmla="*/ 13690 h 205833"/>
                  <a:gd name="connsiteX9" fmla="*/ 12067 w 271780"/>
                  <a:gd name="connsiteY9" fmla="*/ 0 h 205833"/>
                  <a:gd name="connsiteX10" fmla="*/ 259713 w 271780"/>
                  <a:gd name="connsiteY10" fmla="*/ 0 h 205833"/>
                  <a:gd name="connsiteX11" fmla="*/ 271780 w 271780"/>
                  <a:gd name="connsiteY11" fmla="*/ 12084 h 205833"/>
                  <a:gd name="connsiteX12" fmla="*/ 271780 w 271780"/>
                  <a:gd name="connsiteY12" fmla="*/ 193883 h 205833"/>
                  <a:gd name="connsiteX13" fmla="*/ 259713 w 271780"/>
                  <a:gd name="connsiteY13" fmla="*/ 205833 h 205833"/>
                  <a:gd name="connsiteX14" fmla="*/ 12067 w 271780"/>
                  <a:gd name="connsiteY14" fmla="*/ 205833 h 205833"/>
                  <a:gd name="connsiteX15" fmla="*/ 0 w 271780"/>
                  <a:gd name="connsiteY15" fmla="*/ 193883 h 205833"/>
                  <a:gd name="connsiteX16" fmla="*/ 0 w 271780"/>
                  <a:gd name="connsiteY16" fmla="*/ 12084 h 205833"/>
                  <a:gd name="connsiteX17" fmla="*/ 12067 w 271780"/>
                  <a:gd name="connsiteY17" fmla="*/ 0 h 20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1780" h="205833">
                    <a:moveTo>
                      <a:pt x="28434" y="13690"/>
                    </a:moveTo>
                    <a:cubicBezTo>
                      <a:pt x="22668" y="13690"/>
                      <a:pt x="17975" y="18390"/>
                      <a:pt x="17975" y="24164"/>
                    </a:cubicBezTo>
                    <a:cubicBezTo>
                      <a:pt x="17975" y="24164"/>
                      <a:pt x="17975" y="24164"/>
                      <a:pt x="17975" y="181669"/>
                    </a:cubicBezTo>
                    <a:cubicBezTo>
                      <a:pt x="17975" y="187442"/>
                      <a:pt x="22668" y="192142"/>
                      <a:pt x="28434" y="192142"/>
                    </a:cubicBezTo>
                    <a:cubicBezTo>
                      <a:pt x="28434" y="192142"/>
                      <a:pt x="28434" y="192142"/>
                      <a:pt x="243106" y="192142"/>
                    </a:cubicBezTo>
                    <a:cubicBezTo>
                      <a:pt x="248872" y="192142"/>
                      <a:pt x="253565" y="187442"/>
                      <a:pt x="253565" y="181669"/>
                    </a:cubicBezTo>
                    <a:lnTo>
                      <a:pt x="253565" y="24164"/>
                    </a:lnTo>
                    <a:cubicBezTo>
                      <a:pt x="253565" y="18390"/>
                      <a:pt x="248872" y="13690"/>
                      <a:pt x="243106" y="13690"/>
                    </a:cubicBezTo>
                    <a:cubicBezTo>
                      <a:pt x="243106" y="13690"/>
                      <a:pt x="243106" y="13690"/>
                      <a:pt x="28434" y="13690"/>
                    </a:cubicBezTo>
                    <a:close/>
                    <a:moveTo>
                      <a:pt x="12067" y="0"/>
                    </a:moveTo>
                    <a:cubicBezTo>
                      <a:pt x="259713" y="0"/>
                      <a:pt x="259713" y="0"/>
                      <a:pt x="259713" y="0"/>
                    </a:cubicBezTo>
                    <a:cubicBezTo>
                      <a:pt x="266283" y="0"/>
                      <a:pt x="271780" y="5371"/>
                      <a:pt x="271780" y="12084"/>
                    </a:cubicBezTo>
                    <a:lnTo>
                      <a:pt x="271780" y="193883"/>
                    </a:lnTo>
                    <a:cubicBezTo>
                      <a:pt x="271780" y="200462"/>
                      <a:pt x="266283" y="205833"/>
                      <a:pt x="259713" y="205833"/>
                    </a:cubicBezTo>
                    <a:cubicBezTo>
                      <a:pt x="12067" y="205833"/>
                      <a:pt x="12067" y="205833"/>
                      <a:pt x="12067" y="205833"/>
                    </a:cubicBezTo>
                    <a:cubicBezTo>
                      <a:pt x="5363" y="205833"/>
                      <a:pt x="0" y="200462"/>
                      <a:pt x="0" y="193883"/>
                    </a:cubicBezTo>
                    <a:cubicBezTo>
                      <a:pt x="0" y="12084"/>
                      <a:pt x="0" y="12084"/>
                      <a:pt x="0" y="12084"/>
                    </a:cubicBezTo>
                    <a:cubicBezTo>
                      <a:pt x="0" y="5371"/>
                      <a:pt x="5363" y="0"/>
                      <a:pt x="12067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8" name="Freeform 617">
                <a:extLst>
                  <a:ext uri="{FF2B5EF4-FFF2-40B4-BE49-F238E27FC236}">
                    <a16:creationId xmlns:a16="http://schemas.microsoft.com/office/drawing/2014/main" id="{7B614370-DB77-4BD1-8B0C-49927A54BA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134182"/>
                <a:ext cx="300060" cy="13930"/>
              </a:xfrm>
              <a:custGeom>
                <a:avLst/>
                <a:gdLst>
                  <a:gd name="T0" fmla="*/ 2238 w 2238"/>
                  <a:gd name="T1" fmla="*/ 59 h 103"/>
                  <a:gd name="T2" fmla="*/ 2149 w 2238"/>
                  <a:gd name="T3" fmla="*/ 103 h 103"/>
                  <a:gd name="T4" fmla="*/ 90 w 2238"/>
                  <a:gd name="T5" fmla="*/ 103 h 103"/>
                  <a:gd name="T6" fmla="*/ 0 w 2238"/>
                  <a:gd name="T7" fmla="*/ 59 h 103"/>
                  <a:gd name="T8" fmla="*/ 0 w 2238"/>
                  <a:gd name="T9" fmla="*/ 44 h 103"/>
                  <a:gd name="T10" fmla="*/ 90 w 2238"/>
                  <a:gd name="T11" fmla="*/ 0 h 103"/>
                  <a:gd name="T12" fmla="*/ 2149 w 2238"/>
                  <a:gd name="T13" fmla="*/ 0 h 103"/>
                  <a:gd name="T14" fmla="*/ 2238 w 2238"/>
                  <a:gd name="T15" fmla="*/ 44 h 103"/>
                  <a:gd name="T16" fmla="*/ 2238 w 2238"/>
                  <a:gd name="T17" fmla="*/ 5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8" h="103">
                    <a:moveTo>
                      <a:pt x="2238" y="59"/>
                    </a:moveTo>
                    <a:cubicBezTo>
                      <a:pt x="2238" y="83"/>
                      <a:pt x="2198" y="103"/>
                      <a:pt x="2149" y="103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41" y="103"/>
                      <a:pt x="0" y="83"/>
                      <a:pt x="0" y="5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41" y="0"/>
                      <a:pt x="90" y="0"/>
                    </a:cubicBezTo>
                    <a:cubicBezTo>
                      <a:pt x="2149" y="0"/>
                      <a:pt x="2149" y="0"/>
                      <a:pt x="2149" y="0"/>
                    </a:cubicBezTo>
                    <a:cubicBezTo>
                      <a:pt x="2198" y="0"/>
                      <a:pt x="2238" y="20"/>
                      <a:pt x="2238" y="44"/>
                    </a:cubicBezTo>
                    <a:lnTo>
                      <a:pt x="2238" y="5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9" name="Freeform: Shape 330">
                <a:extLst>
                  <a:ext uri="{FF2B5EF4-FFF2-40B4-BE49-F238E27FC236}">
                    <a16:creationId xmlns:a16="http://schemas.microsoft.com/office/drawing/2014/main" id="{0D1D795A-FA8E-4A36-9545-25C5453AB9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094460"/>
                <a:ext cx="300060" cy="57883"/>
              </a:xfrm>
              <a:custGeom>
                <a:avLst/>
                <a:gdLst>
                  <a:gd name="connsiteX0" fmla="*/ 39626 w 300060"/>
                  <a:gd name="connsiteY0" fmla="*/ 6725 h 57883"/>
                  <a:gd name="connsiteX1" fmla="*/ 28900 w 300060"/>
                  <a:gd name="connsiteY1" fmla="*/ 9276 h 57883"/>
                  <a:gd name="connsiteX2" fmla="*/ 16298 w 300060"/>
                  <a:gd name="connsiteY2" fmla="*/ 47406 h 57883"/>
                  <a:gd name="connsiteX3" fmla="*/ 27024 w 300060"/>
                  <a:gd name="connsiteY3" fmla="*/ 49957 h 57883"/>
                  <a:gd name="connsiteX4" fmla="*/ 273038 w 300060"/>
                  <a:gd name="connsiteY4" fmla="*/ 49957 h 57883"/>
                  <a:gd name="connsiteX5" fmla="*/ 283763 w 300060"/>
                  <a:gd name="connsiteY5" fmla="*/ 47406 h 57883"/>
                  <a:gd name="connsiteX6" fmla="*/ 271161 w 300060"/>
                  <a:gd name="connsiteY6" fmla="*/ 9276 h 57883"/>
                  <a:gd name="connsiteX7" fmla="*/ 260435 w 300060"/>
                  <a:gd name="connsiteY7" fmla="*/ 6725 h 57883"/>
                  <a:gd name="connsiteX8" fmla="*/ 39626 w 300060"/>
                  <a:gd name="connsiteY8" fmla="*/ 6725 h 57883"/>
                  <a:gd name="connsiteX9" fmla="*/ 26279 w 300060"/>
                  <a:gd name="connsiteY9" fmla="*/ 0 h 57883"/>
                  <a:gd name="connsiteX10" fmla="*/ 273916 w 300060"/>
                  <a:gd name="connsiteY10" fmla="*/ 0 h 57883"/>
                  <a:gd name="connsiteX11" fmla="*/ 285982 w 300060"/>
                  <a:gd name="connsiteY11" fmla="*/ 3365 h 57883"/>
                  <a:gd name="connsiteX12" fmla="*/ 300060 w 300060"/>
                  <a:gd name="connsiteY12" fmla="*/ 54518 h 57883"/>
                  <a:gd name="connsiteX13" fmla="*/ 288127 w 300060"/>
                  <a:gd name="connsiteY13" fmla="*/ 57883 h 57883"/>
                  <a:gd name="connsiteX14" fmla="*/ 12067 w 300060"/>
                  <a:gd name="connsiteY14" fmla="*/ 57883 h 57883"/>
                  <a:gd name="connsiteX15" fmla="*/ 0 w 300060"/>
                  <a:gd name="connsiteY15" fmla="*/ 54518 h 57883"/>
                  <a:gd name="connsiteX16" fmla="*/ 14212 w 300060"/>
                  <a:gd name="connsiteY16" fmla="*/ 3365 h 57883"/>
                  <a:gd name="connsiteX17" fmla="*/ 26279 w 300060"/>
                  <a:gd name="connsiteY17" fmla="*/ 0 h 57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060" h="57883">
                    <a:moveTo>
                      <a:pt x="39626" y="6725"/>
                    </a:moveTo>
                    <a:cubicBezTo>
                      <a:pt x="33727" y="6725"/>
                      <a:pt x="28900" y="7799"/>
                      <a:pt x="28900" y="9276"/>
                    </a:cubicBezTo>
                    <a:cubicBezTo>
                      <a:pt x="28900" y="9276"/>
                      <a:pt x="28900" y="9276"/>
                      <a:pt x="16298" y="47406"/>
                    </a:cubicBezTo>
                    <a:cubicBezTo>
                      <a:pt x="16298" y="48883"/>
                      <a:pt x="21125" y="49957"/>
                      <a:pt x="27024" y="49957"/>
                    </a:cubicBezTo>
                    <a:cubicBezTo>
                      <a:pt x="27024" y="49957"/>
                      <a:pt x="27024" y="49957"/>
                      <a:pt x="273038" y="49957"/>
                    </a:cubicBezTo>
                    <a:cubicBezTo>
                      <a:pt x="278937" y="49957"/>
                      <a:pt x="283763" y="48883"/>
                      <a:pt x="283763" y="47406"/>
                    </a:cubicBezTo>
                    <a:lnTo>
                      <a:pt x="271161" y="9276"/>
                    </a:lnTo>
                    <a:cubicBezTo>
                      <a:pt x="271161" y="7799"/>
                      <a:pt x="266334" y="6725"/>
                      <a:pt x="260435" y="6725"/>
                    </a:cubicBezTo>
                    <a:cubicBezTo>
                      <a:pt x="260435" y="6725"/>
                      <a:pt x="260435" y="6725"/>
                      <a:pt x="39626" y="6725"/>
                    </a:cubicBezTo>
                    <a:close/>
                    <a:moveTo>
                      <a:pt x="26279" y="0"/>
                    </a:moveTo>
                    <a:cubicBezTo>
                      <a:pt x="273916" y="0"/>
                      <a:pt x="273916" y="0"/>
                      <a:pt x="273916" y="0"/>
                    </a:cubicBezTo>
                    <a:cubicBezTo>
                      <a:pt x="280619" y="0"/>
                      <a:pt x="285982" y="1481"/>
                      <a:pt x="285982" y="3365"/>
                    </a:cubicBezTo>
                    <a:lnTo>
                      <a:pt x="300060" y="54518"/>
                    </a:lnTo>
                    <a:cubicBezTo>
                      <a:pt x="300060" y="56402"/>
                      <a:pt x="294697" y="57883"/>
                      <a:pt x="288127" y="57883"/>
                    </a:cubicBezTo>
                    <a:cubicBezTo>
                      <a:pt x="12067" y="57883"/>
                      <a:pt x="12067" y="57883"/>
                      <a:pt x="12067" y="57883"/>
                    </a:cubicBezTo>
                    <a:cubicBezTo>
                      <a:pt x="5497" y="57883"/>
                      <a:pt x="0" y="56402"/>
                      <a:pt x="0" y="54518"/>
                    </a:cubicBezTo>
                    <a:cubicBezTo>
                      <a:pt x="14212" y="3365"/>
                      <a:pt x="14212" y="3365"/>
                      <a:pt x="14212" y="3365"/>
                    </a:cubicBezTo>
                    <a:cubicBezTo>
                      <a:pt x="14212" y="1481"/>
                      <a:pt x="19575" y="0"/>
                      <a:pt x="2627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9" name="Computer">
              <a:extLst>
                <a:ext uri="{FF2B5EF4-FFF2-40B4-BE49-F238E27FC236}">
                  <a16:creationId xmlns:a16="http://schemas.microsoft.com/office/drawing/2014/main" id="{76BC0828-D448-4861-9806-96BBF27B3EE1}"/>
                </a:ext>
              </a:extLst>
            </p:cNvPr>
            <p:cNvGrpSpPr/>
            <p:nvPr/>
          </p:nvGrpSpPr>
          <p:grpSpPr>
            <a:xfrm>
              <a:off x="1824171" y="2676814"/>
              <a:ext cx="336328" cy="254511"/>
              <a:chOff x="2449092" y="1855816"/>
              <a:chExt cx="391852" cy="296527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350" name="Freeform 620">
                <a:extLst>
                  <a:ext uri="{FF2B5EF4-FFF2-40B4-BE49-F238E27FC236}">
                    <a16:creationId xmlns:a16="http://schemas.microsoft.com/office/drawing/2014/main" id="{F39573C9-F7A5-49FC-A9D2-82FE734101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0644" y="2047958"/>
                <a:ext cx="124865" cy="49957"/>
              </a:xfrm>
              <a:custGeom>
                <a:avLst/>
                <a:gdLst>
                  <a:gd name="T0" fmla="*/ 930 w 930"/>
                  <a:gd name="T1" fmla="*/ 268 h 372"/>
                  <a:gd name="T2" fmla="*/ 855 w 930"/>
                  <a:gd name="T3" fmla="*/ 372 h 372"/>
                  <a:gd name="T4" fmla="*/ 75 w 930"/>
                  <a:gd name="T5" fmla="*/ 372 h 372"/>
                  <a:gd name="T6" fmla="*/ 0 w 930"/>
                  <a:gd name="T7" fmla="*/ 268 h 372"/>
                  <a:gd name="T8" fmla="*/ 0 w 930"/>
                  <a:gd name="T9" fmla="*/ 105 h 372"/>
                  <a:gd name="T10" fmla="*/ 75 w 930"/>
                  <a:gd name="T11" fmla="*/ 0 h 372"/>
                  <a:gd name="T12" fmla="*/ 855 w 930"/>
                  <a:gd name="T13" fmla="*/ 0 h 372"/>
                  <a:gd name="T14" fmla="*/ 930 w 930"/>
                  <a:gd name="T15" fmla="*/ 105 h 372"/>
                  <a:gd name="T16" fmla="*/ 930 w 930"/>
                  <a:gd name="T17" fmla="*/ 26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0" h="372">
                    <a:moveTo>
                      <a:pt x="930" y="268"/>
                    </a:moveTo>
                    <a:cubicBezTo>
                      <a:pt x="930" y="326"/>
                      <a:pt x="897" y="372"/>
                      <a:pt x="855" y="372"/>
                    </a:cubicBezTo>
                    <a:cubicBezTo>
                      <a:pt x="75" y="372"/>
                      <a:pt x="75" y="372"/>
                      <a:pt x="75" y="372"/>
                    </a:cubicBezTo>
                    <a:cubicBezTo>
                      <a:pt x="34" y="372"/>
                      <a:pt x="0" y="326"/>
                      <a:pt x="0" y="26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47"/>
                      <a:pt x="34" y="0"/>
                      <a:pt x="75" y="0"/>
                    </a:cubicBezTo>
                    <a:cubicBezTo>
                      <a:pt x="855" y="0"/>
                      <a:pt x="855" y="0"/>
                      <a:pt x="855" y="0"/>
                    </a:cubicBezTo>
                    <a:cubicBezTo>
                      <a:pt x="897" y="0"/>
                      <a:pt x="930" y="47"/>
                      <a:pt x="930" y="105"/>
                    </a:cubicBezTo>
                    <a:lnTo>
                      <a:pt x="930" y="268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1" name="Freeform: Shape 329">
                <a:extLst>
                  <a:ext uri="{FF2B5EF4-FFF2-40B4-BE49-F238E27FC236}">
                    <a16:creationId xmlns:a16="http://schemas.microsoft.com/office/drawing/2014/main" id="{C3CEC323-293D-4A3B-A41B-A875E2A845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1591" y="1863982"/>
                <a:ext cx="119353" cy="241619"/>
              </a:xfrm>
              <a:custGeom>
                <a:avLst/>
                <a:gdLst>
                  <a:gd name="connsiteX0" fmla="*/ 59677 w 119353"/>
                  <a:gd name="connsiteY0" fmla="*/ 189981 h 241619"/>
                  <a:gd name="connsiteX1" fmla="*/ 48173 w 119353"/>
                  <a:gd name="connsiteY1" fmla="*/ 201630 h 241619"/>
                  <a:gd name="connsiteX2" fmla="*/ 59677 w 119353"/>
                  <a:gd name="connsiteY2" fmla="*/ 213279 h 241619"/>
                  <a:gd name="connsiteX3" fmla="*/ 71181 w 119353"/>
                  <a:gd name="connsiteY3" fmla="*/ 201630 h 241619"/>
                  <a:gd name="connsiteX4" fmla="*/ 59677 w 119353"/>
                  <a:gd name="connsiteY4" fmla="*/ 189981 h 241619"/>
                  <a:gd name="connsiteX5" fmla="*/ 16765 w 119353"/>
                  <a:gd name="connsiteY5" fmla="*/ 33625 h 241619"/>
                  <a:gd name="connsiteX6" fmla="*/ 5752 w 119353"/>
                  <a:gd name="connsiteY6" fmla="*/ 44487 h 241619"/>
                  <a:gd name="connsiteX7" fmla="*/ 16765 w 119353"/>
                  <a:gd name="connsiteY7" fmla="*/ 55482 h 241619"/>
                  <a:gd name="connsiteX8" fmla="*/ 102588 w 119353"/>
                  <a:gd name="connsiteY8" fmla="*/ 55482 h 241619"/>
                  <a:gd name="connsiteX9" fmla="*/ 113601 w 119353"/>
                  <a:gd name="connsiteY9" fmla="*/ 44487 h 241619"/>
                  <a:gd name="connsiteX10" fmla="*/ 102588 w 119353"/>
                  <a:gd name="connsiteY10" fmla="*/ 33625 h 241619"/>
                  <a:gd name="connsiteX11" fmla="*/ 16765 w 119353"/>
                  <a:gd name="connsiteY11" fmla="*/ 33625 h 241619"/>
                  <a:gd name="connsiteX12" fmla="*/ 13963 w 119353"/>
                  <a:gd name="connsiteY12" fmla="*/ 0 h 241619"/>
                  <a:gd name="connsiteX13" fmla="*/ 105391 w 119353"/>
                  <a:gd name="connsiteY13" fmla="*/ 0 h 241619"/>
                  <a:gd name="connsiteX14" fmla="*/ 119353 w 119353"/>
                  <a:gd name="connsiteY14" fmla="*/ 13968 h 241619"/>
                  <a:gd name="connsiteX15" fmla="*/ 119353 w 119353"/>
                  <a:gd name="connsiteY15" fmla="*/ 227517 h 241619"/>
                  <a:gd name="connsiteX16" fmla="*/ 105391 w 119353"/>
                  <a:gd name="connsiteY16" fmla="*/ 241619 h 241619"/>
                  <a:gd name="connsiteX17" fmla="*/ 13963 w 119353"/>
                  <a:gd name="connsiteY17" fmla="*/ 241619 h 241619"/>
                  <a:gd name="connsiteX18" fmla="*/ 0 w 119353"/>
                  <a:gd name="connsiteY18" fmla="*/ 227517 h 241619"/>
                  <a:gd name="connsiteX19" fmla="*/ 0 w 119353"/>
                  <a:gd name="connsiteY19" fmla="*/ 13968 h 241619"/>
                  <a:gd name="connsiteX20" fmla="*/ 13963 w 119353"/>
                  <a:gd name="connsiteY20" fmla="*/ 0 h 24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53" h="241619">
                    <a:moveTo>
                      <a:pt x="59677" y="189981"/>
                    </a:moveTo>
                    <a:cubicBezTo>
                      <a:pt x="53324" y="189981"/>
                      <a:pt x="48173" y="195196"/>
                      <a:pt x="48173" y="201630"/>
                    </a:cubicBezTo>
                    <a:cubicBezTo>
                      <a:pt x="48173" y="208064"/>
                      <a:pt x="53324" y="213279"/>
                      <a:pt x="59677" y="213279"/>
                    </a:cubicBezTo>
                    <a:cubicBezTo>
                      <a:pt x="66030" y="213279"/>
                      <a:pt x="71181" y="208064"/>
                      <a:pt x="71181" y="201630"/>
                    </a:cubicBezTo>
                    <a:cubicBezTo>
                      <a:pt x="71181" y="195196"/>
                      <a:pt x="66030" y="189981"/>
                      <a:pt x="59677" y="189981"/>
                    </a:cubicBezTo>
                    <a:close/>
                    <a:moveTo>
                      <a:pt x="16765" y="33625"/>
                    </a:moveTo>
                    <a:cubicBezTo>
                      <a:pt x="10722" y="33625"/>
                      <a:pt x="5752" y="38452"/>
                      <a:pt x="5752" y="44487"/>
                    </a:cubicBezTo>
                    <a:cubicBezTo>
                      <a:pt x="5752" y="50521"/>
                      <a:pt x="10722" y="55482"/>
                      <a:pt x="16765" y="55482"/>
                    </a:cubicBezTo>
                    <a:cubicBezTo>
                      <a:pt x="16765" y="55482"/>
                      <a:pt x="16765" y="55482"/>
                      <a:pt x="102588" y="55482"/>
                    </a:cubicBezTo>
                    <a:cubicBezTo>
                      <a:pt x="108632" y="55482"/>
                      <a:pt x="113601" y="50521"/>
                      <a:pt x="113601" y="44487"/>
                    </a:cubicBezTo>
                    <a:cubicBezTo>
                      <a:pt x="113601" y="38452"/>
                      <a:pt x="108632" y="33625"/>
                      <a:pt x="102588" y="33625"/>
                    </a:cubicBezTo>
                    <a:cubicBezTo>
                      <a:pt x="102588" y="33625"/>
                      <a:pt x="102588" y="33625"/>
                      <a:pt x="16765" y="33625"/>
                    </a:cubicBezTo>
                    <a:close/>
                    <a:moveTo>
                      <a:pt x="13963" y="0"/>
                    </a:moveTo>
                    <a:cubicBezTo>
                      <a:pt x="105391" y="0"/>
                      <a:pt x="105391" y="0"/>
                      <a:pt x="105391" y="0"/>
                    </a:cubicBezTo>
                    <a:cubicBezTo>
                      <a:pt x="113043" y="0"/>
                      <a:pt x="119353" y="6313"/>
                      <a:pt x="119353" y="13968"/>
                    </a:cubicBezTo>
                    <a:lnTo>
                      <a:pt x="119353" y="227517"/>
                    </a:lnTo>
                    <a:cubicBezTo>
                      <a:pt x="119353" y="235307"/>
                      <a:pt x="113043" y="241619"/>
                      <a:pt x="105391" y="241619"/>
                    </a:cubicBezTo>
                    <a:cubicBezTo>
                      <a:pt x="13963" y="241619"/>
                      <a:pt x="13963" y="241619"/>
                      <a:pt x="13963" y="241619"/>
                    </a:cubicBezTo>
                    <a:cubicBezTo>
                      <a:pt x="6310" y="241619"/>
                      <a:pt x="0" y="235307"/>
                      <a:pt x="0" y="227517"/>
                    </a:cubicBezTo>
                    <a:cubicBezTo>
                      <a:pt x="0" y="13968"/>
                      <a:pt x="0" y="13968"/>
                      <a:pt x="0" y="13968"/>
                    </a:cubicBezTo>
                    <a:cubicBezTo>
                      <a:pt x="0" y="6313"/>
                      <a:pt x="6310" y="0"/>
                      <a:pt x="13963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2" name="Freeform: Shape 327">
                <a:extLst>
                  <a:ext uri="{FF2B5EF4-FFF2-40B4-BE49-F238E27FC236}">
                    <a16:creationId xmlns:a16="http://schemas.microsoft.com/office/drawing/2014/main" id="{7F643D42-333E-4294-A796-365DA3A3B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2753" y="1855816"/>
                <a:ext cx="271780" cy="205833"/>
              </a:xfrm>
              <a:custGeom>
                <a:avLst/>
                <a:gdLst>
                  <a:gd name="connsiteX0" fmla="*/ 28434 w 271780"/>
                  <a:gd name="connsiteY0" fmla="*/ 13690 h 205833"/>
                  <a:gd name="connsiteX1" fmla="*/ 17975 w 271780"/>
                  <a:gd name="connsiteY1" fmla="*/ 24164 h 205833"/>
                  <a:gd name="connsiteX2" fmla="*/ 17975 w 271780"/>
                  <a:gd name="connsiteY2" fmla="*/ 181669 h 205833"/>
                  <a:gd name="connsiteX3" fmla="*/ 28434 w 271780"/>
                  <a:gd name="connsiteY3" fmla="*/ 192142 h 205833"/>
                  <a:gd name="connsiteX4" fmla="*/ 243106 w 271780"/>
                  <a:gd name="connsiteY4" fmla="*/ 192142 h 205833"/>
                  <a:gd name="connsiteX5" fmla="*/ 253565 w 271780"/>
                  <a:gd name="connsiteY5" fmla="*/ 181669 h 205833"/>
                  <a:gd name="connsiteX6" fmla="*/ 253565 w 271780"/>
                  <a:gd name="connsiteY6" fmla="*/ 24164 h 205833"/>
                  <a:gd name="connsiteX7" fmla="*/ 243106 w 271780"/>
                  <a:gd name="connsiteY7" fmla="*/ 13690 h 205833"/>
                  <a:gd name="connsiteX8" fmla="*/ 28434 w 271780"/>
                  <a:gd name="connsiteY8" fmla="*/ 13690 h 205833"/>
                  <a:gd name="connsiteX9" fmla="*/ 12067 w 271780"/>
                  <a:gd name="connsiteY9" fmla="*/ 0 h 205833"/>
                  <a:gd name="connsiteX10" fmla="*/ 259713 w 271780"/>
                  <a:gd name="connsiteY10" fmla="*/ 0 h 205833"/>
                  <a:gd name="connsiteX11" fmla="*/ 271780 w 271780"/>
                  <a:gd name="connsiteY11" fmla="*/ 12084 h 205833"/>
                  <a:gd name="connsiteX12" fmla="*/ 271780 w 271780"/>
                  <a:gd name="connsiteY12" fmla="*/ 193883 h 205833"/>
                  <a:gd name="connsiteX13" fmla="*/ 259713 w 271780"/>
                  <a:gd name="connsiteY13" fmla="*/ 205833 h 205833"/>
                  <a:gd name="connsiteX14" fmla="*/ 12067 w 271780"/>
                  <a:gd name="connsiteY14" fmla="*/ 205833 h 205833"/>
                  <a:gd name="connsiteX15" fmla="*/ 0 w 271780"/>
                  <a:gd name="connsiteY15" fmla="*/ 193883 h 205833"/>
                  <a:gd name="connsiteX16" fmla="*/ 0 w 271780"/>
                  <a:gd name="connsiteY16" fmla="*/ 12084 h 205833"/>
                  <a:gd name="connsiteX17" fmla="*/ 12067 w 271780"/>
                  <a:gd name="connsiteY17" fmla="*/ 0 h 20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1780" h="205833">
                    <a:moveTo>
                      <a:pt x="28434" y="13690"/>
                    </a:moveTo>
                    <a:cubicBezTo>
                      <a:pt x="22668" y="13690"/>
                      <a:pt x="17975" y="18390"/>
                      <a:pt x="17975" y="24164"/>
                    </a:cubicBezTo>
                    <a:cubicBezTo>
                      <a:pt x="17975" y="24164"/>
                      <a:pt x="17975" y="24164"/>
                      <a:pt x="17975" y="181669"/>
                    </a:cubicBezTo>
                    <a:cubicBezTo>
                      <a:pt x="17975" y="187442"/>
                      <a:pt x="22668" y="192142"/>
                      <a:pt x="28434" y="192142"/>
                    </a:cubicBezTo>
                    <a:cubicBezTo>
                      <a:pt x="28434" y="192142"/>
                      <a:pt x="28434" y="192142"/>
                      <a:pt x="243106" y="192142"/>
                    </a:cubicBezTo>
                    <a:cubicBezTo>
                      <a:pt x="248872" y="192142"/>
                      <a:pt x="253565" y="187442"/>
                      <a:pt x="253565" y="181669"/>
                    </a:cubicBezTo>
                    <a:lnTo>
                      <a:pt x="253565" y="24164"/>
                    </a:lnTo>
                    <a:cubicBezTo>
                      <a:pt x="253565" y="18390"/>
                      <a:pt x="248872" y="13690"/>
                      <a:pt x="243106" y="13690"/>
                    </a:cubicBezTo>
                    <a:cubicBezTo>
                      <a:pt x="243106" y="13690"/>
                      <a:pt x="243106" y="13690"/>
                      <a:pt x="28434" y="13690"/>
                    </a:cubicBezTo>
                    <a:close/>
                    <a:moveTo>
                      <a:pt x="12067" y="0"/>
                    </a:moveTo>
                    <a:cubicBezTo>
                      <a:pt x="259713" y="0"/>
                      <a:pt x="259713" y="0"/>
                      <a:pt x="259713" y="0"/>
                    </a:cubicBezTo>
                    <a:cubicBezTo>
                      <a:pt x="266283" y="0"/>
                      <a:pt x="271780" y="5371"/>
                      <a:pt x="271780" y="12084"/>
                    </a:cubicBezTo>
                    <a:lnTo>
                      <a:pt x="271780" y="193883"/>
                    </a:lnTo>
                    <a:cubicBezTo>
                      <a:pt x="271780" y="200462"/>
                      <a:pt x="266283" y="205833"/>
                      <a:pt x="259713" y="205833"/>
                    </a:cubicBezTo>
                    <a:cubicBezTo>
                      <a:pt x="12067" y="205833"/>
                      <a:pt x="12067" y="205833"/>
                      <a:pt x="12067" y="205833"/>
                    </a:cubicBezTo>
                    <a:cubicBezTo>
                      <a:pt x="5363" y="205833"/>
                      <a:pt x="0" y="200462"/>
                      <a:pt x="0" y="193883"/>
                    </a:cubicBezTo>
                    <a:cubicBezTo>
                      <a:pt x="0" y="12084"/>
                      <a:pt x="0" y="12084"/>
                      <a:pt x="0" y="12084"/>
                    </a:cubicBezTo>
                    <a:cubicBezTo>
                      <a:pt x="0" y="5371"/>
                      <a:pt x="5363" y="0"/>
                      <a:pt x="12067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3" name="Freeform 623">
                <a:extLst>
                  <a:ext uri="{FF2B5EF4-FFF2-40B4-BE49-F238E27FC236}">
                    <a16:creationId xmlns:a16="http://schemas.microsoft.com/office/drawing/2014/main" id="{B67927C1-17A0-497C-8E80-71273FE5C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134182"/>
                <a:ext cx="300060" cy="13930"/>
              </a:xfrm>
              <a:custGeom>
                <a:avLst/>
                <a:gdLst>
                  <a:gd name="T0" fmla="*/ 2238 w 2238"/>
                  <a:gd name="T1" fmla="*/ 59 h 103"/>
                  <a:gd name="T2" fmla="*/ 2149 w 2238"/>
                  <a:gd name="T3" fmla="*/ 103 h 103"/>
                  <a:gd name="T4" fmla="*/ 90 w 2238"/>
                  <a:gd name="T5" fmla="*/ 103 h 103"/>
                  <a:gd name="T6" fmla="*/ 0 w 2238"/>
                  <a:gd name="T7" fmla="*/ 59 h 103"/>
                  <a:gd name="T8" fmla="*/ 0 w 2238"/>
                  <a:gd name="T9" fmla="*/ 44 h 103"/>
                  <a:gd name="T10" fmla="*/ 90 w 2238"/>
                  <a:gd name="T11" fmla="*/ 0 h 103"/>
                  <a:gd name="T12" fmla="*/ 2149 w 2238"/>
                  <a:gd name="T13" fmla="*/ 0 h 103"/>
                  <a:gd name="T14" fmla="*/ 2238 w 2238"/>
                  <a:gd name="T15" fmla="*/ 44 h 103"/>
                  <a:gd name="T16" fmla="*/ 2238 w 2238"/>
                  <a:gd name="T17" fmla="*/ 5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8" h="103">
                    <a:moveTo>
                      <a:pt x="2238" y="59"/>
                    </a:moveTo>
                    <a:cubicBezTo>
                      <a:pt x="2238" y="83"/>
                      <a:pt x="2198" y="103"/>
                      <a:pt x="2149" y="103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41" y="103"/>
                      <a:pt x="0" y="83"/>
                      <a:pt x="0" y="5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41" y="0"/>
                      <a:pt x="90" y="0"/>
                    </a:cubicBezTo>
                    <a:cubicBezTo>
                      <a:pt x="2149" y="0"/>
                      <a:pt x="2149" y="0"/>
                      <a:pt x="2149" y="0"/>
                    </a:cubicBezTo>
                    <a:cubicBezTo>
                      <a:pt x="2198" y="0"/>
                      <a:pt x="2238" y="20"/>
                      <a:pt x="2238" y="44"/>
                    </a:cubicBezTo>
                    <a:lnTo>
                      <a:pt x="2238" y="5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4" name="Freeform: Shape 330">
                <a:extLst>
                  <a:ext uri="{FF2B5EF4-FFF2-40B4-BE49-F238E27FC236}">
                    <a16:creationId xmlns:a16="http://schemas.microsoft.com/office/drawing/2014/main" id="{F8F5FEE9-0B3A-433A-8143-8E8B2B3FEF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094460"/>
                <a:ext cx="300060" cy="57883"/>
              </a:xfrm>
              <a:custGeom>
                <a:avLst/>
                <a:gdLst>
                  <a:gd name="connsiteX0" fmla="*/ 39626 w 300060"/>
                  <a:gd name="connsiteY0" fmla="*/ 6725 h 57883"/>
                  <a:gd name="connsiteX1" fmla="*/ 28900 w 300060"/>
                  <a:gd name="connsiteY1" fmla="*/ 9276 h 57883"/>
                  <a:gd name="connsiteX2" fmla="*/ 16298 w 300060"/>
                  <a:gd name="connsiteY2" fmla="*/ 47406 h 57883"/>
                  <a:gd name="connsiteX3" fmla="*/ 27024 w 300060"/>
                  <a:gd name="connsiteY3" fmla="*/ 49957 h 57883"/>
                  <a:gd name="connsiteX4" fmla="*/ 273038 w 300060"/>
                  <a:gd name="connsiteY4" fmla="*/ 49957 h 57883"/>
                  <a:gd name="connsiteX5" fmla="*/ 283763 w 300060"/>
                  <a:gd name="connsiteY5" fmla="*/ 47406 h 57883"/>
                  <a:gd name="connsiteX6" fmla="*/ 271161 w 300060"/>
                  <a:gd name="connsiteY6" fmla="*/ 9276 h 57883"/>
                  <a:gd name="connsiteX7" fmla="*/ 260435 w 300060"/>
                  <a:gd name="connsiteY7" fmla="*/ 6725 h 57883"/>
                  <a:gd name="connsiteX8" fmla="*/ 39626 w 300060"/>
                  <a:gd name="connsiteY8" fmla="*/ 6725 h 57883"/>
                  <a:gd name="connsiteX9" fmla="*/ 26279 w 300060"/>
                  <a:gd name="connsiteY9" fmla="*/ 0 h 57883"/>
                  <a:gd name="connsiteX10" fmla="*/ 273916 w 300060"/>
                  <a:gd name="connsiteY10" fmla="*/ 0 h 57883"/>
                  <a:gd name="connsiteX11" fmla="*/ 285982 w 300060"/>
                  <a:gd name="connsiteY11" fmla="*/ 3365 h 57883"/>
                  <a:gd name="connsiteX12" fmla="*/ 300060 w 300060"/>
                  <a:gd name="connsiteY12" fmla="*/ 54518 h 57883"/>
                  <a:gd name="connsiteX13" fmla="*/ 288127 w 300060"/>
                  <a:gd name="connsiteY13" fmla="*/ 57883 h 57883"/>
                  <a:gd name="connsiteX14" fmla="*/ 12067 w 300060"/>
                  <a:gd name="connsiteY14" fmla="*/ 57883 h 57883"/>
                  <a:gd name="connsiteX15" fmla="*/ 0 w 300060"/>
                  <a:gd name="connsiteY15" fmla="*/ 54518 h 57883"/>
                  <a:gd name="connsiteX16" fmla="*/ 14212 w 300060"/>
                  <a:gd name="connsiteY16" fmla="*/ 3365 h 57883"/>
                  <a:gd name="connsiteX17" fmla="*/ 26279 w 300060"/>
                  <a:gd name="connsiteY17" fmla="*/ 0 h 57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060" h="57883">
                    <a:moveTo>
                      <a:pt x="39626" y="6725"/>
                    </a:moveTo>
                    <a:cubicBezTo>
                      <a:pt x="33727" y="6725"/>
                      <a:pt x="28900" y="7799"/>
                      <a:pt x="28900" y="9276"/>
                    </a:cubicBezTo>
                    <a:cubicBezTo>
                      <a:pt x="28900" y="9276"/>
                      <a:pt x="28900" y="9276"/>
                      <a:pt x="16298" y="47406"/>
                    </a:cubicBezTo>
                    <a:cubicBezTo>
                      <a:pt x="16298" y="48883"/>
                      <a:pt x="21125" y="49957"/>
                      <a:pt x="27024" y="49957"/>
                    </a:cubicBezTo>
                    <a:cubicBezTo>
                      <a:pt x="27024" y="49957"/>
                      <a:pt x="27024" y="49957"/>
                      <a:pt x="273038" y="49957"/>
                    </a:cubicBezTo>
                    <a:cubicBezTo>
                      <a:pt x="278937" y="49957"/>
                      <a:pt x="283763" y="48883"/>
                      <a:pt x="283763" y="47406"/>
                    </a:cubicBezTo>
                    <a:lnTo>
                      <a:pt x="271161" y="9276"/>
                    </a:lnTo>
                    <a:cubicBezTo>
                      <a:pt x="271161" y="7799"/>
                      <a:pt x="266334" y="6725"/>
                      <a:pt x="260435" y="6725"/>
                    </a:cubicBezTo>
                    <a:cubicBezTo>
                      <a:pt x="260435" y="6725"/>
                      <a:pt x="260435" y="6725"/>
                      <a:pt x="39626" y="6725"/>
                    </a:cubicBezTo>
                    <a:close/>
                    <a:moveTo>
                      <a:pt x="26279" y="0"/>
                    </a:moveTo>
                    <a:cubicBezTo>
                      <a:pt x="273916" y="0"/>
                      <a:pt x="273916" y="0"/>
                      <a:pt x="273916" y="0"/>
                    </a:cubicBezTo>
                    <a:cubicBezTo>
                      <a:pt x="280619" y="0"/>
                      <a:pt x="285982" y="1481"/>
                      <a:pt x="285982" y="3365"/>
                    </a:cubicBezTo>
                    <a:lnTo>
                      <a:pt x="300060" y="54518"/>
                    </a:lnTo>
                    <a:cubicBezTo>
                      <a:pt x="300060" y="56402"/>
                      <a:pt x="294697" y="57883"/>
                      <a:pt x="288127" y="57883"/>
                    </a:cubicBezTo>
                    <a:cubicBezTo>
                      <a:pt x="12067" y="57883"/>
                      <a:pt x="12067" y="57883"/>
                      <a:pt x="12067" y="57883"/>
                    </a:cubicBezTo>
                    <a:cubicBezTo>
                      <a:pt x="5497" y="57883"/>
                      <a:pt x="0" y="56402"/>
                      <a:pt x="0" y="54518"/>
                    </a:cubicBezTo>
                    <a:cubicBezTo>
                      <a:pt x="14212" y="3365"/>
                      <a:pt x="14212" y="3365"/>
                      <a:pt x="14212" y="3365"/>
                    </a:cubicBezTo>
                    <a:cubicBezTo>
                      <a:pt x="14212" y="1481"/>
                      <a:pt x="19575" y="0"/>
                      <a:pt x="2627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99F2DDE-F08B-4EB4-9B85-516A652FDCA6}"/>
                </a:ext>
              </a:extLst>
            </p:cNvPr>
            <p:cNvGrpSpPr/>
            <p:nvPr/>
          </p:nvGrpSpPr>
          <p:grpSpPr>
            <a:xfrm>
              <a:off x="2547419" y="2669797"/>
              <a:ext cx="200754" cy="251135"/>
              <a:chOff x="2502880" y="2960980"/>
              <a:chExt cx="187583" cy="234659"/>
            </a:xfrm>
            <a:solidFill>
              <a:schemeClr val="bg1">
                <a:lumMod val="95000"/>
                <a:alpha val="39000"/>
              </a:schemeClr>
            </a:solidFill>
          </p:grpSpPr>
          <p:grpSp>
            <p:nvGrpSpPr>
              <p:cNvPr id="306" name="Gruppieren 907">
                <a:extLst>
                  <a:ext uri="{FF2B5EF4-FFF2-40B4-BE49-F238E27FC236}">
                    <a16:creationId xmlns:a16="http://schemas.microsoft.com/office/drawing/2014/main" id="{E992A2EC-308D-490C-A435-7473C9D1A488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502880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329" name="Abgerundetes Rechteck 908">
                  <a:extLst>
                    <a:ext uri="{FF2B5EF4-FFF2-40B4-BE49-F238E27FC236}">
                      <a16:creationId xmlns:a16="http://schemas.microsoft.com/office/drawing/2014/main" id="{30BB4086-5A71-48FF-8ADE-34C52430DA98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330" name="Gruppieren 909">
                  <a:extLst>
                    <a:ext uri="{FF2B5EF4-FFF2-40B4-BE49-F238E27FC236}">
                      <a16:creationId xmlns:a16="http://schemas.microsoft.com/office/drawing/2014/main" id="{B2FD5241-7DF3-459E-A05B-A77433AF876A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348" name="Freeform 668">
                    <a:extLst>
                      <a:ext uri="{FF2B5EF4-FFF2-40B4-BE49-F238E27FC236}">
                        <a16:creationId xmlns:a16="http://schemas.microsoft.com/office/drawing/2014/main" id="{754190F0-F131-459F-BDF0-A0B4735CC6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9" name="Freeform 669">
                    <a:extLst>
                      <a:ext uri="{FF2B5EF4-FFF2-40B4-BE49-F238E27FC236}">
                        <a16:creationId xmlns:a16="http://schemas.microsoft.com/office/drawing/2014/main" id="{5D15F54F-B839-45FE-8664-5D55D39D7B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331" name="Gruppieren 910">
                  <a:extLst>
                    <a:ext uri="{FF2B5EF4-FFF2-40B4-BE49-F238E27FC236}">
                      <a16:creationId xmlns:a16="http://schemas.microsoft.com/office/drawing/2014/main" id="{0BF81806-FAB6-4BC8-A3A1-7B983AB59A96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332" name="Abgerundetes Rechteck 911">
                    <a:extLst>
                      <a:ext uri="{FF2B5EF4-FFF2-40B4-BE49-F238E27FC236}">
                        <a16:creationId xmlns:a16="http://schemas.microsoft.com/office/drawing/2014/main" id="{C38A7AE0-35FD-4746-89F7-C04CC6BB394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3" name="Rectangle 332">
                    <a:extLst>
                      <a:ext uri="{FF2B5EF4-FFF2-40B4-BE49-F238E27FC236}">
                        <a16:creationId xmlns:a16="http://schemas.microsoft.com/office/drawing/2014/main" id="{D2076FB3-D03A-4B07-BE6D-73FFCD35C9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4" name="Rectangle 333">
                    <a:extLst>
                      <a:ext uri="{FF2B5EF4-FFF2-40B4-BE49-F238E27FC236}">
                        <a16:creationId xmlns:a16="http://schemas.microsoft.com/office/drawing/2014/main" id="{0920DEBB-8A43-4EE9-A7E8-45185CA4E0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5" name="Rectangle 334">
                    <a:extLst>
                      <a:ext uri="{FF2B5EF4-FFF2-40B4-BE49-F238E27FC236}">
                        <a16:creationId xmlns:a16="http://schemas.microsoft.com/office/drawing/2014/main" id="{060F7C6C-D603-404E-A011-D790A1FFAB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6" name="Rectangle 335">
                    <a:extLst>
                      <a:ext uri="{FF2B5EF4-FFF2-40B4-BE49-F238E27FC236}">
                        <a16:creationId xmlns:a16="http://schemas.microsoft.com/office/drawing/2014/main" id="{5017EA70-D09B-42AF-8F05-1E6043B9BFB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7" name="Rectangle 336">
                    <a:extLst>
                      <a:ext uri="{FF2B5EF4-FFF2-40B4-BE49-F238E27FC236}">
                        <a16:creationId xmlns:a16="http://schemas.microsoft.com/office/drawing/2014/main" id="{ABB481F5-6482-49E1-9173-3D467D49C5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8" name="Rectangle 337">
                    <a:extLst>
                      <a:ext uri="{FF2B5EF4-FFF2-40B4-BE49-F238E27FC236}">
                        <a16:creationId xmlns:a16="http://schemas.microsoft.com/office/drawing/2014/main" id="{4EF5D306-4E5B-4FAC-BD1C-DA73E429139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9" name="Rectangle 338">
                    <a:extLst>
                      <a:ext uri="{FF2B5EF4-FFF2-40B4-BE49-F238E27FC236}">
                        <a16:creationId xmlns:a16="http://schemas.microsoft.com/office/drawing/2014/main" id="{60538834-60D1-4B3A-85E9-88A3200FAB0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0" name="Rectangle 339">
                    <a:extLst>
                      <a:ext uri="{FF2B5EF4-FFF2-40B4-BE49-F238E27FC236}">
                        <a16:creationId xmlns:a16="http://schemas.microsoft.com/office/drawing/2014/main" id="{1DF0BB94-CB46-49B3-BF4B-545EFBFB4F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1" name="Rectangle 340">
                    <a:extLst>
                      <a:ext uri="{FF2B5EF4-FFF2-40B4-BE49-F238E27FC236}">
                        <a16:creationId xmlns:a16="http://schemas.microsoft.com/office/drawing/2014/main" id="{201477A6-386D-4EF1-AEE7-D1B8F8EBB23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2" name="Rectangle 341">
                    <a:extLst>
                      <a:ext uri="{FF2B5EF4-FFF2-40B4-BE49-F238E27FC236}">
                        <a16:creationId xmlns:a16="http://schemas.microsoft.com/office/drawing/2014/main" id="{9BA77809-DEDD-446C-92AD-D6D4C8A951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3" name="Rectangle 342">
                    <a:extLst>
                      <a:ext uri="{FF2B5EF4-FFF2-40B4-BE49-F238E27FC236}">
                        <a16:creationId xmlns:a16="http://schemas.microsoft.com/office/drawing/2014/main" id="{E6522FF3-A37E-449E-A754-FCBD4441C84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4" name="Rectangle 343">
                    <a:extLst>
                      <a:ext uri="{FF2B5EF4-FFF2-40B4-BE49-F238E27FC236}">
                        <a16:creationId xmlns:a16="http://schemas.microsoft.com/office/drawing/2014/main" id="{2953E4DF-4511-44F6-B862-D4C97EA2FAF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5" name="Rectangle 344">
                    <a:extLst>
                      <a:ext uri="{FF2B5EF4-FFF2-40B4-BE49-F238E27FC236}">
                        <a16:creationId xmlns:a16="http://schemas.microsoft.com/office/drawing/2014/main" id="{F62AB3EC-5C94-4E03-8E28-189ED022211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6" name="Rectangle 345">
                    <a:extLst>
                      <a:ext uri="{FF2B5EF4-FFF2-40B4-BE49-F238E27FC236}">
                        <a16:creationId xmlns:a16="http://schemas.microsoft.com/office/drawing/2014/main" id="{8C75E997-0262-4932-A080-50144BBA948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7" name="Rectangle 346">
                    <a:extLst>
                      <a:ext uri="{FF2B5EF4-FFF2-40B4-BE49-F238E27FC236}">
                        <a16:creationId xmlns:a16="http://schemas.microsoft.com/office/drawing/2014/main" id="{3ECF79EF-7DF0-4D7C-88CA-094C0348F7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307" name="Gruppieren 907">
                <a:extLst>
                  <a:ext uri="{FF2B5EF4-FFF2-40B4-BE49-F238E27FC236}">
                    <a16:creationId xmlns:a16="http://schemas.microsoft.com/office/drawing/2014/main" id="{DE2A3E8E-F1A4-4588-8A15-313E0670F556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602006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308" name="Abgerundetes Rechteck 908">
                  <a:extLst>
                    <a:ext uri="{FF2B5EF4-FFF2-40B4-BE49-F238E27FC236}">
                      <a16:creationId xmlns:a16="http://schemas.microsoft.com/office/drawing/2014/main" id="{E269F92E-E908-4FE2-9E34-9800E67FE2C6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309" name="Gruppieren 909">
                  <a:extLst>
                    <a:ext uri="{FF2B5EF4-FFF2-40B4-BE49-F238E27FC236}">
                      <a16:creationId xmlns:a16="http://schemas.microsoft.com/office/drawing/2014/main" id="{1DEBCC30-2BDA-4BE0-9C34-9AF4B97961A7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327" name="Freeform 647">
                    <a:extLst>
                      <a:ext uri="{FF2B5EF4-FFF2-40B4-BE49-F238E27FC236}">
                        <a16:creationId xmlns:a16="http://schemas.microsoft.com/office/drawing/2014/main" id="{A1EB0A1E-9052-405B-AA16-DC7FEA23DE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8" name="Freeform 648">
                    <a:extLst>
                      <a:ext uri="{FF2B5EF4-FFF2-40B4-BE49-F238E27FC236}">
                        <a16:creationId xmlns:a16="http://schemas.microsoft.com/office/drawing/2014/main" id="{AEDB19FB-CA19-4B64-A2EE-52083D919D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310" name="Gruppieren 910">
                  <a:extLst>
                    <a:ext uri="{FF2B5EF4-FFF2-40B4-BE49-F238E27FC236}">
                      <a16:creationId xmlns:a16="http://schemas.microsoft.com/office/drawing/2014/main" id="{A6066DD2-4169-4D5D-82D1-65FEFBD30F93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311" name="Abgerundetes Rechteck 911">
                    <a:extLst>
                      <a:ext uri="{FF2B5EF4-FFF2-40B4-BE49-F238E27FC236}">
                        <a16:creationId xmlns:a16="http://schemas.microsoft.com/office/drawing/2014/main" id="{871D5881-E708-4052-B876-9B709BC2E4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2" name="Rectangle 311">
                    <a:extLst>
                      <a:ext uri="{FF2B5EF4-FFF2-40B4-BE49-F238E27FC236}">
                        <a16:creationId xmlns:a16="http://schemas.microsoft.com/office/drawing/2014/main" id="{1DE20C1E-06A5-4A19-B0D6-4370CCB1AE5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3" name="Rectangle 312">
                    <a:extLst>
                      <a:ext uri="{FF2B5EF4-FFF2-40B4-BE49-F238E27FC236}">
                        <a16:creationId xmlns:a16="http://schemas.microsoft.com/office/drawing/2014/main" id="{94CA5EAD-BDAD-41C8-A1B8-06957A4FDF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4" name="Rectangle 313">
                    <a:extLst>
                      <a:ext uri="{FF2B5EF4-FFF2-40B4-BE49-F238E27FC236}">
                        <a16:creationId xmlns:a16="http://schemas.microsoft.com/office/drawing/2014/main" id="{49BE8B7B-E76C-4BC7-818F-80CF905F4D5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5" name="Rectangle 314">
                    <a:extLst>
                      <a:ext uri="{FF2B5EF4-FFF2-40B4-BE49-F238E27FC236}">
                        <a16:creationId xmlns:a16="http://schemas.microsoft.com/office/drawing/2014/main" id="{84B4AC8A-9862-4AA5-981C-52A52CE942A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6" name="Rectangle 315">
                    <a:extLst>
                      <a:ext uri="{FF2B5EF4-FFF2-40B4-BE49-F238E27FC236}">
                        <a16:creationId xmlns:a16="http://schemas.microsoft.com/office/drawing/2014/main" id="{C68D6E5C-084C-4A43-9A03-CBE0B45243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7" name="Rectangle 316">
                    <a:extLst>
                      <a:ext uri="{FF2B5EF4-FFF2-40B4-BE49-F238E27FC236}">
                        <a16:creationId xmlns:a16="http://schemas.microsoft.com/office/drawing/2014/main" id="{50971EEF-3E57-44E4-B901-4F3CB0DC3C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8" name="Rectangle 317">
                    <a:extLst>
                      <a:ext uri="{FF2B5EF4-FFF2-40B4-BE49-F238E27FC236}">
                        <a16:creationId xmlns:a16="http://schemas.microsoft.com/office/drawing/2014/main" id="{464DA020-EA1B-40E9-A1B2-6BDFF412BCB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9" name="Rectangle 318">
                    <a:extLst>
                      <a:ext uri="{FF2B5EF4-FFF2-40B4-BE49-F238E27FC236}">
                        <a16:creationId xmlns:a16="http://schemas.microsoft.com/office/drawing/2014/main" id="{13B00F47-F943-448E-8B47-0A12CA472E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0" name="Rectangle 319">
                    <a:extLst>
                      <a:ext uri="{FF2B5EF4-FFF2-40B4-BE49-F238E27FC236}">
                        <a16:creationId xmlns:a16="http://schemas.microsoft.com/office/drawing/2014/main" id="{86E45F8C-5723-492A-98AD-70D07432C36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1" name="Rectangle 320">
                    <a:extLst>
                      <a:ext uri="{FF2B5EF4-FFF2-40B4-BE49-F238E27FC236}">
                        <a16:creationId xmlns:a16="http://schemas.microsoft.com/office/drawing/2014/main" id="{F3F6B270-5DEC-44E1-A46B-ABACBECFD0A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2" name="Rectangle 321">
                    <a:extLst>
                      <a:ext uri="{FF2B5EF4-FFF2-40B4-BE49-F238E27FC236}">
                        <a16:creationId xmlns:a16="http://schemas.microsoft.com/office/drawing/2014/main" id="{B188DA2F-AB75-4010-8E46-8A7D32C53D1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3" name="Rectangle 322">
                    <a:extLst>
                      <a:ext uri="{FF2B5EF4-FFF2-40B4-BE49-F238E27FC236}">
                        <a16:creationId xmlns:a16="http://schemas.microsoft.com/office/drawing/2014/main" id="{00AFBCBF-1C91-4478-BC83-C736B63392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4" name="Rectangle 323">
                    <a:extLst>
                      <a:ext uri="{FF2B5EF4-FFF2-40B4-BE49-F238E27FC236}">
                        <a16:creationId xmlns:a16="http://schemas.microsoft.com/office/drawing/2014/main" id="{AA72D2EA-C57F-4999-A87B-F35DD5EC5A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5" name="Rectangle 324">
                    <a:extLst>
                      <a:ext uri="{FF2B5EF4-FFF2-40B4-BE49-F238E27FC236}">
                        <a16:creationId xmlns:a16="http://schemas.microsoft.com/office/drawing/2014/main" id="{13263BFB-7B6B-4FF1-A9E3-3AD002B2145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6" name="Rectangle 325">
                    <a:extLst>
                      <a:ext uri="{FF2B5EF4-FFF2-40B4-BE49-F238E27FC236}">
                        <a16:creationId xmlns:a16="http://schemas.microsoft.com/office/drawing/2014/main" id="{E89F5BA9-A19C-4EEC-94B5-EC63347E207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86AADE-66A6-4E7C-AF09-3A863BA83F00}"/>
                </a:ext>
              </a:extLst>
            </p:cNvPr>
            <p:cNvSpPr/>
            <p:nvPr/>
          </p:nvSpPr>
          <p:spPr bwMode="gray">
            <a:xfrm>
              <a:off x="2455157" y="2471461"/>
              <a:ext cx="385276" cy="65422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sp>
          <p:nvSpPr>
            <p:cNvPr id="12" name="TextBox 179">
              <a:extLst>
                <a:ext uri="{FF2B5EF4-FFF2-40B4-BE49-F238E27FC236}">
                  <a16:creationId xmlns:a16="http://schemas.microsoft.com/office/drawing/2014/main" id="{ACBEA92A-3262-492F-9F9B-3CB34A403D6E}"/>
                </a:ext>
              </a:extLst>
            </p:cNvPr>
            <p:cNvSpPr txBox="1"/>
            <p:nvPr/>
          </p:nvSpPr>
          <p:spPr bwMode="gray">
            <a:xfrm>
              <a:off x="2433582" y="2302348"/>
              <a:ext cx="443847" cy="15710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kytree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A410961-94F8-4E29-B29C-A7E48CF17FB3}"/>
                </a:ext>
              </a:extLst>
            </p:cNvPr>
            <p:cNvSpPr/>
            <p:nvPr/>
          </p:nvSpPr>
          <p:spPr bwMode="gray">
            <a:xfrm>
              <a:off x="985889" y="3178101"/>
              <a:ext cx="3103089" cy="1298065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14" name="Gruppieren 907">
              <a:extLst>
                <a:ext uri="{FF2B5EF4-FFF2-40B4-BE49-F238E27FC236}">
                  <a16:creationId xmlns:a16="http://schemas.microsoft.com/office/drawing/2014/main" id="{A43E4F5B-F11C-4A94-BE41-F00D5C23AEE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403450" y="381163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85" name="Abgerundetes Rechteck 908">
                <a:extLst>
                  <a:ext uri="{FF2B5EF4-FFF2-40B4-BE49-F238E27FC236}">
                    <a16:creationId xmlns:a16="http://schemas.microsoft.com/office/drawing/2014/main" id="{43CFAD05-D64C-4411-82DA-0E72CEC37BB2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86" name="Gruppieren 909">
                <a:extLst>
                  <a:ext uri="{FF2B5EF4-FFF2-40B4-BE49-F238E27FC236}">
                    <a16:creationId xmlns:a16="http://schemas.microsoft.com/office/drawing/2014/main" id="{396F8AA0-BDF8-4DBA-84E9-223ED050BEEE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04" name="Freeform 693">
                  <a:extLst>
                    <a:ext uri="{FF2B5EF4-FFF2-40B4-BE49-F238E27FC236}">
                      <a16:creationId xmlns:a16="http://schemas.microsoft.com/office/drawing/2014/main" id="{1E68EA90-ED01-49F1-B286-51ED64BE4F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5" name="Freeform 694">
                  <a:extLst>
                    <a:ext uri="{FF2B5EF4-FFF2-40B4-BE49-F238E27FC236}">
                      <a16:creationId xmlns:a16="http://schemas.microsoft.com/office/drawing/2014/main" id="{95EF0684-1674-4E47-A758-F90BC33A49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87" name="Gruppieren 910">
                <a:extLst>
                  <a:ext uri="{FF2B5EF4-FFF2-40B4-BE49-F238E27FC236}">
                    <a16:creationId xmlns:a16="http://schemas.microsoft.com/office/drawing/2014/main" id="{5C6C42DA-9986-424D-BF29-5E09C4176482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88" name="Abgerundetes Rechteck 911">
                  <a:extLst>
                    <a:ext uri="{FF2B5EF4-FFF2-40B4-BE49-F238E27FC236}">
                      <a16:creationId xmlns:a16="http://schemas.microsoft.com/office/drawing/2014/main" id="{05E1CBDC-3049-4BC5-BD4D-CA08F694BCA4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9" name="Rectangle 288">
                  <a:extLst>
                    <a:ext uri="{FF2B5EF4-FFF2-40B4-BE49-F238E27FC236}">
                      <a16:creationId xmlns:a16="http://schemas.microsoft.com/office/drawing/2014/main" id="{557E4078-8DB1-4972-A8B0-2F894C2C90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0" name="Rectangle 289">
                  <a:extLst>
                    <a:ext uri="{FF2B5EF4-FFF2-40B4-BE49-F238E27FC236}">
                      <a16:creationId xmlns:a16="http://schemas.microsoft.com/office/drawing/2014/main" id="{3D729086-323D-4CE3-A1B5-1DCE157FEF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1" name="Rectangle 290">
                  <a:extLst>
                    <a:ext uri="{FF2B5EF4-FFF2-40B4-BE49-F238E27FC236}">
                      <a16:creationId xmlns:a16="http://schemas.microsoft.com/office/drawing/2014/main" id="{38B14DE8-9DCC-406E-9A98-46DAC40C2E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2" name="Rectangle 291">
                  <a:extLst>
                    <a:ext uri="{FF2B5EF4-FFF2-40B4-BE49-F238E27FC236}">
                      <a16:creationId xmlns:a16="http://schemas.microsoft.com/office/drawing/2014/main" id="{EC59D072-92B5-4288-BACC-E0EF07EC7B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3" name="Rectangle 292">
                  <a:extLst>
                    <a:ext uri="{FF2B5EF4-FFF2-40B4-BE49-F238E27FC236}">
                      <a16:creationId xmlns:a16="http://schemas.microsoft.com/office/drawing/2014/main" id="{16150DCD-C77A-44ED-B47A-84C95DEE9D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4" name="Rectangle 293">
                  <a:extLst>
                    <a:ext uri="{FF2B5EF4-FFF2-40B4-BE49-F238E27FC236}">
                      <a16:creationId xmlns:a16="http://schemas.microsoft.com/office/drawing/2014/main" id="{94912203-D7B9-4F0C-89AE-1D3D7C6EF1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5" name="Rectangle 294">
                  <a:extLst>
                    <a:ext uri="{FF2B5EF4-FFF2-40B4-BE49-F238E27FC236}">
                      <a16:creationId xmlns:a16="http://schemas.microsoft.com/office/drawing/2014/main" id="{FF374C5C-5478-408E-B263-110F988784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6" name="Rectangle 295">
                  <a:extLst>
                    <a:ext uri="{FF2B5EF4-FFF2-40B4-BE49-F238E27FC236}">
                      <a16:creationId xmlns:a16="http://schemas.microsoft.com/office/drawing/2014/main" id="{98F2FC4E-2217-43C3-A229-8924ADC335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7" name="Rectangle 296">
                  <a:extLst>
                    <a:ext uri="{FF2B5EF4-FFF2-40B4-BE49-F238E27FC236}">
                      <a16:creationId xmlns:a16="http://schemas.microsoft.com/office/drawing/2014/main" id="{62D20C78-834B-462F-BAA3-D1B4EB2F33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8" name="Rectangle 297">
                  <a:extLst>
                    <a:ext uri="{FF2B5EF4-FFF2-40B4-BE49-F238E27FC236}">
                      <a16:creationId xmlns:a16="http://schemas.microsoft.com/office/drawing/2014/main" id="{B92B56F3-1C77-4D4E-92A0-5BFC06A954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9" name="Rectangle 298">
                  <a:extLst>
                    <a:ext uri="{FF2B5EF4-FFF2-40B4-BE49-F238E27FC236}">
                      <a16:creationId xmlns:a16="http://schemas.microsoft.com/office/drawing/2014/main" id="{44B26386-077D-4C11-BB37-F24A1C56B0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0" name="Rectangle 299">
                  <a:extLst>
                    <a:ext uri="{FF2B5EF4-FFF2-40B4-BE49-F238E27FC236}">
                      <a16:creationId xmlns:a16="http://schemas.microsoft.com/office/drawing/2014/main" id="{A81A3E47-1D69-4A13-8A0A-93B5A93210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1" name="Rectangle 300">
                  <a:extLst>
                    <a:ext uri="{FF2B5EF4-FFF2-40B4-BE49-F238E27FC236}">
                      <a16:creationId xmlns:a16="http://schemas.microsoft.com/office/drawing/2014/main" id="{28ED6D5D-C070-4E3E-8CC2-2073BA55FF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2" name="Rectangle 301">
                  <a:extLst>
                    <a:ext uri="{FF2B5EF4-FFF2-40B4-BE49-F238E27FC236}">
                      <a16:creationId xmlns:a16="http://schemas.microsoft.com/office/drawing/2014/main" id="{DE549091-2C30-4AC5-93AE-261B87D68B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3" name="Rectangle 302">
                  <a:extLst>
                    <a:ext uri="{FF2B5EF4-FFF2-40B4-BE49-F238E27FC236}">
                      <a16:creationId xmlns:a16="http://schemas.microsoft.com/office/drawing/2014/main" id="{90930206-6FEC-4FD4-9C52-3455DD1F4C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5" name="Gruppieren 907">
              <a:extLst>
                <a:ext uri="{FF2B5EF4-FFF2-40B4-BE49-F238E27FC236}">
                  <a16:creationId xmlns:a16="http://schemas.microsoft.com/office/drawing/2014/main" id="{05478884-160C-419B-81A0-3951B4EA9D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427529" y="336150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64" name="Abgerundetes Rechteck 908">
                <a:extLst>
                  <a:ext uri="{FF2B5EF4-FFF2-40B4-BE49-F238E27FC236}">
                    <a16:creationId xmlns:a16="http://schemas.microsoft.com/office/drawing/2014/main" id="{F9126B0A-B3B2-4D06-8A77-E75714AB2827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65" name="Gruppieren 909">
                <a:extLst>
                  <a:ext uri="{FF2B5EF4-FFF2-40B4-BE49-F238E27FC236}">
                    <a16:creationId xmlns:a16="http://schemas.microsoft.com/office/drawing/2014/main" id="{8711DBEB-140F-41FD-B9EB-0DDD39C6C44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83" name="Freeform 715">
                  <a:extLst>
                    <a:ext uri="{FF2B5EF4-FFF2-40B4-BE49-F238E27FC236}">
                      <a16:creationId xmlns:a16="http://schemas.microsoft.com/office/drawing/2014/main" id="{D7F601B9-AE17-4090-AE52-21CE218E21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4" name="Freeform 716">
                  <a:extLst>
                    <a:ext uri="{FF2B5EF4-FFF2-40B4-BE49-F238E27FC236}">
                      <a16:creationId xmlns:a16="http://schemas.microsoft.com/office/drawing/2014/main" id="{3DD060F3-E1AB-4763-942B-632545D1D4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66" name="Gruppieren 910">
                <a:extLst>
                  <a:ext uri="{FF2B5EF4-FFF2-40B4-BE49-F238E27FC236}">
                    <a16:creationId xmlns:a16="http://schemas.microsoft.com/office/drawing/2014/main" id="{96B11A7B-A9B2-4331-90B5-4EE07782F65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67" name="Abgerundetes Rechteck 911">
                  <a:extLst>
                    <a:ext uri="{FF2B5EF4-FFF2-40B4-BE49-F238E27FC236}">
                      <a16:creationId xmlns:a16="http://schemas.microsoft.com/office/drawing/2014/main" id="{ED9D659D-99C0-46FC-BBFB-75EE1C568A1C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8" name="Rectangle 267">
                  <a:extLst>
                    <a:ext uri="{FF2B5EF4-FFF2-40B4-BE49-F238E27FC236}">
                      <a16:creationId xmlns:a16="http://schemas.microsoft.com/office/drawing/2014/main" id="{ABA3781D-17E5-4C24-9BE9-6C06816964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2EF73E0A-5B7A-4F48-8CEB-3B8B46CE99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0" name="Rectangle 269">
                  <a:extLst>
                    <a:ext uri="{FF2B5EF4-FFF2-40B4-BE49-F238E27FC236}">
                      <a16:creationId xmlns:a16="http://schemas.microsoft.com/office/drawing/2014/main" id="{9CE6E499-616A-4EC5-BCEB-68AB025D4C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1" name="Rectangle 270">
                  <a:extLst>
                    <a:ext uri="{FF2B5EF4-FFF2-40B4-BE49-F238E27FC236}">
                      <a16:creationId xmlns:a16="http://schemas.microsoft.com/office/drawing/2014/main" id="{E786E6B6-1D40-4DFB-829C-088C12E498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2" name="Rectangle 271">
                  <a:extLst>
                    <a:ext uri="{FF2B5EF4-FFF2-40B4-BE49-F238E27FC236}">
                      <a16:creationId xmlns:a16="http://schemas.microsoft.com/office/drawing/2014/main" id="{12FBE122-B3E3-4039-A083-0371C68E3B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DF4C2245-893F-4062-83D8-0FB4868707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D370D2E0-0995-45E6-ACFE-663E7FA544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5" name="Rectangle 274">
                  <a:extLst>
                    <a:ext uri="{FF2B5EF4-FFF2-40B4-BE49-F238E27FC236}">
                      <a16:creationId xmlns:a16="http://schemas.microsoft.com/office/drawing/2014/main" id="{97E03C37-BA0C-434E-962A-C5D4A783A9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6" name="Rectangle 275">
                  <a:extLst>
                    <a:ext uri="{FF2B5EF4-FFF2-40B4-BE49-F238E27FC236}">
                      <a16:creationId xmlns:a16="http://schemas.microsoft.com/office/drawing/2014/main" id="{AE8A3A23-6032-4E2D-930F-E7EED4E5C2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7" name="Rectangle 276">
                  <a:extLst>
                    <a:ext uri="{FF2B5EF4-FFF2-40B4-BE49-F238E27FC236}">
                      <a16:creationId xmlns:a16="http://schemas.microsoft.com/office/drawing/2014/main" id="{F7DED7F5-D7A5-49D2-9EDD-DB00F5284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7D288892-4204-4800-9A11-9E35EB1A3D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1AD0CEA2-3FB4-4B8D-B940-6A258A90C4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0" name="Rectangle 279">
                  <a:extLst>
                    <a:ext uri="{FF2B5EF4-FFF2-40B4-BE49-F238E27FC236}">
                      <a16:creationId xmlns:a16="http://schemas.microsoft.com/office/drawing/2014/main" id="{8C738806-211E-4614-A81B-EB259517A6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1" name="Rectangle 280">
                  <a:extLst>
                    <a:ext uri="{FF2B5EF4-FFF2-40B4-BE49-F238E27FC236}">
                      <a16:creationId xmlns:a16="http://schemas.microsoft.com/office/drawing/2014/main" id="{D51B184C-DD45-4C99-993C-2883366E3F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2" name="Rectangle 281">
                  <a:extLst>
                    <a:ext uri="{FF2B5EF4-FFF2-40B4-BE49-F238E27FC236}">
                      <a16:creationId xmlns:a16="http://schemas.microsoft.com/office/drawing/2014/main" id="{7EB65D72-60F4-4DB2-8E13-8A5885EC01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6" name="Gruppieren 907">
              <a:extLst>
                <a:ext uri="{FF2B5EF4-FFF2-40B4-BE49-F238E27FC236}">
                  <a16:creationId xmlns:a16="http://schemas.microsoft.com/office/drawing/2014/main" id="{6569C144-B3E9-4C9F-9F9F-B30EEFF1135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293437" y="3843096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43" name="Abgerundetes Rechteck 908">
                <a:extLst>
                  <a:ext uri="{FF2B5EF4-FFF2-40B4-BE49-F238E27FC236}">
                    <a16:creationId xmlns:a16="http://schemas.microsoft.com/office/drawing/2014/main" id="{C68A0773-46D8-4147-B68C-4F2015F27BEA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44" name="Gruppieren 909">
                <a:extLst>
                  <a:ext uri="{FF2B5EF4-FFF2-40B4-BE49-F238E27FC236}">
                    <a16:creationId xmlns:a16="http://schemas.microsoft.com/office/drawing/2014/main" id="{48428891-A6D6-42D4-A0A5-79C60B1AB2A6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62" name="Freeform 737">
                  <a:extLst>
                    <a:ext uri="{FF2B5EF4-FFF2-40B4-BE49-F238E27FC236}">
                      <a16:creationId xmlns:a16="http://schemas.microsoft.com/office/drawing/2014/main" id="{D646EE59-0CF4-4428-AD83-27822A451A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3" name="Freeform 738">
                  <a:extLst>
                    <a:ext uri="{FF2B5EF4-FFF2-40B4-BE49-F238E27FC236}">
                      <a16:creationId xmlns:a16="http://schemas.microsoft.com/office/drawing/2014/main" id="{90CCB0B9-F41F-4AD3-89EF-6C3F5B0B5D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45" name="Gruppieren 910">
                <a:extLst>
                  <a:ext uri="{FF2B5EF4-FFF2-40B4-BE49-F238E27FC236}">
                    <a16:creationId xmlns:a16="http://schemas.microsoft.com/office/drawing/2014/main" id="{E52E714F-5EE8-4FE8-BCB8-59DBD9CB26A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46" name="Abgerundetes Rechteck 911">
                  <a:extLst>
                    <a:ext uri="{FF2B5EF4-FFF2-40B4-BE49-F238E27FC236}">
                      <a16:creationId xmlns:a16="http://schemas.microsoft.com/office/drawing/2014/main" id="{7CEC4E5C-803A-4EC3-B54E-0575379E722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7" name="Rectangle 246">
                  <a:extLst>
                    <a:ext uri="{FF2B5EF4-FFF2-40B4-BE49-F238E27FC236}">
                      <a16:creationId xmlns:a16="http://schemas.microsoft.com/office/drawing/2014/main" id="{FCA3AF92-0444-4767-91CA-18F43B8553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8" name="Rectangle 247">
                  <a:extLst>
                    <a:ext uri="{FF2B5EF4-FFF2-40B4-BE49-F238E27FC236}">
                      <a16:creationId xmlns:a16="http://schemas.microsoft.com/office/drawing/2014/main" id="{172BFFE6-66C8-4E46-99EB-05AC59480E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9" name="Rectangle 248">
                  <a:extLst>
                    <a:ext uri="{FF2B5EF4-FFF2-40B4-BE49-F238E27FC236}">
                      <a16:creationId xmlns:a16="http://schemas.microsoft.com/office/drawing/2014/main" id="{F2B711D3-BA23-4330-A5A4-3E899C7A79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0" name="Rectangle 249">
                  <a:extLst>
                    <a:ext uri="{FF2B5EF4-FFF2-40B4-BE49-F238E27FC236}">
                      <a16:creationId xmlns:a16="http://schemas.microsoft.com/office/drawing/2014/main" id="{E7019F60-4BC4-4932-81A9-28A545A737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id="{60FD6F88-53C2-415C-A028-60D39A01D0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2" name="Rectangle 251">
                  <a:extLst>
                    <a:ext uri="{FF2B5EF4-FFF2-40B4-BE49-F238E27FC236}">
                      <a16:creationId xmlns:a16="http://schemas.microsoft.com/office/drawing/2014/main" id="{D96DDFD3-B76C-405B-B639-DE776CEAB8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3" name="Rectangle 252">
                  <a:extLst>
                    <a:ext uri="{FF2B5EF4-FFF2-40B4-BE49-F238E27FC236}">
                      <a16:creationId xmlns:a16="http://schemas.microsoft.com/office/drawing/2014/main" id="{D393D420-7AC0-4068-A675-E1E25C9AE2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4" name="Rectangle 253">
                  <a:extLst>
                    <a:ext uri="{FF2B5EF4-FFF2-40B4-BE49-F238E27FC236}">
                      <a16:creationId xmlns:a16="http://schemas.microsoft.com/office/drawing/2014/main" id="{429F3596-0D6A-4B57-B527-0E68FD8820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5" name="Rectangle 254">
                  <a:extLst>
                    <a:ext uri="{FF2B5EF4-FFF2-40B4-BE49-F238E27FC236}">
                      <a16:creationId xmlns:a16="http://schemas.microsoft.com/office/drawing/2014/main" id="{1A8AA60F-6018-4437-BA67-A8F5090C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6" name="Rectangle 255">
                  <a:extLst>
                    <a:ext uri="{FF2B5EF4-FFF2-40B4-BE49-F238E27FC236}">
                      <a16:creationId xmlns:a16="http://schemas.microsoft.com/office/drawing/2014/main" id="{0E804998-234F-4EA9-A675-8B71553715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7" name="Rectangle 256">
                  <a:extLst>
                    <a:ext uri="{FF2B5EF4-FFF2-40B4-BE49-F238E27FC236}">
                      <a16:creationId xmlns:a16="http://schemas.microsoft.com/office/drawing/2014/main" id="{1925DACD-8015-4607-96A7-8146567EA3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8" name="Rectangle 257">
                  <a:extLst>
                    <a:ext uri="{FF2B5EF4-FFF2-40B4-BE49-F238E27FC236}">
                      <a16:creationId xmlns:a16="http://schemas.microsoft.com/office/drawing/2014/main" id="{18DD1813-4DA0-473C-9754-74B8DDC91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9" name="Rectangle 258">
                  <a:extLst>
                    <a:ext uri="{FF2B5EF4-FFF2-40B4-BE49-F238E27FC236}">
                      <a16:creationId xmlns:a16="http://schemas.microsoft.com/office/drawing/2014/main" id="{F64183AB-7FCC-423A-ACA8-61B03405D4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0" name="Rectangle 259">
                  <a:extLst>
                    <a:ext uri="{FF2B5EF4-FFF2-40B4-BE49-F238E27FC236}">
                      <a16:creationId xmlns:a16="http://schemas.microsoft.com/office/drawing/2014/main" id="{88A23712-6AA9-4ECE-9175-EC1A6B1EE5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1" name="Rectangle 260">
                  <a:extLst>
                    <a:ext uri="{FF2B5EF4-FFF2-40B4-BE49-F238E27FC236}">
                      <a16:creationId xmlns:a16="http://schemas.microsoft.com/office/drawing/2014/main" id="{4A26AF7F-6750-4427-9349-3FD2994EC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95CDFC1-9706-43CB-9B2F-9F9EEAE2B5AF}"/>
                </a:ext>
              </a:extLst>
            </p:cNvPr>
            <p:cNvSpPr/>
            <p:nvPr/>
          </p:nvSpPr>
          <p:spPr bwMode="gray">
            <a:xfrm>
              <a:off x="985890" y="4541426"/>
              <a:ext cx="3103089" cy="65505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18" name="Gruppieren 907">
              <a:extLst>
                <a:ext uri="{FF2B5EF4-FFF2-40B4-BE49-F238E27FC236}">
                  <a16:creationId xmlns:a16="http://schemas.microsoft.com/office/drawing/2014/main" id="{D8D52534-E35E-4FE0-AF92-A6B5BD7011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765858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22" name="Abgerundetes Rechteck 908">
                <a:extLst>
                  <a:ext uri="{FF2B5EF4-FFF2-40B4-BE49-F238E27FC236}">
                    <a16:creationId xmlns:a16="http://schemas.microsoft.com/office/drawing/2014/main" id="{FAC35BDA-C607-49A5-B69B-C9222C102AB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23" name="Gruppieren 909">
                <a:extLst>
                  <a:ext uri="{FF2B5EF4-FFF2-40B4-BE49-F238E27FC236}">
                    <a16:creationId xmlns:a16="http://schemas.microsoft.com/office/drawing/2014/main" id="{2DA96181-499F-4ACF-8DDC-A65C694E5B1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41" name="Freeform 760">
                  <a:extLst>
                    <a:ext uri="{FF2B5EF4-FFF2-40B4-BE49-F238E27FC236}">
                      <a16:creationId xmlns:a16="http://schemas.microsoft.com/office/drawing/2014/main" id="{72E28AB9-8DA8-49F5-B9E4-B8A1518457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2" name="Freeform 761">
                  <a:extLst>
                    <a:ext uri="{FF2B5EF4-FFF2-40B4-BE49-F238E27FC236}">
                      <a16:creationId xmlns:a16="http://schemas.microsoft.com/office/drawing/2014/main" id="{A8981564-426B-4168-A565-A30FEFFCB65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24" name="Gruppieren 910">
                <a:extLst>
                  <a:ext uri="{FF2B5EF4-FFF2-40B4-BE49-F238E27FC236}">
                    <a16:creationId xmlns:a16="http://schemas.microsoft.com/office/drawing/2014/main" id="{15744602-D56D-45C2-8573-97F9FD267A4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25" name="Abgerundetes Rechteck 911">
                  <a:extLst>
                    <a:ext uri="{FF2B5EF4-FFF2-40B4-BE49-F238E27FC236}">
                      <a16:creationId xmlns:a16="http://schemas.microsoft.com/office/drawing/2014/main" id="{5F2ED505-D2DE-424F-8649-0023FE73476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28FBCB7D-9D6E-4E23-BA71-E1FA0D32A7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7" name="Rectangle 226">
                  <a:extLst>
                    <a:ext uri="{FF2B5EF4-FFF2-40B4-BE49-F238E27FC236}">
                      <a16:creationId xmlns:a16="http://schemas.microsoft.com/office/drawing/2014/main" id="{06E3655D-04E5-4443-A4AD-35ED96FF2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B97AF97E-ABA5-447B-9B2C-0E5EB489B4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9" name="Rectangle 228">
                  <a:extLst>
                    <a:ext uri="{FF2B5EF4-FFF2-40B4-BE49-F238E27FC236}">
                      <a16:creationId xmlns:a16="http://schemas.microsoft.com/office/drawing/2014/main" id="{8F410454-B477-4174-8C69-0D14AA4FA0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0826EA5A-19CE-4548-8F57-467B79DF2E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1" name="Rectangle 230">
                  <a:extLst>
                    <a:ext uri="{FF2B5EF4-FFF2-40B4-BE49-F238E27FC236}">
                      <a16:creationId xmlns:a16="http://schemas.microsoft.com/office/drawing/2014/main" id="{A82A7994-DE7A-4938-9E4D-EAE939DE09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2" name="Rectangle 231">
                  <a:extLst>
                    <a:ext uri="{FF2B5EF4-FFF2-40B4-BE49-F238E27FC236}">
                      <a16:creationId xmlns:a16="http://schemas.microsoft.com/office/drawing/2014/main" id="{0D29DC1E-923F-4918-97E4-951EE0EB60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3" name="Rectangle 232">
                  <a:extLst>
                    <a:ext uri="{FF2B5EF4-FFF2-40B4-BE49-F238E27FC236}">
                      <a16:creationId xmlns:a16="http://schemas.microsoft.com/office/drawing/2014/main" id="{BF86169B-FFE3-440E-AC59-8F598742FF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428F29FF-BBA3-4152-A490-4F6DAEADA9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B0512254-43D7-40D5-BF1F-38B6F71F86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6" name="Rectangle 235">
                  <a:extLst>
                    <a:ext uri="{FF2B5EF4-FFF2-40B4-BE49-F238E27FC236}">
                      <a16:creationId xmlns:a16="http://schemas.microsoft.com/office/drawing/2014/main" id="{D2DA3A35-270F-4CCE-BB80-686BD37331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7" name="Rectangle 236">
                  <a:extLst>
                    <a:ext uri="{FF2B5EF4-FFF2-40B4-BE49-F238E27FC236}">
                      <a16:creationId xmlns:a16="http://schemas.microsoft.com/office/drawing/2014/main" id="{977EC5F8-3770-422A-A7FB-F75BB2CC4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8" name="Rectangle 237">
                  <a:extLst>
                    <a:ext uri="{FF2B5EF4-FFF2-40B4-BE49-F238E27FC236}">
                      <a16:creationId xmlns:a16="http://schemas.microsoft.com/office/drawing/2014/main" id="{D8E87B50-532F-4236-8B11-65DFF11C6B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5F528908-CDF2-40C8-923E-C4B5E4EFF9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0" name="Rectangle 239">
                  <a:extLst>
                    <a:ext uri="{FF2B5EF4-FFF2-40B4-BE49-F238E27FC236}">
                      <a16:creationId xmlns:a16="http://schemas.microsoft.com/office/drawing/2014/main" id="{EB633BB9-0ED8-4E6E-AEEC-18E390D45A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9" name="Gruppieren 907">
              <a:extLst>
                <a:ext uri="{FF2B5EF4-FFF2-40B4-BE49-F238E27FC236}">
                  <a16:creationId xmlns:a16="http://schemas.microsoft.com/office/drawing/2014/main" id="{D4B3B856-3CB8-4EB4-A23F-750A185E3A2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448037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01" name="Abgerundetes Rechteck 908">
                <a:extLst>
                  <a:ext uri="{FF2B5EF4-FFF2-40B4-BE49-F238E27FC236}">
                    <a16:creationId xmlns:a16="http://schemas.microsoft.com/office/drawing/2014/main" id="{74F1F295-6451-4D8C-ACFE-3DED9CCA486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02" name="Gruppieren 909">
                <a:extLst>
                  <a:ext uri="{FF2B5EF4-FFF2-40B4-BE49-F238E27FC236}">
                    <a16:creationId xmlns:a16="http://schemas.microsoft.com/office/drawing/2014/main" id="{BB44A379-3C60-46E3-9BFC-BBE183F774F1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20" name="Freeform 782">
                  <a:extLst>
                    <a:ext uri="{FF2B5EF4-FFF2-40B4-BE49-F238E27FC236}">
                      <a16:creationId xmlns:a16="http://schemas.microsoft.com/office/drawing/2014/main" id="{F24AE501-4F6B-4EA9-9B90-13826A4777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1" name="Freeform 783">
                  <a:extLst>
                    <a:ext uri="{FF2B5EF4-FFF2-40B4-BE49-F238E27FC236}">
                      <a16:creationId xmlns:a16="http://schemas.microsoft.com/office/drawing/2014/main" id="{B3EC0043-5837-4154-8945-A51C07610C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03" name="Gruppieren 910">
                <a:extLst>
                  <a:ext uri="{FF2B5EF4-FFF2-40B4-BE49-F238E27FC236}">
                    <a16:creationId xmlns:a16="http://schemas.microsoft.com/office/drawing/2014/main" id="{983772AF-EB7B-4DC2-AB89-4AF89F60FEC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04" name="Abgerundetes Rechteck 911">
                  <a:extLst>
                    <a:ext uri="{FF2B5EF4-FFF2-40B4-BE49-F238E27FC236}">
                      <a16:creationId xmlns:a16="http://schemas.microsoft.com/office/drawing/2014/main" id="{EA58C5DE-9D67-46C0-A0ED-CC33080D8CC2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5" name="Rectangle 204">
                  <a:extLst>
                    <a:ext uri="{FF2B5EF4-FFF2-40B4-BE49-F238E27FC236}">
                      <a16:creationId xmlns:a16="http://schemas.microsoft.com/office/drawing/2014/main" id="{16D2EC95-E7B7-40DE-BD0D-2A069F4A05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6" name="Rectangle 205">
                  <a:extLst>
                    <a:ext uri="{FF2B5EF4-FFF2-40B4-BE49-F238E27FC236}">
                      <a16:creationId xmlns:a16="http://schemas.microsoft.com/office/drawing/2014/main" id="{CB69B33E-8D40-46ED-9AFB-160167962F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7" name="Rectangle 206">
                  <a:extLst>
                    <a:ext uri="{FF2B5EF4-FFF2-40B4-BE49-F238E27FC236}">
                      <a16:creationId xmlns:a16="http://schemas.microsoft.com/office/drawing/2014/main" id="{82EE5733-1DC7-47C0-8546-B1AF0F6966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8" name="Rectangle 207">
                  <a:extLst>
                    <a:ext uri="{FF2B5EF4-FFF2-40B4-BE49-F238E27FC236}">
                      <a16:creationId xmlns:a16="http://schemas.microsoft.com/office/drawing/2014/main" id="{B5243C77-12F9-45CA-9C93-C529A6D80E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9" name="Rectangle 208">
                  <a:extLst>
                    <a:ext uri="{FF2B5EF4-FFF2-40B4-BE49-F238E27FC236}">
                      <a16:creationId xmlns:a16="http://schemas.microsoft.com/office/drawing/2014/main" id="{48934C4C-E61B-4AEF-80D0-2EBEB660C2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B49DA630-0DEE-46CF-B1DF-CB96B63A7B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4913F365-19CA-463D-A4EE-DE2DD32383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5526D7FA-3065-4B0A-A4D7-CFA5336AF5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32DC1262-1F0A-44CA-9880-69F951C6F3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7BB28F55-9A41-43D6-812B-67F38B84B3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125F94E2-E113-468B-BA5B-C905723E04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5850A50-942F-4597-85DE-6ECA4CBFB5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129A7DC0-9E9B-4252-AD6D-B07331A3D2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0777627F-CEED-4F81-A922-3C84400E3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D93AD2DF-FAC8-4AEF-AA00-D69B9248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20" name="Gruppieren 907">
              <a:extLst>
                <a:ext uri="{FF2B5EF4-FFF2-40B4-BE49-F238E27FC236}">
                  <a16:creationId xmlns:a16="http://schemas.microsoft.com/office/drawing/2014/main" id="{7DC786ED-E2F8-49AF-9F23-4F3C5463B66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133914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180" name="Abgerundetes Rechteck 908">
                <a:extLst>
                  <a:ext uri="{FF2B5EF4-FFF2-40B4-BE49-F238E27FC236}">
                    <a16:creationId xmlns:a16="http://schemas.microsoft.com/office/drawing/2014/main" id="{F30DAFF8-DF24-4CC6-862D-56085870AF0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81" name="Gruppieren 909">
                <a:extLst>
                  <a:ext uri="{FF2B5EF4-FFF2-40B4-BE49-F238E27FC236}">
                    <a16:creationId xmlns:a16="http://schemas.microsoft.com/office/drawing/2014/main" id="{3080911A-A883-4C10-B9AF-597F85100F8D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99" name="Freeform 804">
                  <a:extLst>
                    <a:ext uri="{FF2B5EF4-FFF2-40B4-BE49-F238E27FC236}">
                      <a16:creationId xmlns:a16="http://schemas.microsoft.com/office/drawing/2014/main" id="{AE549482-B8E7-4B19-9EB3-2378AB20450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0" name="Freeform 805">
                  <a:extLst>
                    <a:ext uri="{FF2B5EF4-FFF2-40B4-BE49-F238E27FC236}">
                      <a16:creationId xmlns:a16="http://schemas.microsoft.com/office/drawing/2014/main" id="{EE6C0E54-09DC-4BC0-8B42-76D74C0294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82" name="Gruppieren 910">
                <a:extLst>
                  <a:ext uri="{FF2B5EF4-FFF2-40B4-BE49-F238E27FC236}">
                    <a16:creationId xmlns:a16="http://schemas.microsoft.com/office/drawing/2014/main" id="{31F27DCB-D97E-484F-9441-5D1C933F555E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83" name="Abgerundetes Rechteck 911">
                  <a:extLst>
                    <a:ext uri="{FF2B5EF4-FFF2-40B4-BE49-F238E27FC236}">
                      <a16:creationId xmlns:a16="http://schemas.microsoft.com/office/drawing/2014/main" id="{44D48579-F0DA-40F3-B9AB-6622EC8CCD8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4" name="Rectangle 183">
                  <a:extLst>
                    <a:ext uri="{FF2B5EF4-FFF2-40B4-BE49-F238E27FC236}">
                      <a16:creationId xmlns:a16="http://schemas.microsoft.com/office/drawing/2014/main" id="{59E1BAD7-4299-4334-BB8F-A3CECA212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5" name="Rectangle 184">
                  <a:extLst>
                    <a:ext uri="{FF2B5EF4-FFF2-40B4-BE49-F238E27FC236}">
                      <a16:creationId xmlns:a16="http://schemas.microsoft.com/office/drawing/2014/main" id="{6031C0F2-DD3A-4125-B5C1-E52C21FAC1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2F06DAF7-AD72-48CE-B4F7-C90FC2EE49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7" name="Rectangle 186">
                  <a:extLst>
                    <a:ext uri="{FF2B5EF4-FFF2-40B4-BE49-F238E27FC236}">
                      <a16:creationId xmlns:a16="http://schemas.microsoft.com/office/drawing/2014/main" id="{44F56B4B-9770-4944-A4D8-84BD83325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86E6A151-6C20-4EC1-9D51-32CB7C39F7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1D5FA383-0A20-4C75-A44B-4DF479C6A1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4B98C931-334F-40E2-8488-13A0373AEB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1" name="Rectangle 190">
                  <a:extLst>
                    <a:ext uri="{FF2B5EF4-FFF2-40B4-BE49-F238E27FC236}">
                      <a16:creationId xmlns:a16="http://schemas.microsoft.com/office/drawing/2014/main" id="{D0B15C4C-6397-439F-9139-417261F4ED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2" name="Rectangle 191">
                  <a:extLst>
                    <a:ext uri="{FF2B5EF4-FFF2-40B4-BE49-F238E27FC236}">
                      <a16:creationId xmlns:a16="http://schemas.microsoft.com/office/drawing/2014/main" id="{C5303842-D418-4B64-BF06-9F81A9C541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3" name="Rectangle 192">
                  <a:extLst>
                    <a:ext uri="{FF2B5EF4-FFF2-40B4-BE49-F238E27FC236}">
                      <a16:creationId xmlns:a16="http://schemas.microsoft.com/office/drawing/2014/main" id="{2C7836DE-FE2F-4D3F-A53B-6DEA44887D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1C2A58E6-426F-424E-BDA1-40F8F769A6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5" name="Rectangle 194">
                  <a:extLst>
                    <a:ext uri="{FF2B5EF4-FFF2-40B4-BE49-F238E27FC236}">
                      <a16:creationId xmlns:a16="http://schemas.microsoft.com/office/drawing/2014/main" id="{9F98AFE6-8F66-42F7-9D60-274C8A044E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6" name="Rectangle 195">
                  <a:extLst>
                    <a:ext uri="{FF2B5EF4-FFF2-40B4-BE49-F238E27FC236}">
                      <a16:creationId xmlns:a16="http://schemas.microsoft.com/office/drawing/2014/main" id="{1D64477E-57DA-499F-A3E9-40D2964E90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239903F7-4F39-4A1B-BC08-4D8D158683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0A4EFE9E-627C-44FA-9A35-7E3DA25996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419302A9-1EAB-44D0-9A8C-B8BA254A1FF4}"/>
                </a:ext>
              </a:extLst>
            </p:cNvPr>
            <p:cNvCxnSpPr/>
            <p:nvPr/>
          </p:nvCxnSpPr>
          <p:spPr bwMode="gray">
            <a:xfrm>
              <a:off x="1500722" y="2967086"/>
              <a:ext cx="791550" cy="36118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C5D31BB3-E7D4-49B3-AEA7-B234B176C68E}"/>
                </a:ext>
              </a:extLst>
            </p:cNvPr>
            <p:cNvCxnSpPr/>
            <p:nvPr/>
          </p:nvCxnSpPr>
          <p:spPr bwMode="gray">
            <a:xfrm>
              <a:off x="2127156" y="2978265"/>
              <a:ext cx="314796" cy="299614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C0A3CEBE-1BE0-470F-92DB-31D74BC42461}"/>
                </a:ext>
              </a:extLst>
            </p:cNvPr>
            <p:cNvCxnSpPr/>
            <p:nvPr/>
          </p:nvCxnSpPr>
          <p:spPr bwMode="gray">
            <a:xfrm flipH="1">
              <a:off x="2589236" y="3002297"/>
              <a:ext cx="52850" cy="28932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2B18F9A-52CA-4DBD-ADFF-862B4FECC0FC}"/>
                </a:ext>
              </a:extLst>
            </p:cNvPr>
            <p:cNvCxnSpPr/>
            <p:nvPr/>
          </p:nvCxnSpPr>
          <p:spPr bwMode="gray">
            <a:xfrm flipH="1">
              <a:off x="3660151" y="3032068"/>
              <a:ext cx="57380" cy="584651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E5D3A9AF-B414-41F3-98B9-3F23CF1707B9}"/>
                </a:ext>
              </a:extLst>
            </p:cNvPr>
            <p:cNvCxnSpPr/>
            <p:nvPr/>
          </p:nvCxnSpPr>
          <p:spPr bwMode="gray">
            <a:xfrm flipH="1">
              <a:off x="1632728" y="3548514"/>
              <a:ext cx="754386" cy="425864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33F943F0-AF0A-4E4A-B68C-C6D31D1ECCD4}"/>
                </a:ext>
              </a:extLst>
            </p:cNvPr>
            <p:cNvCxnSpPr/>
            <p:nvPr/>
          </p:nvCxnSpPr>
          <p:spPr bwMode="gray">
            <a:xfrm>
              <a:off x="2633484" y="3567840"/>
              <a:ext cx="577678" cy="37947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B2E3063-4C91-4F5A-AFC8-DF9C6DCB02FE}"/>
                </a:ext>
              </a:extLst>
            </p:cNvPr>
            <p:cNvCxnSpPr/>
            <p:nvPr/>
          </p:nvCxnSpPr>
          <p:spPr bwMode="gray">
            <a:xfrm>
              <a:off x="1653933" y="4051100"/>
              <a:ext cx="1506173" cy="2334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C72C8E0F-29A8-4DB5-A5DE-011EB8D3185E}"/>
                </a:ext>
              </a:extLst>
            </p:cNvPr>
            <p:cNvCxnSpPr/>
            <p:nvPr/>
          </p:nvCxnSpPr>
          <p:spPr bwMode="gray">
            <a:xfrm flipV="1">
              <a:off x="2633484" y="4187057"/>
              <a:ext cx="571950" cy="451576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5945F2F8-D599-4F60-A753-DAE1AB0C06C8}"/>
                </a:ext>
              </a:extLst>
            </p:cNvPr>
            <p:cNvCxnSpPr/>
            <p:nvPr/>
          </p:nvCxnSpPr>
          <p:spPr bwMode="gray">
            <a:xfrm flipV="1">
              <a:off x="3211162" y="4319402"/>
              <a:ext cx="102783" cy="268401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21C550AD-1E26-4E15-9D9D-DB64E5CDB215}"/>
                </a:ext>
              </a:extLst>
            </p:cNvPr>
            <p:cNvCxnSpPr/>
            <p:nvPr/>
          </p:nvCxnSpPr>
          <p:spPr bwMode="gray">
            <a:xfrm flipH="1" flipV="1">
              <a:off x="1517602" y="4314669"/>
              <a:ext cx="214330" cy="255928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179">
              <a:extLst>
                <a:ext uri="{FF2B5EF4-FFF2-40B4-BE49-F238E27FC236}">
                  <a16:creationId xmlns:a16="http://schemas.microsoft.com/office/drawing/2014/main" id="{99709D34-AD93-49B2-8356-C74C011A224C}"/>
                </a:ext>
              </a:extLst>
            </p:cNvPr>
            <p:cNvSpPr txBox="1"/>
            <p:nvPr/>
          </p:nvSpPr>
          <p:spPr bwMode="gray">
            <a:xfrm>
              <a:off x="2627787" y="4768789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AS</a:t>
              </a:r>
            </a:p>
          </p:txBody>
        </p:sp>
        <p:sp>
          <p:nvSpPr>
            <p:cNvPr id="35" name="TextBox 179">
              <a:extLst>
                <a:ext uri="{FF2B5EF4-FFF2-40B4-BE49-F238E27FC236}">
                  <a16:creationId xmlns:a16="http://schemas.microsoft.com/office/drawing/2014/main" id="{0CE05C00-EAF0-42F8-9758-BD26C1DE8593}"/>
                </a:ext>
              </a:extLst>
            </p:cNvPr>
            <p:cNvSpPr txBox="1"/>
            <p:nvPr/>
          </p:nvSpPr>
          <p:spPr bwMode="gray">
            <a:xfrm>
              <a:off x="3361993" y="4754551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Fileserver</a:t>
              </a:r>
            </a:p>
          </p:txBody>
        </p:sp>
        <p:sp>
          <p:nvSpPr>
            <p:cNvPr id="36" name="TextBox 179">
              <a:extLst>
                <a:ext uri="{FF2B5EF4-FFF2-40B4-BE49-F238E27FC236}">
                  <a16:creationId xmlns:a16="http://schemas.microsoft.com/office/drawing/2014/main" id="{DD6F869B-4C4E-490E-BCC7-3A2F961C4265}"/>
                </a:ext>
              </a:extLst>
            </p:cNvPr>
            <p:cNvSpPr txBox="1"/>
            <p:nvPr/>
          </p:nvSpPr>
          <p:spPr bwMode="gray">
            <a:xfrm>
              <a:off x="1202932" y="4762300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ARGUS</a:t>
              </a:r>
            </a:p>
          </p:txBody>
        </p:sp>
        <p:sp>
          <p:nvSpPr>
            <p:cNvPr id="37" name="TextBox 179">
              <a:extLst>
                <a:ext uri="{FF2B5EF4-FFF2-40B4-BE49-F238E27FC236}">
                  <a16:creationId xmlns:a16="http://schemas.microsoft.com/office/drawing/2014/main" id="{115917A3-F8B5-4C86-B38A-A646A98E9971}"/>
                </a:ext>
              </a:extLst>
            </p:cNvPr>
            <p:cNvSpPr txBox="1"/>
            <p:nvPr/>
          </p:nvSpPr>
          <p:spPr bwMode="gray">
            <a:xfrm>
              <a:off x="1099850" y="3505646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Applic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erver</a:t>
              </a:r>
            </a:p>
          </p:txBody>
        </p:sp>
        <p:sp>
          <p:nvSpPr>
            <p:cNvPr id="38" name="TextBox 179">
              <a:extLst>
                <a:ext uri="{FF2B5EF4-FFF2-40B4-BE49-F238E27FC236}">
                  <a16:creationId xmlns:a16="http://schemas.microsoft.com/office/drawing/2014/main" id="{9944332D-638D-4574-A2AD-76ABCAD5E4C6}"/>
                </a:ext>
              </a:extLst>
            </p:cNvPr>
            <p:cNvSpPr txBox="1"/>
            <p:nvPr/>
          </p:nvSpPr>
          <p:spPr bwMode="gray">
            <a:xfrm>
              <a:off x="3512461" y="3730867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DB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erv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</a:t>
              </a: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ith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 EPG</a:t>
              </a:r>
            </a:p>
          </p:txBody>
        </p:sp>
        <p:sp>
          <p:nvSpPr>
            <p:cNvPr id="39" name="TextBox 179">
              <a:extLst>
                <a:ext uri="{FF2B5EF4-FFF2-40B4-BE49-F238E27FC236}">
                  <a16:creationId xmlns:a16="http://schemas.microsoft.com/office/drawing/2014/main" id="{5CB61C07-8803-4F43-8D15-C878A5EC9B82}"/>
                </a:ext>
              </a:extLst>
            </p:cNvPr>
            <p:cNvSpPr txBox="1"/>
            <p:nvPr/>
          </p:nvSpPr>
          <p:spPr bwMode="gray">
            <a:xfrm>
              <a:off x="2633484" y="3410907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Web Server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7AB0EBD-FC68-47BC-BCDE-00708884834E}"/>
                </a:ext>
              </a:extLst>
            </p:cNvPr>
            <p:cNvGrpSpPr/>
            <p:nvPr/>
          </p:nvGrpSpPr>
          <p:grpSpPr>
            <a:xfrm>
              <a:off x="3026010" y="2673036"/>
              <a:ext cx="200754" cy="251135"/>
              <a:chOff x="2502880" y="2960980"/>
              <a:chExt cx="187583" cy="234659"/>
            </a:xfrm>
            <a:solidFill>
              <a:schemeClr val="bg1">
                <a:lumMod val="95000"/>
                <a:alpha val="39000"/>
              </a:schemeClr>
            </a:solidFill>
          </p:grpSpPr>
          <p:grpSp>
            <p:nvGrpSpPr>
              <p:cNvPr id="92" name="Gruppieren 907">
                <a:extLst>
                  <a:ext uri="{FF2B5EF4-FFF2-40B4-BE49-F238E27FC236}">
                    <a16:creationId xmlns:a16="http://schemas.microsoft.com/office/drawing/2014/main" id="{BEEC7DCF-0E88-4223-BF12-1ABE955E3A14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502880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115" name="Abgerundetes Rechteck 908">
                  <a:extLst>
                    <a:ext uri="{FF2B5EF4-FFF2-40B4-BE49-F238E27FC236}">
                      <a16:creationId xmlns:a16="http://schemas.microsoft.com/office/drawing/2014/main" id="{56871B60-2A80-41C9-8B67-01D261B9B30D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16" name="Gruppieren 909">
                  <a:extLst>
                    <a:ext uri="{FF2B5EF4-FFF2-40B4-BE49-F238E27FC236}">
                      <a16:creationId xmlns:a16="http://schemas.microsoft.com/office/drawing/2014/main" id="{0AE7E91D-DE19-4D35-A0F1-F5A2113FBEE8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134" name="Freeform 912">
                    <a:extLst>
                      <a:ext uri="{FF2B5EF4-FFF2-40B4-BE49-F238E27FC236}">
                        <a16:creationId xmlns:a16="http://schemas.microsoft.com/office/drawing/2014/main" id="{7B662F96-F3A9-4841-AC68-D6C38224E6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5" name="Freeform 913">
                    <a:extLst>
                      <a:ext uri="{FF2B5EF4-FFF2-40B4-BE49-F238E27FC236}">
                        <a16:creationId xmlns:a16="http://schemas.microsoft.com/office/drawing/2014/main" id="{B02273CB-4277-4761-BE60-2ED3EE1842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17" name="Gruppieren 910">
                  <a:extLst>
                    <a:ext uri="{FF2B5EF4-FFF2-40B4-BE49-F238E27FC236}">
                      <a16:creationId xmlns:a16="http://schemas.microsoft.com/office/drawing/2014/main" id="{6E715F7C-0177-4EC0-8494-01F0803A9568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118" name="Abgerundetes Rechteck 911">
                    <a:extLst>
                      <a:ext uri="{FF2B5EF4-FFF2-40B4-BE49-F238E27FC236}">
                        <a16:creationId xmlns:a16="http://schemas.microsoft.com/office/drawing/2014/main" id="{34590D70-EE6A-42D8-AAAB-4193A44588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9" name="Rectangle 118">
                    <a:extLst>
                      <a:ext uri="{FF2B5EF4-FFF2-40B4-BE49-F238E27FC236}">
                        <a16:creationId xmlns:a16="http://schemas.microsoft.com/office/drawing/2014/main" id="{AE50CA02-5A99-4E1B-BB1C-3D1EF053A91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0" name="Rectangle 119">
                    <a:extLst>
                      <a:ext uri="{FF2B5EF4-FFF2-40B4-BE49-F238E27FC236}">
                        <a16:creationId xmlns:a16="http://schemas.microsoft.com/office/drawing/2014/main" id="{E701A9EA-3A66-4579-A872-ECB6E9D9AF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1" name="Rectangle 120">
                    <a:extLst>
                      <a:ext uri="{FF2B5EF4-FFF2-40B4-BE49-F238E27FC236}">
                        <a16:creationId xmlns:a16="http://schemas.microsoft.com/office/drawing/2014/main" id="{67B90788-9928-4F7A-A306-974BE002002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id="{BF8F54D9-49A4-4FC9-8510-026902A743E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3" name="Rectangle 122">
                    <a:extLst>
                      <a:ext uri="{FF2B5EF4-FFF2-40B4-BE49-F238E27FC236}">
                        <a16:creationId xmlns:a16="http://schemas.microsoft.com/office/drawing/2014/main" id="{AB70A77D-2024-4B32-97A6-9998E125B4F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id="{08DD050C-04DE-4749-BA59-703A1F61663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5" name="Rectangle 124">
                    <a:extLst>
                      <a:ext uri="{FF2B5EF4-FFF2-40B4-BE49-F238E27FC236}">
                        <a16:creationId xmlns:a16="http://schemas.microsoft.com/office/drawing/2014/main" id="{396F87BC-91BF-42AD-BD30-71DCE5553C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id="{F9CCE71D-90A0-4129-8E23-0D9ACE368A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7" name="Rectangle 126">
                    <a:extLst>
                      <a:ext uri="{FF2B5EF4-FFF2-40B4-BE49-F238E27FC236}">
                        <a16:creationId xmlns:a16="http://schemas.microsoft.com/office/drawing/2014/main" id="{E45BB45A-A965-4461-8BF3-2427E34DFA4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id="{91AAE5F0-BA9F-4259-B39C-F6C0F4227E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9" name="Rectangle 128">
                    <a:extLst>
                      <a:ext uri="{FF2B5EF4-FFF2-40B4-BE49-F238E27FC236}">
                        <a16:creationId xmlns:a16="http://schemas.microsoft.com/office/drawing/2014/main" id="{BDCAC196-1B90-4FBC-9BE6-AA57A5580A1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0" name="Rectangle 129">
                    <a:extLst>
                      <a:ext uri="{FF2B5EF4-FFF2-40B4-BE49-F238E27FC236}">
                        <a16:creationId xmlns:a16="http://schemas.microsoft.com/office/drawing/2014/main" id="{94598471-BAD7-407A-BAE4-05401CA9448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1" name="Rectangle 130">
                    <a:extLst>
                      <a:ext uri="{FF2B5EF4-FFF2-40B4-BE49-F238E27FC236}">
                        <a16:creationId xmlns:a16="http://schemas.microsoft.com/office/drawing/2014/main" id="{93A6457C-D2C6-44FE-AB37-DFAEF94439F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2" name="Rectangle 131">
                    <a:extLst>
                      <a:ext uri="{FF2B5EF4-FFF2-40B4-BE49-F238E27FC236}">
                        <a16:creationId xmlns:a16="http://schemas.microsoft.com/office/drawing/2014/main" id="{F1690D64-BEA6-4AA8-AC05-86AB89CF0F1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3" name="Rectangle 132">
                    <a:extLst>
                      <a:ext uri="{FF2B5EF4-FFF2-40B4-BE49-F238E27FC236}">
                        <a16:creationId xmlns:a16="http://schemas.microsoft.com/office/drawing/2014/main" id="{1C482038-49F4-44F5-BCFB-C66567EEA2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93" name="Gruppieren 907">
                <a:extLst>
                  <a:ext uri="{FF2B5EF4-FFF2-40B4-BE49-F238E27FC236}">
                    <a16:creationId xmlns:a16="http://schemas.microsoft.com/office/drawing/2014/main" id="{2D742563-2A07-40D7-B998-DB702B3FD5B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602006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94" name="Abgerundetes Rechteck 908">
                  <a:extLst>
                    <a:ext uri="{FF2B5EF4-FFF2-40B4-BE49-F238E27FC236}">
                      <a16:creationId xmlns:a16="http://schemas.microsoft.com/office/drawing/2014/main" id="{7749BD14-692C-4FE1-B204-CB26CDA66E41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95" name="Gruppieren 909">
                  <a:extLst>
                    <a:ext uri="{FF2B5EF4-FFF2-40B4-BE49-F238E27FC236}">
                      <a16:creationId xmlns:a16="http://schemas.microsoft.com/office/drawing/2014/main" id="{795CA00F-DF54-4021-94BD-5EF86EBC881F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113" name="Freeform 891">
                    <a:extLst>
                      <a:ext uri="{FF2B5EF4-FFF2-40B4-BE49-F238E27FC236}">
                        <a16:creationId xmlns:a16="http://schemas.microsoft.com/office/drawing/2014/main" id="{BD43A453-5378-4988-8F05-90EABC4F3C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4" name="Freeform 892">
                    <a:extLst>
                      <a:ext uri="{FF2B5EF4-FFF2-40B4-BE49-F238E27FC236}">
                        <a16:creationId xmlns:a16="http://schemas.microsoft.com/office/drawing/2014/main" id="{C7A2776F-2C87-447B-9101-7DFAEC9F4B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96" name="Gruppieren 910">
                  <a:extLst>
                    <a:ext uri="{FF2B5EF4-FFF2-40B4-BE49-F238E27FC236}">
                      <a16:creationId xmlns:a16="http://schemas.microsoft.com/office/drawing/2014/main" id="{F24AC082-7E46-44FA-88C0-97C074CE6381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97" name="Abgerundetes Rechteck 911">
                    <a:extLst>
                      <a:ext uri="{FF2B5EF4-FFF2-40B4-BE49-F238E27FC236}">
                        <a16:creationId xmlns:a16="http://schemas.microsoft.com/office/drawing/2014/main" id="{85535ED3-61EB-4C87-97D3-7CEF93E2FC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98" name="Rectangle 97">
                    <a:extLst>
                      <a:ext uri="{FF2B5EF4-FFF2-40B4-BE49-F238E27FC236}">
                        <a16:creationId xmlns:a16="http://schemas.microsoft.com/office/drawing/2014/main" id="{2173BCE3-4FDC-4C33-B45C-071DB5FEE1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99" name="Rectangle 98">
                    <a:extLst>
                      <a:ext uri="{FF2B5EF4-FFF2-40B4-BE49-F238E27FC236}">
                        <a16:creationId xmlns:a16="http://schemas.microsoft.com/office/drawing/2014/main" id="{95D6B551-F10C-4DFB-A9BA-788DBB43E96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0" name="Rectangle 99">
                    <a:extLst>
                      <a:ext uri="{FF2B5EF4-FFF2-40B4-BE49-F238E27FC236}">
                        <a16:creationId xmlns:a16="http://schemas.microsoft.com/office/drawing/2014/main" id="{C1BE7907-2A32-4B97-AF59-4EB802FE7F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1" name="Rectangle 100">
                    <a:extLst>
                      <a:ext uri="{FF2B5EF4-FFF2-40B4-BE49-F238E27FC236}">
                        <a16:creationId xmlns:a16="http://schemas.microsoft.com/office/drawing/2014/main" id="{BC4FCD9D-FD6A-45EE-9090-AA7A077D0EC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2" name="Rectangle 101">
                    <a:extLst>
                      <a:ext uri="{FF2B5EF4-FFF2-40B4-BE49-F238E27FC236}">
                        <a16:creationId xmlns:a16="http://schemas.microsoft.com/office/drawing/2014/main" id="{F9FC242C-065A-4CEB-A859-EF8264F26E0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3" name="Rectangle 102">
                    <a:extLst>
                      <a:ext uri="{FF2B5EF4-FFF2-40B4-BE49-F238E27FC236}">
                        <a16:creationId xmlns:a16="http://schemas.microsoft.com/office/drawing/2014/main" id="{B46D82EA-C4FA-409B-BFC0-69D8A6A2EB2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id="{3EFCB747-B7D8-4363-BB3D-035A1C15440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5" name="Rectangle 104">
                    <a:extLst>
                      <a:ext uri="{FF2B5EF4-FFF2-40B4-BE49-F238E27FC236}">
                        <a16:creationId xmlns:a16="http://schemas.microsoft.com/office/drawing/2014/main" id="{F4067F62-F1A0-46D2-8722-AD920E2E727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id="{49C0F0E4-1627-40D9-BA04-6D90EAFC0A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7" name="Rectangle 106">
                    <a:extLst>
                      <a:ext uri="{FF2B5EF4-FFF2-40B4-BE49-F238E27FC236}">
                        <a16:creationId xmlns:a16="http://schemas.microsoft.com/office/drawing/2014/main" id="{9BC955B6-B573-4B8D-86DF-8412CD9261D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8" name="Rectangle 107">
                    <a:extLst>
                      <a:ext uri="{FF2B5EF4-FFF2-40B4-BE49-F238E27FC236}">
                        <a16:creationId xmlns:a16="http://schemas.microsoft.com/office/drawing/2014/main" id="{A72213D2-7304-4A88-B388-E328CAD1BE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9" name="Rectangle 108">
                    <a:extLst>
                      <a:ext uri="{FF2B5EF4-FFF2-40B4-BE49-F238E27FC236}">
                        <a16:creationId xmlns:a16="http://schemas.microsoft.com/office/drawing/2014/main" id="{F7EFA03C-E2C7-4D0B-B2D7-B884F953D26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0" name="Rectangle 109">
                    <a:extLst>
                      <a:ext uri="{FF2B5EF4-FFF2-40B4-BE49-F238E27FC236}">
                        <a16:creationId xmlns:a16="http://schemas.microsoft.com/office/drawing/2014/main" id="{BF7336ED-3150-4706-82B8-59F3DCC4F8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1" name="Rectangle 110">
                    <a:extLst>
                      <a:ext uri="{FF2B5EF4-FFF2-40B4-BE49-F238E27FC236}">
                        <a16:creationId xmlns:a16="http://schemas.microsoft.com/office/drawing/2014/main" id="{21B023D4-7440-4A5C-B083-B7A0C5393CB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2" name="Rectangle 111">
                    <a:extLst>
                      <a:ext uri="{FF2B5EF4-FFF2-40B4-BE49-F238E27FC236}">
                        <a16:creationId xmlns:a16="http://schemas.microsoft.com/office/drawing/2014/main" id="{894B1B8B-BA23-4CCB-85DD-2AABEDBADC4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D95D1C6-20B9-4408-8B83-103C8C7CF7D4}"/>
                </a:ext>
              </a:extLst>
            </p:cNvPr>
            <p:cNvSpPr/>
            <p:nvPr/>
          </p:nvSpPr>
          <p:spPr bwMode="gray">
            <a:xfrm>
              <a:off x="2933748" y="2474700"/>
              <a:ext cx="385276" cy="654229"/>
            </a:xfrm>
            <a:prstGeom prst="rect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sp>
          <p:nvSpPr>
            <p:cNvPr id="42" name="TextBox 179">
              <a:extLst>
                <a:ext uri="{FF2B5EF4-FFF2-40B4-BE49-F238E27FC236}">
                  <a16:creationId xmlns:a16="http://schemas.microsoft.com/office/drawing/2014/main" id="{B5D8FFB3-E6A3-42FB-A328-4EF1E0D455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926415" y="2299604"/>
              <a:ext cx="443847" cy="15710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hoDD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1AC0A2C5-4B94-40F9-88E2-D3C10215517A}"/>
                </a:ext>
              </a:extLst>
            </p:cNvPr>
            <p:cNvCxnSpPr/>
            <p:nvPr/>
          </p:nvCxnSpPr>
          <p:spPr bwMode="gray">
            <a:xfrm>
              <a:off x="3200573" y="3024800"/>
              <a:ext cx="334742" cy="59592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0B4C474-5E86-4BB7-8B56-55F06BD89B63}"/>
                </a:ext>
              </a:extLst>
            </p:cNvPr>
            <p:cNvSpPr/>
            <p:nvPr/>
          </p:nvSpPr>
          <p:spPr bwMode="gray">
            <a:xfrm>
              <a:off x="3412339" y="2473748"/>
              <a:ext cx="671242" cy="6519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7C52FC8-F5D0-44A7-BB42-9F77AD4FF51D}"/>
                </a:ext>
              </a:extLst>
            </p:cNvPr>
            <p:cNvGrpSpPr/>
            <p:nvPr/>
          </p:nvGrpSpPr>
          <p:grpSpPr>
            <a:xfrm>
              <a:off x="3647584" y="2680273"/>
              <a:ext cx="200752" cy="251135"/>
              <a:chOff x="3448947" y="2970769"/>
              <a:chExt cx="187582" cy="234659"/>
            </a:xfrm>
          </p:grpSpPr>
          <p:grpSp>
            <p:nvGrpSpPr>
              <p:cNvPr id="136" name="Gruppieren 907">
                <a:extLst>
                  <a:ext uri="{FF2B5EF4-FFF2-40B4-BE49-F238E27FC236}">
                    <a16:creationId xmlns:a16="http://schemas.microsoft.com/office/drawing/2014/main" id="{DBBF5FA3-0BA7-4A14-AC11-9AF8E8BD39D9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448947" y="2970769"/>
                <a:ext cx="88457" cy="234659"/>
                <a:chOff x="9147423" y="1790700"/>
                <a:chExt cx="725488" cy="1924580"/>
              </a:xfrm>
            </p:grpSpPr>
            <p:sp>
              <p:nvSpPr>
                <p:cNvPr id="159" name="Abgerundetes Rechteck 908">
                  <a:extLst>
                    <a:ext uri="{FF2B5EF4-FFF2-40B4-BE49-F238E27FC236}">
                      <a16:creationId xmlns:a16="http://schemas.microsoft.com/office/drawing/2014/main" id="{14BB09BA-EAA6-4C72-B221-0950FC4FB6DE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solidFill>
                  <a:srgbClr val="C6C6C6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60" name="Gruppieren 909">
                  <a:extLst>
                    <a:ext uri="{FF2B5EF4-FFF2-40B4-BE49-F238E27FC236}">
                      <a16:creationId xmlns:a16="http://schemas.microsoft.com/office/drawing/2014/main" id="{80AB31F1-2021-4181-BA74-399E2BFBDF8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</p:grpSpPr>
              <p:sp>
                <p:nvSpPr>
                  <p:cNvPr id="178" name="Freeform 849">
                    <a:extLst>
                      <a:ext uri="{FF2B5EF4-FFF2-40B4-BE49-F238E27FC236}">
                        <a16:creationId xmlns:a16="http://schemas.microsoft.com/office/drawing/2014/main" id="{617DC6B9-6942-4EE2-9A63-48FACEB7D8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9" name="Freeform 850">
                    <a:extLst>
                      <a:ext uri="{FF2B5EF4-FFF2-40B4-BE49-F238E27FC236}">
                        <a16:creationId xmlns:a16="http://schemas.microsoft.com/office/drawing/2014/main" id="{0CCF2E5D-6610-44F3-83A2-CB539C1361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61" name="Gruppieren 910">
                  <a:extLst>
                    <a:ext uri="{FF2B5EF4-FFF2-40B4-BE49-F238E27FC236}">
                      <a16:creationId xmlns:a16="http://schemas.microsoft.com/office/drawing/2014/main" id="{489D2CC8-9BAF-49AF-A7B1-E88FC51134D0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</p:grpSpPr>
              <p:sp>
                <p:nvSpPr>
                  <p:cNvPr id="162" name="Abgerundetes Rechteck 911">
                    <a:extLst>
                      <a:ext uri="{FF2B5EF4-FFF2-40B4-BE49-F238E27FC236}">
                        <a16:creationId xmlns:a16="http://schemas.microsoft.com/office/drawing/2014/main" id="{363FE1EC-3194-4613-BB5A-1BF98559918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3" name="Rectangle 162">
                    <a:extLst>
                      <a:ext uri="{FF2B5EF4-FFF2-40B4-BE49-F238E27FC236}">
                        <a16:creationId xmlns:a16="http://schemas.microsoft.com/office/drawing/2014/main" id="{EEFE7B7B-F4F6-4A4C-90C7-D68840C9AC2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4" name="Rectangle 163">
                    <a:extLst>
                      <a:ext uri="{FF2B5EF4-FFF2-40B4-BE49-F238E27FC236}">
                        <a16:creationId xmlns:a16="http://schemas.microsoft.com/office/drawing/2014/main" id="{3D6D805E-54C2-4C97-AADA-E9B0F58FB51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5" name="Rectangle 164">
                    <a:extLst>
                      <a:ext uri="{FF2B5EF4-FFF2-40B4-BE49-F238E27FC236}">
                        <a16:creationId xmlns:a16="http://schemas.microsoft.com/office/drawing/2014/main" id="{D21DD822-33E6-466C-9815-BD32B87A430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6" name="Rectangle 165">
                    <a:extLst>
                      <a:ext uri="{FF2B5EF4-FFF2-40B4-BE49-F238E27FC236}">
                        <a16:creationId xmlns:a16="http://schemas.microsoft.com/office/drawing/2014/main" id="{6D8B3619-11FD-4BB7-B0B7-7969CF07C8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7" name="Rectangle 166">
                    <a:extLst>
                      <a:ext uri="{FF2B5EF4-FFF2-40B4-BE49-F238E27FC236}">
                        <a16:creationId xmlns:a16="http://schemas.microsoft.com/office/drawing/2014/main" id="{54A01531-0955-4016-AF9C-94B5A29CFF6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8" name="Rectangle 167">
                    <a:extLst>
                      <a:ext uri="{FF2B5EF4-FFF2-40B4-BE49-F238E27FC236}">
                        <a16:creationId xmlns:a16="http://schemas.microsoft.com/office/drawing/2014/main" id="{9ADE7672-D8FA-44B5-BB27-2674212198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9" name="Rectangle 168">
                    <a:extLst>
                      <a:ext uri="{FF2B5EF4-FFF2-40B4-BE49-F238E27FC236}">
                        <a16:creationId xmlns:a16="http://schemas.microsoft.com/office/drawing/2014/main" id="{259ECD59-BE15-4914-B789-34329741A7B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0" name="Rectangle 169">
                    <a:extLst>
                      <a:ext uri="{FF2B5EF4-FFF2-40B4-BE49-F238E27FC236}">
                        <a16:creationId xmlns:a16="http://schemas.microsoft.com/office/drawing/2014/main" id="{20BB36F9-B6E8-4F30-89D0-1DB5EAE23F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1" name="Rectangle 170">
                    <a:extLst>
                      <a:ext uri="{FF2B5EF4-FFF2-40B4-BE49-F238E27FC236}">
                        <a16:creationId xmlns:a16="http://schemas.microsoft.com/office/drawing/2014/main" id="{62456BCB-8F28-447E-90F9-D8AC848DC01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2" name="Rectangle 171">
                    <a:extLst>
                      <a:ext uri="{FF2B5EF4-FFF2-40B4-BE49-F238E27FC236}">
                        <a16:creationId xmlns:a16="http://schemas.microsoft.com/office/drawing/2014/main" id="{41E9DBEA-9895-43D8-BC5F-8C5BA51D8B5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3" name="Rectangle 172">
                    <a:extLst>
                      <a:ext uri="{FF2B5EF4-FFF2-40B4-BE49-F238E27FC236}">
                        <a16:creationId xmlns:a16="http://schemas.microsoft.com/office/drawing/2014/main" id="{CDCAD6DC-62D5-439F-9891-D07CFD35295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4" name="Rectangle 173">
                    <a:extLst>
                      <a:ext uri="{FF2B5EF4-FFF2-40B4-BE49-F238E27FC236}">
                        <a16:creationId xmlns:a16="http://schemas.microsoft.com/office/drawing/2014/main" id="{AB0D67AD-5666-48E5-B91C-DC9E28CB586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5" name="Rectangle 174">
                    <a:extLst>
                      <a:ext uri="{FF2B5EF4-FFF2-40B4-BE49-F238E27FC236}">
                        <a16:creationId xmlns:a16="http://schemas.microsoft.com/office/drawing/2014/main" id="{78D6A7A4-BC84-40CF-893E-4F9505D274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6" name="Rectangle 175">
                    <a:extLst>
                      <a:ext uri="{FF2B5EF4-FFF2-40B4-BE49-F238E27FC236}">
                        <a16:creationId xmlns:a16="http://schemas.microsoft.com/office/drawing/2014/main" id="{73EEC402-F397-4009-8473-5240CCC353C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7" name="Rectangle 176">
                    <a:extLst>
                      <a:ext uri="{FF2B5EF4-FFF2-40B4-BE49-F238E27FC236}">
                        <a16:creationId xmlns:a16="http://schemas.microsoft.com/office/drawing/2014/main" id="{05F6B419-5F5D-4FDC-8EB1-0DF10ED46DD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137" name="Gruppieren 907">
                <a:extLst>
                  <a:ext uri="{FF2B5EF4-FFF2-40B4-BE49-F238E27FC236}">
                    <a16:creationId xmlns:a16="http://schemas.microsoft.com/office/drawing/2014/main" id="{13D138E2-B392-45D9-A24B-43AFF9831A4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548072" y="2970769"/>
                <a:ext cx="88457" cy="234659"/>
                <a:chOff x="9147423" y="1790700"/>
                <a:chExt cx="725488" cy="1924580"/>
              </a:xfrm>
            </p:grpSpPr>
            <p:sp>
              <p:nvSpPr>
                <p:cNvPr id="138" name="Abgerundetes Rechteck 908">
                  <a:extLst>
                    <a:ext uri="{FF2B5EF4-FFF2-40B4-BE49-F238E27FC236}">
                      <a16:creationId xmlns:a16="http://schemas.microsoft.com/office/drawing/2014/main" id="{AE463138-5739-496D-81C3-D002B94719DC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solidFill>
                  <a:srgbClr val="C6C6C6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39" name="Gruppieren 909">
                  <a:extLst>
                    <a:ext uri="{FF2B5EF4-FFF2-40B4-BE49-F238E27FC236}">
                      <a16:creationId xmlns:a16="http://schemas.microsoft.com/office/drawing/2014/main" id="{724D2B23-A098-470A-A77B-18CB02461DA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</p:grpSpPr>
              <p:sp>
                <p:nvSpPr>
                  <p:cNvPr id="157" name="Freeform 828">
                    <a:extLst>
                      <a:ext uri="{FF2B5EF4-FFF2-40B4-BE49-F238E27FC236}">
                        <a16:creationId xmlns:a16="http://schemas.microsoft.com/office/drawing/2014/main" id="{5669E217-1AFA-4467-BFC8-386CABE160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8" name="Freeform 829">
                    <a:extLst>
                      <a:ext uri="{FF2B5EF4-FFF2-40B4-BE49-F238E27FC236}">
                        <a16:creationId xmlns:a16="http://schemas.microsoft.com/office/drawing/2014/main" id="{FDDA1138-EE40-4932-801B-3505A99686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40" name="Gruppieren 910">
                  <a:extLst>
                    <a:ext uri="{FF2B5EF4-FFF2-40B4-BE49-F238E27FC236}">
                      <a16:creationId xmlns:a16="http://schemas.microsoft.com/office/drawing/2014/main" id="{27280F92-46B0-4B0A-86D0-D2BC842C9F0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</p:grpSpPr>
              <p:sp>
                <p:nvSpPr>
                  <p:cNvPr id="141" name="Abgerundetes Rechteck 911">
                    <a:extLst>
                      <a:ext uri="{FF2B5EF4-FFF2-40B4-BE49-F238E27FC236}">
                        <a16:creationId xmlns:a16="http://schemas.microsoft.com/office/drawing/2014/main" id="{2B455008-B9BA-4162-89A6-37ED628D63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2" name="Rectangle 141">
                    <a:extLst>
                      <a:ext uri="{FF2B5EF4-FFF2-40B4-BE49-F238E27FC236}">
                        <a16:creationId xmlns:a16="http://schemas.microsoft.com/office/drawing/2014/main" id="{A0CB229C-6ADB-44DE-AB7B-B87AD4F4DDC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3" name="Rectangle 142">
                    <a:extLst>
                      <a:ext uri="{FF2B5EF4-FFF2-40B4-BE49-F238E27FC236}">
                        <a16:creationId xmlns:a16="http://schemas.microsoft.com/office/drawing/2014/main" id="{99B92B75-D257-47B8-AA67-C6CE76FAB6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4" name="Rectangle 143">
                    <a:extLst>
                      <a:ext uri="{FF2B5EF4-FFF2-40B4-BE49-F238E27FC236}">
                        <a16:creationId xmlns:a16="http://schemas.microsoft.com/office/drawing/2014/main" id="{DD85DC6F-0CED-4373-8986-30D823C2081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5" name="Rectangle 144">
                    <a:extLst>
                      <a:ext uri="{FF2B5EF4-FFF2-40B4-BE49-F238E27FC236}">
                        <a16:creationId xmlns:a16="http://schemas.microsoft.com/office/drawing/2014/main" id="{2A6584DA-1724-42D8-B362-749849A8CFF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6" name="Rectangle 145">
                    <a:extLst>
                      <a:ext uri="{FF2B5EF4-FFF2-40B4-BE49-F238E27FC236}">
                        <a16:creationId xmlns:a16="http://schemas.microsoft.com/office/drawing/2014/main" id="{904190A9-7109-42B8-B794-C7589F6883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id="{8BC09492-DA0C-406B-8A94-51964E4F33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8" name="Rectangle 147">
                    <a:extLst>
                      <a:ext uri="{FF2B5EF4-FFF2-40B4-BE49-F238E27FC236}">
                        <a16:creationId xmlns:a16="http://schemas.microsoft.com/office/drawing/2014/main" id="{4D1EB64F-3A85-41B7-AD81-0BFF80097CD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9" name="Rectangle 148">
                    <a:extLst>
                      <a:ext uri="{FF2B5EF4-FFF2-40B4-BE49-F238E27FC236}">
                        <a16:creationId xmlns:a16="http://schemas.microsoft.com/office/drawing/2014/main" id="{C9B6D151-5AC9-4E20-A1ED-32EAD78BACD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0" name="Rectangle 149">
                    <a:extLst>
                      <a:ext uri="{FF2B5EF4-FFF2-40B4-BE49-F238E27FC236}">
                        <a16:creationId xmlns:a16="http://schemas.microsoft.com/office/drawing/2014/main" id="{B2084F1F-D139-425D-AD5C-7AEF34E175D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1" name="Rectangle 150">
                    <a:extLst>
                      <a:ext uri="{FF2B5EF4-FFF2-40B4-BE49-F238E27FC236}">
                        <a16:creationId xmlns:a16="http://schemas.microsoft.com/office/drawing/2014/main" id="{924A7C37-124A-4A0C-9050-6D405458A84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2" name="Rectangle 151">
                    <a:extLst>
                      <a:ext uri="{FF2B5EF4-FFF2-40B4-BE49-F238E27FC236}">
                        <a16:creationId xmlns:a16="http://schemas.microsoft.com/office/drawing/2014/main" id="{7413B115-9516-4EA1-A9FE-CB6C0D80BF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3" name="Rectangle 152">
                    <a:extLst>
                      <a:ext uri="{FF2B5EF4-FFF2-40B4-BE49-F238E27FC236}">
                        <a16:creationId xmlns:a16="http://schemas.microsoft.com/office/drawing/2014/main" id="{3AAE0CC1-11A8-4FD8-BA8D-CA73C6D345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4" name="Rectangle 153">
                    <a:extLst>
                      <a:ext uri="{FF2B5EF4-FFF2-40B4-BE49-F238E27FC236}">
                        <a16:creationId xmlns:a16="http://schemas.microsoft.com/office/drawing/2014/main" id="{C61818E7-BED0-4F6B-8087-F281DAC3793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5" name="Rectangle 154">
                    <a:extLst>
                      <a:ext uri="{FF2B5EF4-FFF2-40B4-BE49-F238E27FC236}">
                        <a16:creationId xmlns:a16="http://schemas.microsoft.com/office/drawing/2014/main" id="{D15932E2-10E4-4EF5-870A-540FB29575C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6" name="Rectangle 155">
                    <a:extLst>
                      <a:ext uri="{FF2B5EF4-FFF2-40B4-BE49-F238E27FC236}">
                        <a16:creationId xmlns:a16="http://schemas.microsoft.com/office/drawing/2014/main" id="{BAA4DD20-6AED-4135-A24A-AD94A46CA84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54222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2" name="Subtitle 1"/>
          <p:cNvSpPr>
            <a:spLocks noGrp="1"/>
          </p:cNvSpPr>
          <p:nvPr>
            <p:ph type="body" sz="quarter" idx="13"/>
          </p:nvPr>
        </p:nvSpPr>
        <p:spPr>
          <a:xfrm>
            <a:off x="2005337" y="2369227"/>
            <a:ext cx="4680000" cy="4115523"/>
          </a:xfrm>
        </p:spPr>
        <p:txBody>
          <a:bodyPr/>
          <a:lstStyle/>
          <a:p>
            <a:r>
              <a:rPr lang="en-US" sz="1600"/>
              <a:t>Welcome</a:t>
            </a:r>
          </a:p>
          <a:p>
            <a:r>
              <a:rPr lang="en-US" sz="1600"/>
              <a:t>Project Status</a:t>
            </a:r>
            <a:br>
              <a:rPr lang="en-US" sz="1600"/>
            </a:br>
            <a:r>
              <a:rPr lang="en-US" sz="1400" i="1"/>
              <a:t>Where are we?</a:t>
            </a:r>
          </a:p>
          <a:p>
            <a:r>
              <a:rPr lang="en-US" sz="1600"/>
              <a:t>Project KPIs</a:t>
            </a:r>
            <a:br>
              <a:rPr lang="en-US" sz="1600"/>
            </a:br>
            <a:r>
              <a:rPr lang="en-US" sz="1400" i="1"/>
              <a:t>Budget &amp; Risks</a:t>
            </a:r>
          </a:p>
          <a:p>
            <a:r>
              <a:rPr lang="en-US" sz="1600"/>
              <a:t>Deep Dive</a:t>
            </a:r>
            <a:br>
              <a:rPr lang="en-US" sz="1400"/>
            </a:br>
            <a:r>
              <a:rPr lang="en-US" sz="1400" i="1"/>
              <a:t>AI Infrastructure</a:t>
            </a:r>
          </a:p>
          <a:p>
            <a:r>
              <a:rPr lang="en-US" sz="1600"/>
              <a:t>Feedback &amp; Discuss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6" name="Grafik 6">
            <a:extLst>
              <a:ext uri="{FF2B5EF4-FFF2-40B4-BE49-F238E27FC236}">
                <a16:creationId xmlns:a16="http://schemas.microsoft.com/office/drawing/2014/main" id="{CC2A2706-15B5-4EF9-AF12-99F72405D2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900" r="6759"/>
          <a:stretch/>
        </p:blipFill>
        <p:spPr>
          <a:xfrm>
            <a:off x="7032456" y="0"/>
            <a:ext cx="5161549" cy="6858000"/>
          </a:xfrm>
          <a:prstGeom prst="rect">
            <a:avLst/>
          </a:prstGeom>
        </p:spPr>
      </p:pic>
      <p:sp>
        <p:nvSpPr>
          <p:cNvPr id="7" name="Gleichschenkliges Dreieck 7">
            <a:extLst>
              <a:ext uri="{FF2B5EF4-FFF2-40B4-BE49-F238E27FC236}">
                <a16:creationId xmlns:a16="http://schemas.microsoft.com/office/drawing/2014/main" id="{99AF477C-819D-4EC8-ABAC-E85411ED6544}"/>
              </a:ext>
            </a:extLst>
          </p:cNvPr>
          <p:cNvSpPr/>
          <p:nvPr/>
        </p:nvSpPr>
        <p:spPr bwMode="gray">
          <a:xfrm rot="10800000">
            <a:off x="7011050" y="0"/>
            <a:ext cx="1800199" cy="6867912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0" name="Subtitle 1"/>
          <p:cNvSpPr txBox="1">
            <a:spLocks/>
          </p:cNvSpPr>
          <p:nvPr/>
        </p:nvSpPr>
        <p:spPr bwMode="gray">
          <a:xfrm>
            <a:off x="1976765" y="1260384"/>
            <a:ext cx="602923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spcBef>
                <a:spcPts val="1800"/>
              </a:spcBef>
              <a:spcAft>
                <a:spcPts val="0"/>
              </a:spcAft>
              <a:buFontTx/>
              <a:buBlip>
                <a:blip r:embed="rId7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teering Committee // 20 August 2021 </a:t>
            </a:r>
          </a:p>
        </p:txBody>
      </p:sp>
    </p:spTree>
    <p:extLst>
      <p:ext uri="{BB962C8B-B14F-4D97-AF65-F5344CB8AC3E}">
        <p14:creationId xmlns:p14="http://schemas.microsoft.com/office/powerpoint/2010/main" val="349670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96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ith the Holmes project we replace IBM Watson and add a custom-built AI for Medical Coding to the MP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0</a:t>
            </a:fld>
            <a:endParaRPr lang="en-US"/>
          </a:p>
        </p:txBody>
      </p: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D13BE87-AE71-4181-9C40-AEA75778AD5C}"/>
              </a:ext>
            </a:extLst>
          </p:cNvPr>
          <p:cNvGrpSpPr>
            <a:grpSpLocks/>
          </p:cNvGrpSpPr>
          <p:nvPr/>
        </p:nvGrpSpPr>
        <p:grpSpPr>
          <a:xfrm>
            <a:off x="985889" y="2299604"/>
            <a:ext cx="3103090" cy="2896881"/>
            <a:chOff x="985889" y="2299604"/>
            <a:chExt cx="3103090" cy="289688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145D328-0F27-4F7A-A962-22E5F65A0985}"/>
                </a:ext>
              </a:extLst>
            </p:cNvPr>
            <p:cNvSpPr/>
            <p:nvPr/>
          </p:nvSpPr>
          <p:spPr bwMode="gray">
            <a:xfrm>
              <a:off x="985890" y="2471461"/>
              <a:ext cx="1421130" cy="65422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8" name="Computer">
              <a:extLst>
                <a:ext uri="{FF2B5EF4-FFF2-40B4-BE49-F238E27FC236}">
                  <a16:creationId xmlns:a16="http://schemas.microsoft.com/office/drawing/2014/main" id="{51CB5670-EE3A-400D-AE59-99DA547646D2}"/>
                </a:ext>
              </a:extLst>
            </p:cNvPr>
            <p:cNvGrpSpPr/>
            <p:nvPr/>
          </p:nvGrpSpPr>
          <p:grpSpPr>
            <a:xfrm>
              <a:off x="1109100" y="2673265"/>
              <a:ext cx="336328" cy="254511"/>
              <a:chOff x="2449092" y="1855816"/>
              <a:chExt cx="391852" cy="296527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355" name="Freeform 614">
                <a:extLst>
                  <a:ext uri="{FF2B5EF4-FFF2-40B4-BE49-F238E27FC236}">
                    <a16:creationId xmlns:a16="http://schemas.microsoft.com/office/drawing/2014/main" id="{801E3919-1ACE-4D32-A4CA-5199DA5050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0644" y="2047958"/>
                <a:ext cx="124865" cy="49957"/>
              </a:xfrm>
              <a:custGeom>
                <a:avLst/>
                <a:gdLst>
                  <a:gd name="T0" fmla="*/ 930 w 930"/>
                  <a:gd name="T1" fmla="*/ 268 h 372"/>
                  <a:gd name="T2" fmla="*/ 855 w 930"/>
                  <a:gd name="T3" fmla="*/ 372 h 372"/>
                  <a:gd name="T4" fmla="*/ 75 w 930"/>
                  <a:gd name="T5" fmla="*/ 372 h 372"/>
                  <a:gd name="T6" fmla="*/ 0 w 930"/>
                  <a:gd name="T7" fmla="*/ 268 h 372"/>
                  <a:gd name="T8" fmla="*/ 0 w 930"/>
                  <a:gd name="T9" fmla="*/ 105 h 372"/>
                  <a:gd name="T10" fmla="*/ 75 w 930"/>
                  <a:gd name="T11" fmla="*/ 0 h 372"/>
                  <a:gd name="T12" fmla="*/ 855 w 930"/>
                  <a:gd name="T13" fmla="*/ 0 h 372"/>
                  <a:gd name="T14" fmla="*/ 930 w 930"/>
                  <a:gd name="T15" fmla="*/ 105 h 372"/>
                  <a:gd name="T16" fmla="*/ 930 w 930"/>
                  <a:gd name="T17" fmla="*/ 26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0" h="372">
                    <a:moveTo>
                      <a:pt x="930" y="268"/>
                    </a:moveTo>
                    <a:cubicBezTo>
                      <a:pt x="930" y="326"/>
                      <a:pt x="897" y="372"/>
                      <a:pt x="855" y="372"/>
                    </a:cubicBezTo>
                    <a:cubicBezTo>
                      <a:pt x="75" y="372"/>
                      <a:pt x="75" y="372"/>
                      <a:pt x="75" y="372"/>
                    </a:cubicBezTo>
                    <a:cubicBezTo>
                      <a:pt x="34" y="372"/>
                      <a:pt x="0" y="326"/>
                      <a:pt x="0" y="26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47"/>
                      <a:pt x="34" y="0"/>
                      <a:pt x="75" y="0"/>
                    </a:cubicBezTo>
                    <a:cubicBezTo>
                      <a:pt x="855" y="0"/>
                      <a:pt x="855" y="0"/>
                      <a:pt x="855" y="0"/>
                    </a:cubicBezTo>
                    <a:cubicBezTo>
                      <a:pt x="897" y="0"/>
                      <a:pt x="930" y="47"/>
                      <a:pt x="930" y="105"/>
                    </a:cubicBezTo>
                    <a:lnTo>
                      <a:pt x="930" y="268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6" name="Freeform: Shape 329">
                <a:extLst>
                  <a:ext uri="{FF2B5EF4-FFF2-40B4-BE49-F238E27FC236}">
                    <a16:creationId xmlns:a16="http://schemas.microsoft.com/office/drawing/2014/main" id="{5CF413E2-152A-4767-A7E6-2819D4514B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1591" y="1863982"/>
                <a:ext cx="119353" cy="241619"/>
              </a:xfrm>
              <a:custGeom>
                <a:avLst/>
                <a:gdLst>
                  <a:gd name="connsiteX0" fmla="*/ 59677 w 119353"/>
                  <a:gd name="connsiteY0" fmla="*/ 189981 h 241619"/>
                  <a:gd name="connsiteX1" fmla="*/ 48173 w 119353"/>
                  <a:gd name="connsiteY1" fmla="*/ 201630 h 241619"/>
                  <a:gd name="connsiteX2" fmla="*/ 59677 w 119353"/>
                  <a:gd name="connsiteY2" fmla="*/ 213279 h 241619"/>
                  <a:gd name="connsiteX3" fmla="*/ 71181 w 119353"/>
                  <a:gd name="connsiteY3" fmla="*/ 201630 h 241619"/>
                  <a:gd name="connsiteX4" fmla="*/ 59677 w 119353"/>
                  <a:gd name="connsiteY4" fmla="*/ 189981 h 241619"/>
                  <a:gd name="connsiteX5" fmla="*/ 16765 w 119353"/>
                  <a:gd name="connsiteY5" fmla="*/ 33625 h 241619"/>
                  <a:gd name="connsiteX6" fmla="*/ 5752 w 119353"/>
                  <a:gd name="connsiteY6" fmla="*/ 44487 h 241619"/>
                  <a:gd name="connsiteX7" fmla="*/ 16765 w 119353"/>
                  <a:gd name="connsiteY7" fmla="*/ 55482 h 241619"/>
                  <a:gd name="connsiteX8" fmla="*/ 102588 w 119353"/>
                  <a:gd name="connsiteY8" fmla="*/ 55482 h 241619"/>
                  <a:gd name="connsiteX9" fmla="*/ 113601 w 119353"/>
                  <a:gd name="connsiteY9" fmla="*/ 44487 h 241619"/>
                  <a:gd name="connsiteX10" fmla="*/ 102588 w 119353"/>
                  <a:gd name="connsiteY10" fmla="*/ 33625 h 241619"/>
                  <a:gd name="connsiteX11" fmla="*/ 16765 w 119353"/>
                  <a:gd name="connsiteY11" fmla="*/ 33625 h 241619"/>
                  <a:gd name="connsiteX12" fmla="*/ 13963 w 119353"/>
                  <a:gd name="connsiteY12" fmla="*/ 0 h 241619"/>
                  <a:gd name="connsiteX13" fmla="*/ 105391 w 119353"/>
                  <a:gd name="connsiteY13" fmla="*/ 0 h 241619"/>
                  <a:gd name="connsiteX14" fmla="*/ 119353 w 119353"/>
                  <a:gd name="connsiteY14" fmla="*/ 13968 h 241619"/>
                  <a:gd name="connsiteX15" fmla="*/ 119353 w 119353"/>
                  <a:gd name="connsiteY15" fmla="*/ 227517 h 241619"/>
                  <a:gd name="connsiteX16" fmla="*/ 105391 w 119353"/>
                  <a:gd name="connsiteY16" fmla="*/ 241619 h 241619"/>
                  <a:gd name="connsiteX17" fmla="*/ 13963 w 119353"/>
                  <a:gd name="connsiteY17" fmla="*/ 241619 h 241619"/>
                  <a:gd name="connsiteX18" fmla="*/ 0 w 119353"/>
                  <a:gd name="connsiteY18" fmla="*/ 227517 h 241619"/>
                  <a:gd name="connsiteX19" fmla="*/ 0 w 119353"/>
                  <a:gd name="connsiteY19" fmla="*/ 13968 h 241619"/>
                  <a:gd name="connsiteX20" fmla="*/ 13963 w 119353"/>
                  <a:gd name="connsiteY20" fmla="*/ 0 h 24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53" h="241619">
                    <a:moveTo>
                      <a:pt x="59677" y="189981"/>
                    </a:moveTo>
                    <a:cubicBezTo>
                      <a:pt x="53324" y="189981"/>
                      <a:pt x="48173" y="195196"/>
                      <a:pt x="48173" y="201630"/>
                    </a:cubicBezTo>
                    <a:cubicBezTo>
                      <a:pt x="48173" y="208064"/>
                      <a:pt x="53324" y="213279"/>
                      <a:pt x="59677" y="213279"/>
                    </a:cubicBezTo>
                    <a:cubicBezTo>
                      <a:pt x="66030" y="213279"/>
                      <a:pt x="71181" y="208064"/>
                      <a:pt x="71181" y="201630"/>
                    </a:cubicBezTo>
                    <a:cubicBezTo>
                      <a:pt x="71181" y="195196"/>
                      <a:pt x="66030" y="189981"/>
                      <a:pt x="59677" y="189981"/>
                    </a:cubicBezTo>
                    <a:close/>
                    <a:moveTo>
                      <a:pt x="16765" y="33625"/>
                    </a:moveTo>
                    <a:cubicBezTo>
                      <a:pt x="10722" y="33625"/>
                      <a:pt x="5752" y="38452"/>
                      <a:pt x="5752" y="44487"/>
                    </a:cubicBezTo>
                    <a:cubicBezTo>
                      <a:pt x="5752" y="50521"/>
                      <a:pt x="10722" y="55482"/>
                      <a:pt x="16765" y="55482"/>
                    </a:cubicBezTo>
                    <a:cubicBezTo>
                      <a:pt x="16765" y="55482"/>
                      <a:pt x="16765" y="55482"/>
                      <a:pt x="102588" y="55482"/>
                    </a:cubicBezTo>
                    <a:cubicBezTo>
                      <a:pt x="108632" y="55482"/>
                      <a:pt x="113601" y="50521"/>
                      <a:pt x="113601" y="44487"/>
                    </a:cubicBezTo>
                    <a:cubicBezTo>
                      <a:pt x="113601" y="38452"/>
                      <a:pt x="108632" y="33625"/>
                      <a:pt x="102588" y="33625"/>
                    </a:cubicBezTo>
                    <a:cubicBezTo>
                      <a:pt x="102588" y="33625"/>
                      <a:pt x="102588" y="33625"/>
                      <a:pt x="16765" y="33625"/>
                    </a:cubicBezTo>
                    <a:close/>
                    <a:moveTo>
                      <a:pt x="13963" y="0"/>
                    </a:moveTo>
                    <a:cubicBezTo>
                      <a:pt x="105391" y="0"/>
                      <a:pt x="105391" y="0"/>
                      <a:pt x="105391" y="0"/>
                    </a:cubicBezTo>
                    <a:cubicBezTo>
                      <a:pt x="113043" y="0"/>
                      <a:pt x="119353" y="6313"/>
                      <a:pt x="119353" y="13968"/>
                    </a:cubicBezTo>
                    <a:lnTo>
                      <a:pt x="119353" y="227517"/>
                    </a:lnTo>
                    <a:cubicBezTo>
                      <a:pt x="119353" y="235307"/>
                      <a:pt x="113043" y="241619"/>
                      <a:pt x="105391" y="241619"/>
                    </a:cubicBezTo>
                    <a:cubicBezTo>
                      <a:pt x="13963" y="241619"/>
                      <a:pt x="13963" y="241619"/>
                      <a:pt x="13963" y="241619"/>
                    </a:cubicBezTo>
                    <a:cubicBezTo>
                      <a:pt x="6310" y="241619"/>
                      <a:pt x="0" y="235307"/>
                      <a:pt x="0" y="227517"/>
                    </a:cubicBezTo>
                    <a:cubicBezTo>
                      <a:pt x="0" y="13968"/>
                      <a:pt x="0" y="13968"/>
                      <a:pt x="0" y="13968"/>
                    </a:cubicBezTo>
                    <a:cubicBezTo>
                      <a:pt x="0" y="6313"/>
                      <a:pt x="6310" y="0"/>
                      <a:pt x="13963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7" name="Freeform: Shape 327">
                <a:extLst>
                  <a:ext uri="{FF2B5EF4-FFF2-40B4-BE49-F238E27FC236}">
                    <a16:creationId xmlns:a16="http://schemas.microsoft.com/office/drawing/2014/main" id="{F07F0261-EBA3-43A6-9830-5FC74F4881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2753" y="1855816"/>
                <a:ext cx="271780" cy="205833"/>
              </a:xfrm>
              <a:custGeom>
                <a:avLst/>
                <a:gdLst>
                  <a:gd name="connsiteX0" fmla="*/ 28434 w 271780"/>
                  <a:gd name="connsiteY0" fmla="*/ 13690 h 205833"/>
                  <a:gd name="connsiteX1" fmla="*/ 17975 w 271780"/>
                  <a:gd name="connsiteY1" fmla="*/ 24164 h 205833"/>
                  <a:gd name="connsiteX2" fmla="*/ 17975 w 271780"/>
                  <a:gd name="connsiteY2" fmla="*/ 181669 h 205833"/>
                  <a:gd name="connsiteX3" fmla="*/ 28434 w 271780"/>
                  <a:gd name="connsiteY3" fmla="*/ 192142 h 205833"/>
                  <a:gd name="connsiteX4" fmla="*/ 243106 w 271780"/>
                  <a:gd name="connsiteY4" fmla="*/ 192142 h 205833"/>
                  <a:gd name="connsiteX5" fmla="*/ 253565 w 271780"/>
                  <a:gd name="connsiteY5" fmla="*/ 181669 h 205833"/>
                  <a:gd name="connsiteX6" fmla="*/ 253565 w 271780"/>
                  <a:gd name="connsiteY6" fmla="*/ 24164 h 205833"/>
                  <a:gd name="connsiteX7" fmla="*/ 243106 w 271780"/>
                  <a:gd name="connsiteY7" fmla="*/ 13690 h 205833"/>
                  <a:gd name="connsiteX8" fmla="*/ 28434 w 271780"/>
                  <a:gd name="connsiteY8" fmla="*/ 13690 h 205833"/>
                  <a:gd name="connsiteX9" fmla="*/ 12067 w 271780"/>
                  <a:gd name="connsiteY9" fmla="*/ 0 h 205833"/>
                  <a:gd name="connsiteX10" fmla="*/ 259713 w 271780"/>
                  <a:gd name="connsiteY10" fmla="*/ 0 h 205833"/>
                  <a:gd name="connsiteX11" fmla="*/ 271780 w 271780"/>
                  <a:gd name="connsiteY11" fmla="*/ 12084 h 205833"/>
                  <a:gd name="connsiteX12" fmla="*/ 271780 w 271780"/>
                  <a:gd name="connsiteY12" fmla="*/ 193883 h 205833"/>
                  <a:gd name="connsiteX13" fmla="*/ 259713 w 271780"/>
                  <a:gd name="connsiteY13" fmla="*/ 205833 h 205833"/>
                  <a:gd name="connsiteX14" fmla="*/ 12067 w 271780"/>
                  <a:gd name="connsiteY14" fmla="*/ 205833 h 205833"/>
                  <a:gd name="connsiteX15" fmla="*/ 0 w 271780"/>
                  <a:gd name="connsiteY15" fmla="*/ 193883 h 205833"/>
                  <a:gd name="connsiteX16" fmla="*/ 0 w 271780"/>
                  <a:gd name="connsiteY16" fmla="*/ 12084 h 205833"/>
                  <a:gd name="connsiteX17" fmla="*/ 12067 w 271780"/>
                  <a:gd name="connsiteY17" fmla="*/ 0 h 20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1780" h="205833">
                    <a:moveTo>
                      <a:pt x="28434" y="13690"/>
                    </a:moveTo>
                    <a:cubicBezTo>
                      <a:pt x="22668" y="13690"/>
                      <a:pt x="17975" y="18390"/>
                      <a:pt x="17975" y="24164"/>
                    </a:cubicBezTo>
                    <a:cubicBezTo>
                      <a:pt x="17975" y="24164"/>
                      <a:pt x="17975" y="24164"/>
                      <a:pt x="17975" y="181669"/>
                    </a:cubicBezTo>
                    <a:cubicBezTo>
                      <a:pt x="17975" y="187442"/>
                      <a:pt x="22668" y="192142"/>
                      <a:pt x="28434" y="192142"/>
                    </a:cubicBezTo>
                    <a:cubicBezTo>
                      <a:pt x="28434" y="192142"/>
                      <a:pt x="28434" y="192142"/>
                      <a:pt x="243106" y="192142"/>
                    </a:cubicBezTo>
                    <a:cubicBezTo>
                      <a:pt x="248872" y="192142"/>
                      <a:pt x="253565" y="187442"/>
                      <a:pt x="253565" y="181669"/>
                    </a:cubicBezTo>
                    <a:lnTo>
                      <a:pt x="253565" y="24164"/>
                    </a:lnTo>
                    <a:cubicBezTo>
                      <a:pt x="253565" y="18390"/>
                      <a:pt x="248872" y="13690"/>
                      <a:pt x="243106" y="13690"/>
                    </a:cubicBezTo>
                    <a:cubicBezTo>
                      <a:pt x="243106" y="13690"/>
                      <a:pt x="243106" y="13690"/>
                      <a:pt x="28434" y="13690"/>
                    </a:cubicBezTo>
                    <a:close/>
                    <a:moveTo>
                      <a:pt x="12067" y="0"/>
                    </a:moveTo>
                    <a:cubicBezTo>
                      <a:pt x="259713" y="0"/>
                      <a:pt x="259713" y="0"/>
                      <a:pt x="259713" y="0"/>
                    </a:cubicBezTo>
                    <a:cubicBezTo>
                      <a:pt x="266283" y="0"/>
                      <a:pt x="271780" y="5371"/>
                      <a:pt x="271780" y="12084"/>
                    </a:cubicBezTo>
                    <a:lnTo>
                      <a:pt x="271780" y="193883"/>
                    </a:lnTo>
                    <a:cubicBezTo>
                      <a:pt x="271780" y="200462"/>
                      <a:pt x="266283" y="205833"/>
                      <a:pt x="259713" y="205833"/>
                    </a:cubicBezTo>
                    <a:cubicBezTo>
                      <a:pt x="12067" y="205833"/>
                      <a:pt x="12067" y="205833"/>
                      <a:pt x="12067" y="205833"/>
                    </a:cubicBezTo>
                    <a:cubicBezTo>
                      <a:pt x="5363" y="205833"/>
                      <a:pt x="0" y="200462"/>
                      <a:pt x="0" y="193883"/>
                    </a:cubicBezTo>
                    <a:cubicBezTo>
                      <a:pt x="0" y="12084"/>
                      <a:pt x="0" y="12084"/>
                      <a:pt x="0" y="12084"/>
                    </a:cubicBezTo>
                    <a:cubicBezTo>
                      <a:pt x="0" y="5371"/>
                      <a:pt x="5363" y="0"/>
                      <a:pt x="12067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8" name="Freeform 617">
                <a:extLst>
                  <a:ext uri="{FF2B5EF4-FFF2-40B4-BE49-F238E27FC236}">
                    <a16:creationId xmlns:a16="http://schemas.microsoft.com/office/drawing/2014/main" id="{7B614370-DB77-4BD1-8B0C-49927A54BA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134182"/>
                <a:ext cx="300060" cy="13930"/>
              </a:xfrm>
              <a:custGeom>
                <a:avLst/>
                <a:gdLst>
                  <a:gd name="T0" fmla="*/ 2238 w 2238"/>
                  <a:gd name="T1" fmla="*/ 59 h 103"/>
                  <a:gd name="T2" fmla="*/ 2149 w 2238"/>
                  <a:gd name="T3" fmla="*/ 103 h 103"/>
                  <a:gd name="T4" fmla="*/ 90 w 2238"/>
                  <a:gd name="T5" fmla="*/ 103 h 103"/>
                  <a:gd name="T6" fmla="*/ 0 w 2238"/>
                  <a:gd name="T7" fmla="*/ 59 h 103"/>
                  <a:gd name="T8" fmla="*/ 0 w 2238"/>
                  <a:gd name="T9" fmla="*/ 44 h 103"/>
                  <a:gd name="T10" fmla="*/ 90 w 2238"/>
                  <a:gd name="T11" fmla="*/ 0 h 103"/>
                  <a:gd name="T12" fmla="*/ 2149 w 2238"/>
                  <a:gd name="T13" fmla="*/ 0 h 103"/>
                  <a:gd name="T14" fmla="*/ 2238 w 2238"/>
                  <a:gd name="T15" fmla="*/ 44 h 103"/>
                  <a:gd name="T16" fmla="*/ 2238 w 2238"/>
                  <a:gd name="T17" fmla="*/ 5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8" h="103">
                    <a:moveTo>
                      <a:pt x="2238" y="59"/>
                    </a:moveTo>
                    <a:cubicBezTo>
                      <a:pt x="2238" y="83"/>
                      <a:pt x="2198" y="103"/>
                      <a:pt x="2149" y="103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41" y="103"/>
                      <a:pt x="0" y="83"/>
                      <a:pt x="0" y="5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41" y="0"/>
                      <a:pt x="90" y="0"/>
                    </a:cubicBezTo>
                    <a:cubicBezTo>
                      <a:pt x="2149" y="0"/>
                      <a:pt x="2149" y="0"/>
                      <a:pt x="2149" y="0"/>
                    </a:cubicBezTo>
                    <a:cubicBezTo>
                      <a:pt x="2198" y="0"/>
                      <a:pt x="2238" y="20"/>
                      <a:pt x="2238" y="44"/>
                    </a:cubicBezTo>
                    <a:lnTo>
                      <a:pt x="2238" y="5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9" name="Freeform: Shape 330">
                <a:extLst>
                  <a:ext uri="{FF2B5EF4-FFF2-40B4-BE49-F238E27FC236}">
                    <a16:creationId xmlns:a16="http://schemas.microsoft.com/office/drawing/2014/main" id="{0D1D795A-FA8E-4A36-9545-25C5453AB9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094460"/>
                <a:ext cx="300060" cy="57883"/>
              </a:xfrm>
              <a:custGeom>
                <a:avLst/>
                <a:gdLst>
                  <a:gd name="connsiteX0" fmla="*/ 39626 w 300060"/>
                  <a:gd name="connsiteY0" fmla="*/ 6725 h 57883"/>
                  <a:gd name="connsiteX1" fmla="*/ 28900 w 300060"/>
                  <a:gd name="connsiteY1" fmla="*/ 9276 h 57883"/>
                  <a:gd name="connsiteX2" fmla="*/ 16298 w 300060"/>
                  <a:gd name="connsiteY2" fmla="*/ 47406 h 57883"/>
                  <a:gd name="connsiteX3" fmla="*/ 27024 w 300060"/>
                  <a:gd name="connsiteY3" fmla="*/ 49957 h 57883"/>
                  <a:gd name="connsiteX4" fmla="*/ 273038 w 300060"/>
                  <a:gd name="connsiteY4" fmla="*/ 49957 h 57883"/>
                  <a:gd name="connsiteX5" fmla="*/ 283763 w 300060"/>
                  <a:gd name="connsiteY5" fmla="*/ 47406 h 57883"/>
                  <a:gd name="connsiteX6" fmla="*/ 271161 w 300060"/>
                  <a:gd name="connsiteY6" fmla="*/ 9276 h 57883"/>
                  <a:gd name="connsiteX7" fmla="*/ 260435 w 300060"/>
                  <a:gd name="connsiteY7" fmla="*/ 6725 h 57883"/>
                  <a:gd name="connsiteX8" fmla="*/ 39626 w 300060"/>
                  <a:gd name="connsiteY8" fmla="*/ 6725 h 57883"/>
                  <a:gd name="connsiteX9" fmla="*/ 26279 w 300060"/>
                  <a:gd name="connsiteY9" fmla="*/ 0 h 57883"/>
                  <a:gd name="connsiteX10" fmla="*/ 273916 w 300060"/>
                  <a:gd name="connsiteY10" fmla="*/ 0 h 57883"/>
                  <a:gd name="connsiteX11" fmla="*/ 285982 w 300060"/>
                  <a:gd name="connsiteY11" fmla="*/ 3365 h 57883"/>
                  <a:gd name="connsiteX12" fmla="*/ 300060 w 300060"/>
                  <a:gd name="connsiteY12" fmla="*/ 54518 h 57883"/>
                  <a:gd name="connsiteX13" fmla="*/ 288127 w 300060"/>
                  <a:gd name="connsiteY13" fmla="*/ 57883 h 57883"/>
                  <a:gd name="connsiteX14" fmla="*/ 12067 w 300060"/>
                  <a:gd name="connsiteY14" fmla="*/ 57883 h 57883"/>
                  <a:gd name="connsiteX15" fmla="*/ 0 w 300060"/>
                  <a:gd name="connsiteY15" fmla="*/ 54518 h 57883"/>
                  <a:gd name="connsiteX16" fmla="*/ 14212 w 300060"/>
                  <a:gd name="connsiteY16" fmla="*/ 3365 h 57883"/>
                  <a:gd name="connsiteX17" fmla="*/ 26279 w 300060"/>
                  <a:gd name="connsiteY17" fmla="*/ 0 h 57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060" h="57883">
                    <a:moveTo>
                      <a:pt x="39626" y="6725"/>
                    </a:moveTo>
                    <a:cubicBezTo>
                      <a:pt x="33727" y="6725"/>
                      <a:pt x="28900" y="7799"/>
                      <a:pt x="28900" y="9276"/>
                    </a:cubicBezTo>
                    <a:cubicBezTo>
                      <a:pt x="28900" y="9276"/>
                      <a:pt x="28900" y="9276"/>
                      <a:pt x="16298" y="47406"/>
                    </a:cubicBezTo>
                    <a:cubicBezTo>
                      <a:pt x="16298" y="48883"/>
                      <a:pt x="21125" y="49957"/>
                      <a:pt x="27024" y="49957"/>
                    </a:cubicBezTo>
                    <a:cubicBezTo>
                      <a:pt x="27024" y="49957"/>
                      <a:pt x="27024" y="49957"/>
                      <a:pt x="273038" y="49957"/>
                    </a:cubicBezTo>
                    <a:cubicBezTo>
                      <a:pt x="278937" y="49957"/>
                      <a:pt x="283763" y="48883"/>
                      <a:pt x="283763" y="47406"/>
                    </a:cubicBezTo>
                    <a:lnTo>
                      <a:pt x="271161" y="9276"/>
                    </a:lnTo>
                    <a:cubicBezTo>
                      <a:pt x="271161" y="7799"/>
                      <a:pt x="266334" y="6725"/>
                      <a:pt x="260435" y="6725"/>
                    </a:cubicBezTo>
                    <a:cubicBezTo>
                      <a:pt x="260435" y="6725"/>
                      <a:pt x="260435" y="6725"/>
                      <a:pt x="39626" y="6725"/>
                    </a:cubicBezTo>
                    <a:close/>
                    <a:moveTo>
                      <a:pt x="26279" y="0"/>
                    </a:moveTo>
                    <a:cubicBezTo>
                      <a:pt x="273916" y="0"/>
                      <a:pt x="273916" y="0"/>
                      <a:pt x="273916" y="0"/>
                    </a:cubicBezTo>
                    <a:cubicBezTo>
                      <a:pt x="280619" y="0"/>
                      <a:pt x="285982" y="1481"/>
                      <a:pt x="285982" y="3365"/>
                    </a:cubicBezTo>
                    <a:lnTo>
                      <a:pt x="300060" y="54518"/>
                    </a:lnTo>
                    <a:cubicBezTo>
                      <a:pt x="300060" y="56402"/>
                      <a:pt x="294697" y="57883"/>
                      <a:pt x="288127" y="57883"/>
                    </a:cubicBezTo>
                    <a:cubicBezTo>
                      <a:pt x="12067" y="57883"/>
                      <a:pt x="12067" y="57883"/>
                      <a:pt x="12067" y="57883"/>
                    </a:cubicBezTo>
                    <a:cubicBezTo>
                      <a:pt x="5497" y="57883"/>
                      <a:pt x="0" y="56402"/>
                      <a:pt x="0" y="54518"/>
                    </a:cubicBezTo>
                    <a:cubicBezTo>
                      <a:pt x="14212" y="3365"/>
                      <a:pt x="14212" y="3365"/>
                      <a:pt x="14212" y="3365"/>
                    </a:cubicBezTo>
                    <a:cubicBezTo>
                      <a:pt x="14212" y="1481"/>
                      <a:pt x="19575" y="0"/>
                      <a:pt x="2627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9" name="Computer">
              <a:extLst>
                <a:ext uri="{FF2B5EF4-FFF2-40B4-BE49-F238E27FC236}">
                  <a16:creationId xmlns:a16="http://schemas.microsoft.com/office/drawing/2014/main" id="{76BC0828-D448-4861-9806-96BBF27B3EE1}"/>
                </a:ext>
              </a:extLst>
            </p:cNvPr>
            <p:cNvGrpSpPr/>
            <p:nvPr/>
          </p:nvGrpSpPr>
          <p:grpSpPr>
            <a:xfrm>
              <a:off x="1824171" y="2676814"/>
              <a:ext cx="336328" cy="254511"/>
              <a:chOff x="2449092" y="1855816"/>
              <a:chExt cx="391852" cy="296527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350" name="Freeform 620">
                <a:extLst>
                  <a:ext uri="{FF2B5EF4-FFF2-40B4-BE49-F238E27FC236}">
                    <a16:creationId xmlns:a16="http://schemas.microsoft.com/office/drawing/2014/main" id="{F39573C9-F7A5-49FC-A9D2-82FE734101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0644" y="2047958"/>
                <a:ext cx="124865" cy="49957"/>
              </a:xfrm>
              <a:custGeom>
                <a:avLst/>
                <a:gdLst>
                  <a:gd name="T0" fmla="*/ 930 w 930"/>
                  <a:gd name="T1" fmla="*/ 268 h 372"/>
                  <a:gd name="T2" fmla="*/ 855 w 930"/>
                  <a:gd name="T3" fmla="*/ 372 h 372"/>
                  <a:gd name="T4" fmla="*/ 75 w 930"/>
                  <a:gd name="T5" fmla="*/ 372 h 372"/>
                  <a:gd name="T6" fmla="*/ 0 w 930"/>
                  <a:gd name="T7" fmla="*/ 268 h 372"/>
                  <a:gd name="T8" fmla="*/ 0 w 930"/>
                  <a:gd name="T9" fmla="*/ 105 h 372"/>
                  <a:gd name="T10" fmla="*/ 75 w 930"/>
                  <a:gd name="T11" fmla="*/ 0 h 372"/>
                  <a:gd name="T12" fmla="*/ 855 w 930"/>
                  <a:gd name="T13" fmla="*/ 0 h 372"/>
                  <a:gd name="T14" fmla="*/ 930 w 930"/>
                  <a:gd name="T15" fmla="*/ 105 h 372"/>
                  <a:gd name="T16" fmla="*/ 930 w 930"/>
                  <a:gd name="T17" fmla="*/ 26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0" h="372">
                    <a:moveTo>
                      <a:pt x="930" y="268"/>
                    </a:moveTo>
                    <a:cubicBezTo>
                      <a:pt x="930" y="326"/>
                      <a:pt x="897" y="372"/>
                      <a:pt x="855" y="372"/>
                    </a:cubicBezTo>
                    <a:cubicBezTo>
                      <a:pt x="75" y="372"/>
                      <a:pt x="75" y="372"/>
                      <a:pt x="75" y="372"/>
                    </a:cubicBezTo>
                    <a:cubicBezTo>
                      <a:pt x="34" y="372"/>
                      <a:pt x="0" y="326"/>
                      <a:pt x="0" y="26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47"/>
                      <a:pt x="34" y="0"/>
                      <a:pt x="75" y="0"/>
                    </a:cubicBezTo>
                    <a:cubicBezTo>
                      <a:pt x="855" y="0"/>
                      <a:pt x="855" y="0"/>
                      <a:pt x="855" y="0"/>
                    </a:cubicBezTo>
                    <a:cubicBezTo>
                      <a:pt x="897" y="0"/>
                      <a:pt x="930" y="47"/>
                      <a:pt x="930" y="105"/>
                    </a:cubicBezTo>
                    <a:lnTo>
                      <a:pt x="930" y="268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1" name="Freeform: Shape 329">
                <a:extLst>
                  <a:ext uri="{FF2B5EF4-FFF2-40B4-BE49-F238E27FC236}">
                    <a16:creationId xmlns:a16="http://schemas.microsoft.com/office/drawing/2014/main" id="{C3CEC323-293D-4A3B-A41B-A875E2A845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1591" y="1863982"/>
                <a:ext cx="119353" cy="241619"/>
              </a:xfrm>
              <a:custGeom>
                <a:avLst/>
                <a:gdLst>
                  <a:gd name="connsiteX0" fmla="*/ 59677 w 119353"/>
                  <a:gd name="connsiteY0" fmla="*/ 189981 h 241619"/>
                  <a:gd name="connsiteX1" fmla="*/ 48173 w 119353"/>
                  <a:gd name="connsiteY1" fmla="*/ 201630 h 241619"/>
                  <a:gd name="connsiteX2" fmla="*/ 59677 w 119353"/>
                  <a:gd name="connsiteY2" fmla="*/ 213279 h 241619"/>
                  <a:gd name="connsiteX3" fmla="*/ 71181 w 119353"/>
                  <a:gd name="connsiteY3" fmla="*/ 201630 h 241619"/>
                  <a:gd name="connsiteX4" fmla="*/ 59677 w 119353"/>
                  <a:gd name="connsiteY4" fmla="*/ 189981 h 241619"/>
                  <a:gd name="connsiteX5" fmla="*/ 16765 w 119353"/>
                  <a:gd name="connsiteY5" fmla="*/ 33625 h 241619"/>
                  <a:gd name="connsiteX6" fmla="*/ 5752 w 119353"/>
                  <a:gd name="connsiteY6" fmla="*/ 44487 h 241619"/>
                  <a:gd name="connsiteX7" fmla="*/ 16765 w 119353"/>
                  <a:gd name="connsiteY7" fmla="*/ 55482 h 241619"/>
                  <a:gd name="connsiteX8" fmla="*/ 102588 w 119353"/>
                  <a:gd name="connsiteY8" fmla="*/ 55482 h 241619"/>
                  <a:gd name="connsiteX9" fmla="*/ 113601 w 119353"/>
                  <a:gd name="connsiteY9" fmla="*/ 44487 h 241619"/>
                  <a:gd name="connsiteX10" fmla="*/ 102588 w 119353"/>
                  <a:gd name="connsiteY10" fmla="*/ 33625 h 241619"/>
                  <a:gd name="connsiteX11" fmla="*/ 16765 w 119353"/>
                  <a:gd name="connsiteY11" fmla="*/ 33625 h 241619"/>
                  <a:gd name="connsiteX12" fmla="*/ 13963 w 119353"/>
                  <a:gd name="connsiteY12" fmla="*/ 0 h 241619"/>
                  <a:gd name="connsiteX13" fmla="*/ 105391 w 119353"/>
                  <a:gd name="connsiteY13" fmla="*/ 0 h 241619"/>
                  <a:gd name="connsiteX14" fmla="*/ 119353 w 119353"/>
                  <a:gd name="connsiteY14" fmla="*/ 13968 h 241619"/>
                  <a:gd name="connsiteX15" fmla="*/ 119353 w 119353"/>
                  <a:gd name="connsiteY15" fmla="*/ 227517 h 241619"/>
                  <a:gd name="connsiteX16" fmla="*/ 105391 w 119353"/>
                  <a:gd name="connsiteY16" fmla="*/ 241619 h 241619"/>
                  <a:gd name="connsiteX17" fmla="*/ 13963 w 119353"/>
                  <a:gd name="connsiteY17" fmla="*/ 241619 h 241619"/>
                  <a:gd name="connsiteX18" fmla="*/ 0 w 119353"/>
                  <a:gd name="connsiteY18" fmla="*/ 227517 h 241619"/>
                  <a:gd name="connsiteX19" fmla="*/ 0 w 119353"/>
                  <a:gd name="connsiteY19" fmla="*/ 13968 h 241619"/>
                  <a:gd name="connsiteX20" fmla="*/ 13963 w 119353"/>
                  <a:gd name="connsiteY20" fmla="*/ 0 h 24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353" h="241619">
                    <a:moveTo>
                      <a:pt x="59677" y="189981"/>
                    </a:moveTo>
                    <a:cubicBezTo>
                      <a:pt x="53324" y="189981"/>
                      <a:pt x="48173" y="195196"/>
                      <a:pt x="48173" y="201630"/>
                    </a:cubicBezTo>
                    <a:cubicBezTo>
                      <a:pt x="48173" y="208064"/>
                      <a:pt x="53324" y="213279"/>
                      <a:pt x="59677" y="213279"/>
                    </a:cubicBezTo>
                    <a:cubicBezTo>
                      <a:pt x="66030" y="213279"/>
                      <a:pt x="71181" y="208064"/>
                      <a:pt x="71181" y="201630"/>
                    </a:cubicBezTo>
                    <a:cubicBezTo>
                      <a:pt x="71181" y="195196"/>
                      <a:pt x="66030" y="189981"/>
                      <a:pt x="59677" y="189981"/>
                    </a:cubicBezTo>
                    <a:close/>
                    <a:moveTo>
                      <a:pt x="16765" y="33625"/>
                    </a:moveTo>
                    <a:cubicBezTo>
                      <a:pt x="10722" y="33625"/>
                      <a:pt x="5752" y="38452"/>
                      <a:pt x="5752" y="44487"/>
                    </a:cubicBezTo>
                    <a:cubicBezTo>
                      <a:pt x="5752" y="50521"/>
                      <a:pt x="10722" y="55482"/>
                      <a:pt x="16765" y="55482"/>
                    </a:cubicBezTo>
                    <a:cubicBezTo>
                      <a:pt x="16765" y="55482"/>
                      <a:pt x="16765" y="55482"/>
                      <a:pt x="102588" y="55482"/>
                    </a:cubicBezTo>
                    <a:cubicBezTo>
                      <a:pt x="108632" y="55482"/>
                      <a:pt x="113601" y="50521"/>
                      <a:pt x="113601" y="44487"/>
                    </a:cubicBezTo>
                    <a:cubicBezTo>
                      <a:pt x="113601" y="38452"/>
                      <a:pt x="108632" y="33625"/>
                      <a:pt x="102588" y="33625"/>
                    </a:cubicBezTo>
                    <a:cubicBezTo>
                      <a:pt x="102588" y="33625"/>
                      <a:pt x="102588" y="33625"/>
                      <a:pt x="16765" y="33625"/>
                    </a:cubicBezTo>
                    <a:close/>
                    <a:moveTo>
                      <a:pt x="13963" y="0"/>
                    </a:moveTo>
                    <a:cubicBezTo>
                      <a:pt x="105391" y="0"/>
                      <a:pt x="105391" y="0"/>
                      <a:pt x="105391" y="0"/>
                    </a:cubicBezTo>
                    <a:cubicBezTo>
                      <a:pt x="113043" y="0"/>
                      <a:pt x="119353" y="6313"/>
                      <a:pt x="119353" y="13968"/>
                    </a:cubicBezTo>
                    <a:lnTo>
                      <a:pt x="119353" y="227517"/>
                    </a:lnTo>
                    <a:cubicBezTo>
                      <a:pt x="119353" y="235307"/>
                      <a:pt x="113043" y="241619"/>
                      <a:pt x="105391" y="241619"/>
                    </a:cubicBezTo>
                    <a:cubicBezTo>
                      <a:pt x="13963" y="241619"/>
                      <a:pt x="13963" y="241619"/>
                      <a:pt x="13963" y="241619"/>
                    </a:cubicBezTo>
                    <a:cubicBezTo>
                      <a:pt x="6310" y="241619"/>
                      <a:pt x="0" y="235307"/>
                      <a:pt x="0" y="227517"/>
                    </a:cubicBezTo>
                    <a:cubicBezTo>
                      <a:pt x="0" y="13968"/>
                      <a:pt x="0" y="13968"/>
                      <a:pt x="0" y="13968"/>
                    </a:cubicBezTo>
                    <a:cubicBezTo>
                      <a:pt x="0" y="6313"/>
                      <a:pt x="6310" y="0"/>
                      <a:pt x="13963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2" name="Freeform: Shape 327">
                <a:extLst>
                  <a:ext uri="{FF2B5EF4-FFF2-40B4-BE49-F238E27FC236}">
                    <a16:creationId xmlns:a16="http://schemas.microsoft.com/office/drawing/2014/main" id="{7F643D42-333E-4294-A796-365DA3A3B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2753" y="1855816"/>
                <a:ext cx="271780" cy="205833"/>
              </a:xfrm>
              <a:custGeom>
                <a:avLst/>
                <a:gdLst>
                  <a:gd name="connsiteX0" fmla="*/ 28434 w 271780"/>
                  <a:gd name="connsiteY0" fmla="*/ 13690 h 205833"/>
                  <a:gd name="connsiteX1" fmla="*/ 17975 w 271780"/>
                  <a:gd name="connsiteY1" fmla="*/ 24164 h 205833"/>
                  <a:gd name="connsiteX2" fmla="*/ 17975 w 271780"/>
                  <a:gd name="connsiteY2" fmla="*/ 181669 h 205833"/>
                  <a:gd name="connsiteX3" fmla="*/ 28434 w 271780"/>
                  <a:gd name="connsiteY3" fmla="*/ 192142 h 205833"/>
                  <a:gd name="connsiteX4" fmla="*/ 243106 w 271780"/>
                  <a:gd name="connsiteY4" fmla="*/ 192142 h 205833"/>
                  <a:gd name="connsiteX5" fmla="*/ 253565 w 271780"/>
                  <a:gd name="connsiteY5" fmla="*/ 181669 h 205833"/>
                  <a:gd name="connsiteX6" fmla="*/ 253565 w 271780"/>
                  <a:gd name="connsiteY6" fmla="*/ 24164 h 205833"/>
                  <a:gd name="connsiteX7" fmla="*/ 243106 w 271780"/>
                  <a:gd name="connsiteY7" fmla="*/ 13690 h 205833"/>
                  <a:gd name="connsiteX8" fmla="*/ 28434 w 271780"/>
                  <a:gd name="connsiteY8" fmla="*/ 13690 h 205833"/>
                  <a:gd name="connsiteX9" fmla="*/ 12067 w 271780"/>
                  <a:gd name="connsiteY9" fmla="*/ 0 h 205833"/>
                  <a:gd name="connsiteX10" fmla="*/ 259713 w 271780"/>
                  <a:gd name="connsiteY10" fmla="*/ 0 h 205833"/>
                  <a:gd name="connsiteX11" fmla="*/ 271780 w 271780"/>
                  <a:gd name="connsiteY11" fmla="*/ 12084 h 205833"/>
                  <a:gd name="connsiteX12" fmla="*/ 271780 w 271780"/>
                  <a:gd name="connsiteY12" fmla="*/ 193883 h 205833"/>
                  <a:gd name="connsiteX13" fmla="*/ 259713 w 271780"/>
                  <a:gd name="connsiteY13" fmla="*/ 205833 h 205833"/>
                  <a:gd name="connsiteX14" fmla="*/ 12067 w 271780"/>
                  <a:gd name="connsiteY14" fmla="*/ 205833 h 205833"/>
                  <a:gd name="connsiteX15" fmla="*/ 0 w 271780"/>
                  <a:gd name="connsiteY15" fmla="*/ 193883 h 205833"/>
                  <a:gd name="connsiteX16" fmla="*/ 0 w 271780"/>
                  <a:gd name="connsiteY16" fmla="*/ 12084 h 205833"/>
                  <a:gd name="connsiteX17" fmla="*/ 12067 w 271780"/>
                  <a:gd name="connsiteY17" fmla="*/ 0 h 20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1780" h="205833">
                    <a:moveTo>
                      <a:pt x="28434" y="13690"/>
                    </a:moveTo>
                    <a:cubicBezTo>
                      <a:pt x="22668" y="13690"/>
                      <a:pt x="17975" y="18390"/>
                      <a:pt x="17975" y="24164"/>
                    </a:cubicBezTo>
                    <a:cubicBezTo>
                      <a:pt x="17975" y="24164"/>
                      <a:pt x="17975" y="24164"/>
                      <a:pt x="17975" y="181669"/>
                    </a:cubicBezTo>
                    <a:cubicBezTo>
                      <a:pt x="17975" y="187442"/>
                      <a:pt x="22668" y="192142"/>
                      <a:pt x="28434" y="192142"/>
                    </a:cubicBezTo>
                    <a:cubicBezTo>
                      <a:pt x="28434" y="192142"/>
                      <a:pt x="28434" y="192142"/>
                      <a:pt x="243106" y="192142"/>
                    </a:cubicBezTo>
                    <a:cubicBezTo>
                      <a:pt x="248872" y="192142"/>
                      <a:pt x="253565" y="187442"/>
                      <a:pt x="253565" y="181669"/>
                    </a:cubicBezTo>
                    <a:lnTo>
                      <a:pt x="253565" y="24164"/>
                    </a:lnTo>
                    <a:cubicBezTo>
                      <a:pt x="253565" y="18390"/>
                      <a:pt x="248872" y="13690"/>
                      <a:pt x="243106" y="13690"/>
                    </a:cubicBezTo>
                    <a:cubicBezTo>
                      <a:pt x="243106" y="13690"/>
                      <a:pt x="243106" y="13690"/>
                      <a:pt x="28434" y="13690"/>
                    </a:cubicBezTo>
                    <a:close/>
                    <a:moveTo>
                      <a:pt x="12067" y="0"/>
                    </a:moveTo>
                    <a:cubicBezTo>
                      <a:pt x="259713" y="0"/>
                      <a:pt x="259713" y="0"/>
                      <a:pt x="259713" y="0"/>
                    </a:cubicBezTo>
                    <a:cubicBezTo>
                      <a:pt x="266283" y="0"/>
                      <a:pt x="271780" y="5371"/>
                      <a:pt x="271780" y="12084"/>
                    </a:cubicBezTo>
                    <a:lnTo>
                      <a:pt x="271780" y="193883"/>
                    </a:lnTo>
                    <a:cubicBezTo>
                      <a:pt x="271780" y="200462"/>
                      <a:pt x="266283" y="205833"/>
                      <a:pt x="259713" y="205833"/>
                    </a:cubicBezTo>
                    <a:cubicBezTo>
                      <a:pt x="12067" y="205833"/>
                      <a:pt x="12067" y="205833"/>
                      <a:pt x="12067" y="205833"/>
                    </a:cubicBezTo>
                    <a:cubicBezTo>
                      <a:pt x="5363" y="205833"/>
                      <a:pt x="0" y="200462"/>
                      <a:pt x="0" y="193883"/>
                    </a:cubicBezTo>
                    <a:cubicBezTo>
                      <a:pt x="0" y="12084"/>
                      <a:pt x="0" y="12084"/>
                      <a:pt x="0" y="12084"/>
                    </a:cubicBezTo>
                    <a:cubicBezTo>
                      <a:pt x="0" y="5371"/>
                      <a:pt x="5363" y="0"/>
                      <a:pt x="12067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3" name="Freeform 623">
                <a:extLst>
                  <a:ext uri="{FF2B5EF4-FFF2-40B4-BE49-F238E27FC236}">
                    <a16:creationId xmlns:a16="http://schemas.microsoft.com/office/drawing/2014/main" id="{B67927C1-17A0-497C-8E80-71273FE5C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134182"/>
                <a:ext cx="300060" cy="13930"/>
              </a:xfrm>
              <a:custGeom>
                <a:avLst/>
                <a:gdLst>
                  <a:gd name="T0" fmla="*/ 2238 w 2238"/>
                  <a:gd name="T1" fmla="*/ 59 h 103"/>
                  <a:gd name="T2" fmla="*/ 2149 w 2238"/>
                  <a:gd name="T3" fmla="*/ 103 h 103"/>
                  <a:gd name="T4" fmla="*/ 90 w 2238"/>
                  <a:gd name="T5" fmla="*/ 103 h 103"/>
                  <a:gd name="T6" fmla="*/ 0 w 2238"/>
                  <a:gd name="T7" fmla="*/ 59 h 103"/>
                  <a:gd name="T8" fmla="*/ 0 w 2238"/>
                  <a:gd name="T9" fmla="*/ 44 h 103"/>
                  <a:gd name="T10" fmla="*/ 90 w 2238"/>
                  <a:gd name="T11" fmla="*/ 0 h 103"/>
                  <a:gd name="T12" fmla="*/ 2149 w 2238"/>
                  <a:gd name="T13" fmla="*/ 0 h 103"/>
                  <a:gd name="T14" fmla="*/ 2238 w 2238"/>
                  <a:gd name="T15" fmla="*/ 44 h 103"/>
                  <a:gd name="T16" fmla="*/ 2238 w 2238"/>
                  <a:gd name="T17" fmla="*/ 5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8" h="103">
                    <a:moveTo>
                      <a:pt x="2238" y="59"/>
                    </a:moveTo>
                    <a:cubicBezTo>
                      <a:pt x="2238" y="83"/>
                      <a:pt x="2198" y="103"/>
                      <a:pt x="2149" y="103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41" y="103"/>
                      <a:pt x="0" y="83"/>
                      <a:pt x="0" y="5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41" y="0"/>
                      <a:pt x="90" y="0"/>
                    </a:cubicBezTo>
                    <a:cubicBezTo>
                      <a:pt x="2149" y="0"/>
                      <a:pt x="2149" y="0"/>
                      <a:pt x="2149" y="0"/>
                    </a:cubicBezTo>
                    <a:cubicBezTo>
                      <a:pt x="2198" y="0"/>
                      <a:pt x="2238" y="20"/>
                      <a:pt x="2238" y="44"/>
                    </a:cubicBezTo>
                    <a:lnTo>
                      <a:pt x="2238" y="5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54" name="Freeform: Shape 330">
                <a:extLst>
                  <a:ext uri="{FF2B5EF4-FFF2-40B4-BE49-F238E27FC236}">
                    <a16:creationId xmlns:a16="http://schemas.microsoft.com/office/drawing/2014/main" id="{F8F5FEE9-0B3A-433A-8143-8E8B2B3FEF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092" y="2094460"/>
                <a:ext cx="300060" cy="57883"/>
              </a:xfrm>
              <a:custGeom>
                <a:avLst/>
                <a:gdLst>
                  <a:gd name="connsiteX0" fmla="*/ 39626 w 300060"/>
                  <a:gd name="connsiteY0" fmla="*/ 6725 h 57883"/>
                  <a:gd name="connsiteX1" fmla="*/ 28900 w 300060"/>
                  <a:gd name="connsiteY1" fmla="*/ 9276 h 57883"/>
                  <a:gd name="connsiteX2" fmla="*/ 16298 w 300060"/>
                  <a:gd name="connsiteY2" fmla="*/ 47406 h 57883"/>
                  <a:gd name="connsiteX3" fmla="*/ 27024 w 300060"/>
                  <a:gd name="connsiteY3" fmla="*/ 49957 h 57883"/>
                  <a:gd name="connsiteX4" fmla="*/ 273038 w 300060"/>
                  <a:gd name="connsiteY4" fmla="*/ 49957 h 57883"/>
                  <a:gd name="connsiteX5" fmla="*/ 283763 w 300060"/>
                  <a:gd name="connsiteY5" fmla="*/ 47406 h 57883"/>
                  <a:gd name="connsiteX6" fmla="*/ 271161 w 300060"/>
                  <a:gd name="connsiteY6" fmla="*/ 9276 h 57883"/>
                  <a:gd name="connsiteX7" fmla="*/ 260435 w 300060"/>
                  <a:gd name="connsiteY7" fmla="*/ 6725 h 57883"/>
                  <a:gd name="connsiteX8" fmla="*/ 39626 w 300060"/>
                  <a:gd name="connsiteY8" fmla="*/ 6725 h 57883"/>
                  <a:gd name="connsiteX9" fmla="*/ 26279 w 300060"/>
                  <a:gd name="connsiteY9" fmla="*/ 0 h 57883"/>
                  <a:gd name="connsiteX10" fmla="*/ 273916 w 300060"/>
                  <a:gd name="connsiteY10" fmla="*/ 0 h 57883"/>
                  <a:gd name="connsiteX11" fmla="*/ 285982 w 300060"/>
                  <a:gd name="connsiteY11" fmla="*/ 3365 h 57883"/>
                  <a:gd name="connsiteX12" fmla="*/ 300060 w 300060"/>
                  <a:gd name="connsiteY12" fmla="*/ 54518 h 57883"/>
                  <a:gd name="connsiteX13" fmla="*/ 288127 w 300060"/>
                  <a:gd name="connsiteY13" fmla="*/ 57883 h 57883"/>
                  <a:gd name="connsiteX14" fmla="*/ 12067 w 300060"/>
                  <a:gd name="connsiteY14" fmla="*/ 57883 h 57883"/>
                  <a:gd name="connsiteX15" fmla="*/ 0 w 300060"/>
                  <a:gd name="connsiteY15" fmla="*/ 54518 h 57883"/>
                  <a:gd name="connsiteX16" fmla="*/ 14212 w 300060"/>
                  <a:gd name="connsiteY16" fmla="*/ 3365 h 57883"/>
                  <a:gd name="connsiteX17" fmla="*/ 26279 w 300060"/>
                  <a:gd name="connsiteY17" fmla="*/ 0 h 57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060" h="57883">
                    <a:moveTo>
                      <a:pt x="39626" y="6725"/>
                    </a:moveTo>
                    <a:cubicBezTo>
                      <a:pt x="33727" y="6725"/>
                      <a:pt x="28900" y="7799"/>
                      <a:pt x="28900" y="9276"/>
                    </a:cubicBezTo>
                    <a:cubicBezTo>
                      <a:pt x="28900" y="9276"/>
                      <a:pt x="28900" y="9276"/>
                      <a:pt x="16298" y="47406"/>
                    </a:cubicBezTo>
                    <a:cubicBezTo>
                      <a:pt x="16298" y="48883"/>
                      <a:pt x="21125" y="49957"/>
                      <a:pt x="27024" y="49957"/>
                    </a:cubicBezTo>
                    <a:cubicBezTo>
                      <a:pt x="27024" y="49957"/>
                      <a:pt x="27024" y="49957"/>
                      <a:pt x="273038" y="49957"/>
                    </a:cubicBezTo>
                    <a:cubicBezTo>
                      <a:pt x="278937" y="49957"/>
                      <a:pt x="283763" y="48883"/>
                      <a:pt x="283763" y="47406"/>
                    </a:cubicBezTo>
                    <a:lnTo>
                      <a:pt x="271161" y="9276"/>
                    </a:lnTo>
                    <a:cubicBezTo>
                      <a:pt x="271161" y="7799"/>
                      <a:pt x="266334" y="6725"/>
                      <a:pt x="260435" y="6725"/>
                    </a:cubicBezTo>
                    <a:cubicBezTo>
                      <a:pt x="260435" y="6725"/>
                      <a:pt x="260435" y="6725"/>
                      <a:pt x="39626" y="6725"/>
                    </a:cubicBezTo>
                    <a:close/>
                    <a:moveTo>
                      <a:pt x="26279" y="0"/>
                    </a:moveTo>
                    <a:cubicBezTo>
                      <a:pt x="273916" y="0"/>
                      <a:pt x="273916" y="0"/>
                      <a:pt x="273916" y="0"/>
                    </a:cubicBezTo>
                    <a:cubicBezTo>
                      <a:pt x="280619" y="0"/>
                      <a:pt x="285982" y="1481"/>
                      <a:pt x="285982" y="3365"/>
                    </a:cubicBezTo>
                    <a:lnTo>
                      <a:pt x="300060" y="54518"/>
                    </a:lnTo>
                    <a:cubicBezTo>
                      <a:pt x="300060" y="56402"/>
                      <a:pt x="294697" y="57883"/>
                      <a:pt x="288127" y="57883"/>
                    </a:cubicBezTo>
                    <a:cubicBezTo>
                      <a:pt x="12067" y="57883"/>
                      <a:pt x="12067" y="57883"/>
                      <a:pt x="12067" y="57883"/>
                    </a:cubicBezTo>
                    <a:cubicBezTo>
                      <a:pt x="5497" y="57883"/>
                      <a:pt x="0" y="56402"/>
                      <a:pt x="0" y="54518"/>
                    </a:cubicBezTo>
                    <a:cubicBezTo>
                      <a:pt x="14212" y="3365"/>
                      <a:pt x="14212" y="3365"/>
                      <a:pt x="14212" y="3365"/>
                    </a:cubicBezTo>
                    <a:cubicBezTo>
                      <a:pt x="14212" y="1481"/>
                      <a:pt x="19575" y="0"/>
                      <a:pt x="2627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99F2DDE-F08B-4EB4-9B85-516A652FDCA6}"/>
                </a:ext>
              </a:extLst>
            </p:cNvPr>
            <p:cNvGrpSpPr/>
            <p:nvPr/>
          </p:nvGrpSpPr>
          <p:grpSpPr>
            <a:xfrm>
              <a:off x="2547419" y="2669797"/>
              <a:ext cx="200754" cy="251135"/>
              <a:chOff x="2502880" y="2960980"/>
              <a:chExt cx="187583" cy="234659"/>
            </a:xfrm>
            <a:solidFill>
              <a:schemeClr val="bg1">
                <a:lumMod val="95000"/>
                <a:alpha val="39000"/>
              </a:schemeClr>
            </a:solidFill>
          </p:grpSpPr>
          <p:grpSp>
            <p:nvGrpSpPr>
              <p:cNvPr id="306" name="Gruppieren 907">
                <a:extLst>
                  <a:ext uri="{FF2B5EF4-FFF2-40B4-BE49-F238E27FC236}">
                    <a16:creationId xmlns:a16="http://schemas.microsoft.com/office/drawing/2014/main" id="{E992A2EC-308D-490C-A435-7473C9D1A488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502880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329" name="Abgerundetes Rechteck 908">
                  <a:extLst>
                    <a:ext uri="{FF2B5EF4-FFF2-40B4-BE49-F238E27FC236}">
                      <a16:creationId xmlns:a16="http://schemas.microsoft.com/office/drawing/2014/main" id="{30BB4086-5A71-48FF-8ADE-34C52430DA98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330" name="Gruppieren 909">
                  <a:extLst>
                    <a:ext uri="{FF2B5EF4-FFF2-40B4-BE49-F238E27FC236}">
                      <a16:creationId xmlns:a16="http://schemas.microsoft.com/office/drawing/2014/main" id="{B2FD5241-7DF3-459E-A05B-A77433AF876A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348" name="Freeform 668">
                    <a:extLst>
                      <a:ext uri="{FF2B5EF4-FFF2-40B4-BE49-F238E27FC236}">
                        <a16:creationId xmlns:a16="http://schemas.microsoft.com/office/drawing/2014/main" id="{754190F0-F131-459F-BDF0-A0B4735CC6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9" name="Freeform 669">
                    <a:extLst>
                      <a:ext uri="{FF2B5EF4-FFF2-40B4-BE49-F238E27FC236}">
                        <a16:creationId xmlns:a16="http://schemas.microsoft.com/office/drawing/2014/main" id="{5D15F54F-B839-45FE-8664-5D55D39D7B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331" name="Gruppieren 910">
                  <a:extLst>
                    <a:ext uri="{FF2B5EF4-FFF2-40B4-BE49-F238E27FC236}">
                      <a16:creationId xmlns:a16="http://schemas.microsoft.com/office/drawing/2014/main" id="{0BF81806-FAB6-4BC8-A3A1-7B983AB59A96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332" name="Abgerundetes Rechteck 911">
                    <a:extLst>
                      <a:ext uri="{FF2B5EF4-FFF2-40B4-BE49-F238E27FC236}">
                        <a16:creationId xmlns:a16="http://schemas.microsoft.com/office/drawing/2014/main" id="{C38A7AE0-35FD-4746-89F7-C04CC6BB394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3" name="Rectangle 332">
                    <a:extLst>
                      <a:ext uri="{FF2B5EF4-FFF2-40B4-BE49-F238E27FC236}">
                        <a16:creationId xmlns:a16="http://schemas.microsoft.com/office/drawing/2014/main" id="{D2076FB3-D03A-4B07-BE6D-73FFCD35C9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4" name="Rectangle 333">
                    <a:extLst>
                      <a:ext uri="{FF2B5EF4-FFF2-40B4-BE49-F238E27FC236}">
                        <a16:creationId xmlns:a16="http://schemas.microsoft.com/office/drawing/2014/main" id="{0920DEBB-8A43-4EE9-A7E8-45185CA4E0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5" name="Rectangle 334">
                    <a:extLst>
                      <a:ext uri="{FF2B5EF4-FFF2-40B4-BE49-F238E27FC236}">
                        <a16:creationId xmlns:a16="http://schemas.microsoft.com/office/drawing/2014/main" id="{060F7C6C-D603-404E-A011-D790A1FFAB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6" name="Rectangle 335">
                    <a:extLst>
                      <a:ext uri="{FF2B5EF4-FFF2-40B4-BE49-F238E27FC236}">
                        <a16:creationId xmlns:a16="http://schemas.microsoft.com/office/drawing/2014/main" id="{5017EA70-D09B-42AF-8F05-1E6043B9BFB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7" name="Rectangle 336">
                    <a:extLst>
                      <a:ext uri="{FF2B5EF4-FFF2-40B4-BE49-F238E27FC236}">
                        <a16:creationId xmlns:a16="http://schemas.microsoft.com/office/drawing/2014/main" id="{ABB481F5-6482-49E1-9173-3D467D49C5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8" name="Rectangle 337">
                    <a:extLst>
                      <a:ext uri="{FF2B5EF4-FFF2-40B4-BE49-F238E27FC236}">
                        <a16:creationId xmlns:a16="http://schemas.microsoft.com/office/drawing/2014/main" id="{4EF5D306-4E5B-4FAC-BD1C-DA73E429139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39" name="Rectangle 338">
                    <a:extLst>
                      <a:ext uri="{FF2B5EF4-FFF2-40B4-BE49-F238E27FC236}">
                        <a16:creationId xmlns:a16="http://schemas.microsoft.com/office/drawing/2014/main" id="{60538834-60D1-4B3A-85E9-88A3200FAB0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0" name="Rectangle 339">
                    <a:extLst>
                      <a:ext uri="{FF2B5EF4-FFF2-40B4-BE49-F238E27FC236}">
                        <a16:creationId xmlns:a16="http://schemas.microsoft.com/office/drawing/2014/main" id="{1DF0BB94-CB46-49B3-BF4B-545EFBFB4F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1" name="Rectangle 340">
                    <a:extLst>
                      <a:ext uri="{FF2B5EF4-FFF2-40B4-BE49-F238E27FC236}">
                        <a16:creationId xmlns:a16="http://schemas.microsoft.com/office/drawing/2014/main" id="{201477A6-386D-4EF1-AEE7-D1B8F8EBB23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2" name="Rectangle 341">
                    <a:extLst>
                      <a:ext uri="{FF2B5EF4-FFF2-40B4-BE49-F238E27FC236}">
                        <a16:creationId xmlns:a16="http://schemas.microsoft.com/office/drawing/2014/main" id="{9BA77809-DEDD-446C-92AD-D6D4C8A951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3" name="Rectangle 342">
                    <a:extLst>
                      <a:ext uri="{FF2B5EF4-FFF2-40B4-BE49-F238E27FC236}">
                        <a16:creationId xmlns:a16="http://schemas.microsoft.com/office/drawing/2014/main" id="{E6522FF3-A37E-449E-A754-FCBD4441C84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4" name="Rectangle 343">
                    <a:extLst>
                      <a:ext uri="{FF2B5EF4-FFF2-40B4-BE49-F238E27FC236}">
                        <a16:creationId xmlns:a16="http://schemas.microsoft.com/office/drawing/2014/main" id="{2953E4DF-4511-44F6-B862-D4C97EA2FAF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5" name="Rectangle 344">
                    <a:extLst>
                      <a:ext uri="{FF2B5EF4-FFF2-40B4-BE49-F238E27FC236}">
                        <a16:creationId xmlns:a16="http://schemas.microsoft.com/office/drawing/2014/main" id="{F62AB3EC-5C94-4E03-8E28-189ED022211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6" name="Rectangle 345">
                    <a:extLst>
                      <a:ext uri="{FF2B5EF4-FFF2-40B4-BE49-F238E27FC236}">
                        <a16:creationId xmlns:a16="http://schemas.microsoft.com/office/drawing/2014/main" id="{8C75E997-0262-4932-A080-50144BBA948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47" name="Rectangle 346">
                    <a:extLst>
                      <a:ext uri="{FF2B5EF4-FFF2-40B4-BE49-F238E27FC236}">
                        <a16:creationId xmlns:a16="http://schemas.microsoft.com/office/drawing/2014/main" id="{3ECF79EF-7DF0-4D7C-88CA-094C0348F7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307" name="Gruppieren 907">
                <a:extLst>
                  <a:ext uri="{FF2B5EF4-FFF2-40B4-BE49-F238E27FC236}">
                    <a16:creationId xmlns:a16="http://schemas.microsoft.com/office/drawing/2014/main" id="{DE2A3E8E-F1A4-4588-8A15-313E0670F556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602006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308" name="Abgerundetes Rechteck 908">
                  <a:extLst>
                    <a:ext uri="{FF2B5EF4-FFF2-40B4-BE49-F238E27FC236}">
                      <a16:creationId xmlns:a16="http://schemas.microsoft.com/office/drawing/2014/main" id="{E269F92E-E908-4FE2-9E34-9800E67FE2C6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309" name="Gruppieren 909">
                  <a:extLst>
                    <a:ext uri="{FF2B5EF4-FFF2-40B4-BE49-F238E27FC236}">
                      <a16:creationId xmlns:a16="http://schemas.microsoft.com/office/drawing/2014/main" id="{1DEBCC30-2BDA-4BE0-9C34-9AF4B97961A7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327" name="Freeform 647">
                    <a:extLst>
                      <a:ext uri="{FF2B5EF4-FFF2-40B4-BE49-F238E27FC236}">
                        <a16:creationId xmlns:a16="http://schemas.microsoft.com/office/drawing/2014/main" id="{A1EB0A1E-9052-405B-AA16-DC7FEA23DE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8" name="Freeform 648">
                    <a:extLst>
                      <a:ext uri="{FF2B5EF4-FFF2-40B4-BE49-F238E27FC236}">
                        <a16:creationId xmlns:a16="http://schemas.microsoft.com/office/drawing/2014/main" id="{AEDB19FB-CA19-4B64-A2EE-52083D919D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310" name="Gruppieren 910">
                  <a:extLst>
                    <a:ext uri="{FF2B5EF4-FFF2-40B4-BE49-F238E27FC236}">
                      <a16:creationId xmlns:a16="http://schemas.microsoft.com/office/drawing/2014/main" id="{A6066DD2-4169-4D5D-82D1-65FEFBD30F93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311" name="Abgerundetes Rechteck 911">
                    <a:extLst>
                      <a:ext uri="{FF2B5EF4-FFF2-40B4-BE49-F238E27FC236}">
                        <a16:creationId xmlns:a16="http://schemas.microsoft.com/office/drawing/2014/main" id="{871D5881-E708-4052-B876-9B709BC2E4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2" name="Rectangle 311">
                    <a:extLst>
                      <a:ext uri="{FF2B5EF4-FFF2-40B4-BE49-F238E27FC236}">
                        <a16:creationId xmlns:a16="http://schemas.microsoft.com/office/drawing/2014/main" id="{1DE20C1E-06A5-4A19-B0D6-4370CCB1AE5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3" name="Rectangle 312">
                    <a:extLst>
                      <a:ext uri="{FF2B5EF4-FFF2-40B4-BE49-F238E27FC236}">
                        <a16:creationId xmlns:a16="http://schemas.microsoft.com/office/drawing/2014/main" id="{94CA5EAD-BDAD-41C8-A1B8-06957A4FDF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4" name="Rectangle 313">
                    <a:extLst>
                      <a:ext uri="{FF2B5EF4-FFF2-40B4-BE49-F238E27FC236}">
                        <a16:creationId xmlns:a16="http://schemas.microsoft.com/office/drawing/2014/main" id="{49BE8B7B-E76C-4BC7-818F-80CF905F4D5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5" name="Rectangle 314">
                    <a:extLst>
                      <a:ext uri="{FF2B5EF4-FFF2-40B4-BE49-F238E27FC236}">
                        <a16:creationId xmlns:a16="http://schemas.microsoft.com/office/drawing/2014/main" id="{84B4AC8A-9862-4AA5-981C-52A52CE942A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6" name="Rectangle 315">
                    <a:extLst>
                      <a:ext uri="{FF2B5EF4-FFF2-40B4-BE49-F238E27FC236}">
                        <a16:creationId xmlns:a16="http://schemas.microsoft.com/office/drawing/2014/main" id="{C68D6E5C-084C-4A43-9A03-CBE0B45243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7" name="Rectangle 316">
                    <a:extLst>
                      <a:ext uri="{FF2B5EF4-FFF2-40B4-BE49-F238E27FC236}">
                        <a16:creationId xmlns:a16="http://schemas.microsoft.com/office/drawing/2014/main" id="{50971EEF-3E57-44E4-B901-4F3CB0DC3C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8" name="Rectangle 317">
                    <a:extLst>
                      <a:ext uri="{FF2B5EF4-FFF2-40B4-BE49-F238E27FC236}">
                        <a16:creationId xmlns:a16="http://schemas.microsoft.com/office/drawing/2014/main" id="{464DA020-EA1B-40E9-A1B2-6BDFF412BCB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19" name="Rectangle 318">
                    <a:extLst>
                      <a:ext uri="{FF2B5EF4-FFF2-40B4-BE49-F238E27FC236}">
                        <a16:creationId xmlns:a16="http://schemas.microsoft.com/office/drawing/2014/main" id="{13B00F47-F943-448E-8B47-0A12CA472E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0" name="Rectangle 319">
                    <a:extLst>
                      <a:ext uri="{FF2B5EF4-FFF2-40B4-BE49-F238E27FC236}">
                        <a16:creationId xmlns:a16="http://schemas.microsoft.com/office/drawing/2014/main" id="{86E45F8C-5723-492A-98AD-70D07432C36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1" name="Rectangle 320">
                    <a:extLst>
                      <a:ext uri="{FF2B5EF4-FFF2-40B4-BE49-F238E27FC236}">
                        <a16:creationId xmlns:a16="http://schemas.microsoft.com/office/drawing/2014/main" id="{F3F6B270-5DEC-44E1-A46B-ABACBECFD0A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2" name="Rectangle 321">
                    <a:extLst>
                      <a:ext uri="{FF2B5EF4-FFF2-40B4-BE49-F238E27FC236}">
                        <a16:creationId xmlns:a16="http://schemas.microsoft.com/office/drawing/2014/main" id="{B188DA2F-AB75-4010-8E46-8A7D32C53D1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3" name="Rectangle 322">
                    <a:extLst>
                      <a:ext uri="{FF2B5EF4-FFF2-40B4-BE49-F238E27FC236}">
                        <a16:creationId xmlns:a16="http://schemas.microsoft.com/office/drawing/2014/main" id="{00AFBCBF-1C91-4478-BC83-C736B63392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4" name="Rectangle 323">
                    <a:extLst>
                      <a:ext uri="{FF2B5EF4-FFF2-40B4-BE49-F238E27FC236}">
                        <a16:creationId xmlns:a16="http://schemas.microsoft.com/office/drawing/2014/main" id="{AA72D2EA-C57F-4999-A87B-F35DD5EC5A3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5" name="Rectangle 324">
                    <a:extLst>
                      <a:ext uri="{FF2B5EF4-FFF2-40B4-BE49-F238E27FC236}">
                        <a16:creationId xmlns:a16="http://schemas.microsoft.com/office/drawing/2014/main" id="{13263BFB-7B6B-4FF1-A9E3-3AD002B2145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326" name="Rectangle 325">
                    <a:extLst>
                      <a:ext uri="{FF2B5EF4-FFF2-40B4-BE49-F238E27FC236}">
                        <a16:creationId xmlns:a16="http://schemas.microsoft.com/office/drawing/2014/main" id="{E89F5BA9-A19C-4EEC-94B5-EC63347E207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86AADE-66A6-4E7C-AF09-3A863BA83F00}"/>
                </a:ext>
              </a:extLst>
            </p:cNvPr>
            <p:cNvSpPr/>
            <p:nvPr/>
          </p:nvSpPr>
          <p:spPr bwMode="gray">
            <a:xfrm>
              <a:off x="2455157" y="2471461"/>
              <a:ext cx="385276" cy="65422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sp>
          <p:nvSpPr>
            <p:cNvPr id="12" name="TextBox 179">
              <a:extLst>
                <a:ext uri="{FF2B5EF4-FFF2-40B4-BE49-F238E27FC236}">
                  <a16:creationId xmlns:a16="http://schemas.microsoft.com/office/drawing/2014/main" id="{ACBEA92A-3262-492F-9F9B-3CB34A403D6E}"/>
                </a:ext>
              </a:extLst>
            </p:cNvPr>
            <p:cNvSpPr txBox="1"/>
            <p:nvPr/>
          </p:nvSpPr>
          <p:spPr bwMode="gray">
            <a:xfrm>
              <a:off x="2433582" y="2302348"/>
              <a:ext cx="443847" cy="15710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kytree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A410961-94F8-4E29-B29C-A7E48CF17FB3}"/>
                </a:ext>
              </a:extLst>
            </p:cNvPr>
            <p:cNvSpPr/>
            <p:nvPr/>
          </p:nvSpPr>
          <p:spPr bwMode="gray">
            <a:xfrm>
              <a:off x="985889" y="3178101"/>
              <a:ext cx="3103089" cy="1298065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14" name="Gruppieren 907">
              <a:extLst>
                <a:ext uri="{FF2B5EF4-FFF2-40B4-BE49-F238E27FC236}">
                  <a16:creationId xmlns:a16="http://schemas.microsoft.com/office/drawing/2014/main" id="{A43E4F5B-F11C-4A94-BE41-F00D5C23AEE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403450" y="381163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85" name="Abgerundetes Rechteck 908">
                <a:extLst>
                  <a:ext uri="{FF2B5EF4-FFF2-40B4-BE49-F238E27FC236}">
                    <a16:creationId xmlns:a16="http://schemas.microsoft.com/office/drawing/2014/main" id="{43CFAD05-D64C-4411-82DA-0E72CEC37BB2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86" name="Gruppieren 909">
                <a:extLst>
                  <a:ext uri="{FF2B5EF4-FFF2-40B4-BE49-F238E27FC236}">
                    <a16:creationId xmlns:a16="http://schemas.microsoft.com/office/drawing/2014/main" id="{396F8AA0-BDF8-4DBA-84E9-223ED050BEEE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04" name="Freeform 693">
                  <a:extLst>
                    <a:ext uri="{FF2B5EF4-FFF2-40B4-BE49-F238E27FC236}">
                      <a16:creationId xmlns:a16="http://schemas.microsoft.com/office/drawing/2014/main" id="{1E68EA90-ED01-49F1-B286-51ED64BE4F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5" name="Freeform 694">
                  <a:extLst>
                    <a:ext uri="{FF2B5EF4-FFF2-40B4-BE49-F238E27FC236}">
                      <a16:creationId xmlns:a16="http://schemas.microsoft.com/office/drawing/2014/main" id="{95EF0684-1674-4E47-A758-F90BC33A49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87" name="Gruppieren 910">
                <a:extLst>
                  <a:ext uri="{FF2B5EF4-FFF2-40B4-BE49-F238E27FC236}">
                    <a16:creationId xmlns:a16="http://schemas.microsoft.com/office/drawing/2014/main" id="{5C6C42DA-9986-424D-BF29-5E09C4176482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88" name="Abgerundetes Rechteck 911">
                  <a:extLst>
                    <a:ext uri="{FF2B5EF4-FFF2-40B4-BE49-F238E27FC236}">
                      <a16:creationId xmlns:a16="http://schemas.microsoft.com/office/drawing/2014/main" id="{05E1CBDC-3049-4BC5-BD4D-CA08F694BCA4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9" name="Rectangle 288">
                  <a:extLst>
                    <a:ext uri="{FF2B5EF4-FFF2-40B4-BE49-F238E27FC236}">
                      <a16:creationId xmlns:a16="http://schemas.microsoft.com/office/drawing/2014/main" id="{557E4078-8DB1-4972-A8B0-2F894C2C90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0" name="Rectangle 289">
                  <a:extLst>
                    <a:ext uri="{FF2B5EF4-FFF2-40B4-BE49-F238E27FC236}">
                      <a16:creationId xmlns:a16="http://schemas.microsoft.com/office/drawing/2014/main" id="{3D729086-323D-4CE3-A1B5-1DCE157FEF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1" name="Rectangle 290">
                  <a:extLst>
                    <a:ext uri="{FF2B5EF4-FFF2-40B4-BE49-F238E27FC236}">
                      <a16:creationId xmlns:a16="http://schemas.microsoft.com/office/drawing/2014/main" id="{38B14DE8-9DCC-406E-9A98-46DAC40C2E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2" name="Rectangle 291">
                  <a:extLst>
                    <a:ext uri="{FF2B5EF4-FFF2-40B4-BE49-F238E27FC236}">
                      <a16:creationId xmlns:a16="http://schemas.microsoft.com/office/drawing/2014/main" id="{EC59D072-92B5-4288-BACC-E0EF07EC7B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3" name="Rectangle 292">
                  <a:extLst>
                    <a:ext uri="{FF2B5EF4-FFF2-40B4-BE49-F238E27FC236}">
                      <a16:creationId xmlns:a16="http://schemas.microsoft.com/office/drawing/2014/main" id="{16150DCD-C77A-44ED-B47A-84C95DEE9D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4" name="Rectangle 293">
                  <a:extLst>
                    <a:ext uri="{FF2B5EF4-FFF2-40B4-BE49-F238E27FC236}">
                      <a16:creationId xmlns:a16="http://schemas.microsoft.com/office/drawing/2014/main" id="{94912203-D7B9-4F0C-89AE-1D3D7C6EF1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5" name="Rectangle 294">
                  <a:extLst>
                    <a:ext uri="{FF2B5EF4-FFF2-40B4-BE49-F238E27FC236}">
                      <a16:creationId xmlns:a16="http://schemas.microsoft.com/office/drawing/2014/main" id="{FF374C5C-5478-408E-B263-110F988784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6" name="Rectangle 295">
                  <a:extLst>
                    <a:ext uri="{FF2B5EF4-FFF2-40B4-BE49-F238E27FC236}">
                      <a16:creationId xmlns:a16="http://schemas.microsoft.com/office/drawing/2014/main" id="{98F2FC4E-2217-43C3-A229-8924ADC335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7" name="Rectangle 296">
                  <a:extLst>
                    <a:ext uri="{FF2B5EF4-FFF2-40B4-BE49-F238E27FC236}">
                      <a16:creationId xmlns:a16="http://schemas.microsoft.com/office/drawing/2014/main" id="{62D20C78-834B-462F-BAA3-D1B4EB2F33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8" name="Rectangle 297">
                  <a:extLst>
                    <a:ext uri="{FF2B5EF4-FFF2-40B4-BE49-F238E27FC236}">
                      <a16:creationId xmlns:a16="http://schemas.microsoft.com/office/drawing/2014/main" id="{B92B56F3-1C77-4D4E-92A0-5BFC06A954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9" name="Rectangle 298">
                  <a:extLst>
                    <a:ext uri="{FF2B5EF4-FFF2-40B4-BE49-F238E27FC236}">
                      <a16:creationId xmlns:a16="http://schemas.microsoft.com/office/drawing/2014/main" id="{44B26386-077D-4C11-BB37-F24A1C56B0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0" name="Rectangle 299">
                  <a:extLst>
                    <a:ext uri="{FF2B5EF4-FFF2-40B4-BE49-F238E27FC236}">
                      <a16:creationId xmlns:a16="http://schemas.microsoft.com/office/drawing/2014/main" id="{A81A3E47-1D69-4A13-8A0A-93B5A93210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1" name="Rectangle 300">
                  <a:extLst>
                    <a:ext uri="{FF2B5EF4-FFF2-40B4-BE49-F238E27FC236}">
                      <a16:creationId xmlns:a16="http://schemas.microsoft.com/office/drawing/2014/main" id="{28ED6D5D-C070-4E3E-8CC2-2073BA55FF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2" name="Rectangle 301">
                  <a:extLst>
                    <a:ext uri="{FF2B5EF4-FFF2-40B4-BE49-F238E27FC236}">
                      <a16:creationId xmlns:a16="http://schemas.microsoft.com/office/drawing/2014/main" id="{DE549091-2C30-4AC5-93AE-261B87D68B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03" name="Rectangle 302">
                  <a:extLst>
                    <a:ext uri="{FF2B5EF4-FFF2-40B4-BE49-F238E27FC236}">
                      <a16:creationId xmlns:a16="http://schemas.microsoft.com/office/drawing/2014/main" id="{90930206-6FEC-4FD4-9C52-3455DD1F4C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5" name="Gruppieren 907">
              <a:extLst>
                <a:ext uri="{FF2B5EF4-FFF2-40B4-BE49-F238E27FC236}">
                  <a16:creationId xmlns:a16="http://schemas.microsoft.com/office/drawing/2014/main" id="{05478884-160C-419B-81A0-3951B4EA9D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427529" y="336150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64" name="Abgerundetes Rechteck 908">
                <a:extLst>
                  <a:ext uri="{FF2B5EF4-FFF2-40B4-BE49-F238E27FC236}">
                    <a16:creationId xmlns:a16="http://schemas.microsoft.com/office/drawing/2014/main" id="{F9126B0A-B3B2-4D06-8A77-E75714AB2827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65" name="Gruppieren 909">
                <a:extLst>
                  <a:ext uri="{FF2B5EF4-FFF2-40B4-BE49-F238E27FC236}">
                    <a16:creationId xmlns:a16="http://schemas.microsoft.com/office/drawing/2014/main" id="{8711DBEB-140F-41FD-B9EB-0DDD39C6C44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83" name="Freeform 715">
                  <a:extLst>
                    <a:ext uri="{FF2B5EF4-FFF2-40B4-BE49-F238E27FC236}">
                      <a16:creationId xmlns:a16="http://schemas.microsoft.com/office/drawing/2014/main" id="{D7F601B9-AE17-4090-AE52-21CE218E21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4" name="Freeform 716">
                  <a:extLst>
                    <a:ext uri="{FF2B5EF4-FFF2-40B4-BE49-F238E27FC236}">
                      <a16:creationId xmlns:a16="http://schemas.microsoft.com/office/drawing/2014/main" id="{3DD060F3-E1AB-4763-942B-632545D1D4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66" name="Gruppieren 910">
                <a:extLst>
                  <a:ext uri="{FF2B5EF4-FFF2-40B4-BE49-F238E27FC236}">
                    <a16:creationId xmlns:a16="http://schemas.microsoft.com/office/drawing/2014/main" id="{96B11A7B-A9B2-4331-90B5-4EE07782F65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67" name="Abgerundetes Rechteck 911">
                  <a:extLst>
                    <a:ext uri="{FF2B5EF4-FFF2-40B4-BE49-F238E27FC236}">
                      <a16:creationId xmlns:a16="http://schemas.microsoft.com/office/drawing/2014/main" id="{ED9D659D-99C0-46FC-BBFB-75EE1C568A1C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8" name="Rectangle 267">
                  <a:extLst>
                    <a:ext uri="{FF2B5EF4-FFF2-40B4-BE49-F238E27FC236}">
                      <a16:creationId xmlns:a16="http://schemas.microsoft.com/office/drawing/2014/main" id="{ABA3781D-17E5-4C24-9BE9-6C06816964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2EF73E0A-5B7A-4F48-8CEB-3B8B46CE99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0" name="Rectangle 269">
                  <a:extLst>
                    <a:ext uri="{FF2B5EF4-FFF2-40B4-BE49-F238E27FC236}">
                      <a16:creationId xmlns:a16="http://schemas.microsoft.com/office/drawing/2014/main" id="{9CE6E499-616A-4EC5-BCEB-68AB025D4C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1" name="Rectangle 270">
                  <a:extLst>
                    <a:ext uri="{FF2B5EF4-FFF2-40B4-BE49-F238E27FC236}">
                      <a16:creationId xmlns:a16="http://schemas.microsoft.com/office/drawing/2014/main" id="{E786E6B6-1D40-4DFB-829C-088C12E498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2" name="Rectangle 271">
                  <a:extLst>
                    <a:ext uri="{FF2B5EF4-FFF2-40B4-BE49-F238E27FC236}">
                      <a16:creationId xmlns:a16="http://schemas.microsoft.com/office/drawing/2014/main" id="{12FBE122-B3E3-4039-A083-0371C68E3B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DF4C2245-893F-4062-83D8-0FB4868707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D370D2E0-0995-45E6-ACFE-663E7FA544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5" name="Rectangle 274">
                  <a:extLst>
                    <a:ext uri="{FF2B5EF4-FFF2-40B4-BE49-F238E27FC236}">
                      <a16:creationId xmlns:a16="http://schemas.microsoft.com/office/drawing/2014/main" id="{97E03C37-BA0C-434E-962A-C5D4A783A9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6" name="Rectangle 275">
                  <a:extLst>
                    <a:ext uri="{FF2B5EF4-FFF2-40B4-BE49-F238E27FC236}">
                      <a16:creationId xmlns:a16="http://schemas.microsoft.com/office/drawing/2014/main" id="{AE8A3A23-6032-4E2D-930F-E7EED4E5C2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7" name="Rectangle 276">
                  <a:extLst>
                    <a:ext uri="{FF2B5EF4-FFF2-40B4-BE49-F238E27FC236}">
                      <a16:creationId xmlns:a16="http://schemas.microsoft.com/office/drawing/2014/main" id="{F7DED7F5-D7A5-49D2-9EDD-DB00F5284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7D288892-4204-4800-9A11-9E35EB1A3D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1AD0CEA2-3FB4-4B8D-B940-6A258A90C4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0" name="Rectangle 279">
                  <a:extLst>
                    <a:ext uri="{FF2B5EF4-FFF2-40B4-BE49-F238E27FC236}">
                      <a16:creationId xmlns:a16="http://schemas.microsoft.com/office/drawing/2014/main" id="{8C738806-211E-4614-A81B-EB259517A6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1" name="Rectangle 280">
                  <a:extLst>
                    <a:ext uri="{FF2B5EF4-FFF2-40B4-BE49-F238E27FC236}">
                      <a16:creationId xmlns:a16="http://schemas.microsoft.com/office/drawing/2014/main" id="{D51B184C-DD45-4C99-993C-2883366E3F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2" name="Rectangle 281">
                  <a:extLst>
                    <a:ext uri="{FF2B5EF4-FFF2-40B4-BE49-F238E27FC236}">
                      <a16:creationId xmlns:a16="http://schemas.microsoft.com/office/drawing/2014/main" id="{7EB65D72-60F4-4DB2-8E13-8A5885EC01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6" name="Gruppieren 907">
              <a:extLst>
                <a:ext uri="{FF2B5EF4-FFF2-40B4-BE49-F238E27FC236}">
                  <a16:creationId xmlns:a16="http://schemas.microsoft.com/office/drawing/2014/main" id="{6569C144-B3E9-4C9F-9F9F-B30EEFF1135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293437" y="3843096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43" name="Abgerundetes Rechteck 908">
                <a:extLst>
                  <a:ext uri="{FF2B5EF4-FFF2-40B4-BE49-F238E27FC236}">
                    <a16:creationId xmlns:a16="http://schemas.microsoft.com/office/drawing/2014/main" id="{C68A0773-46D8-4147-B68C-4F2015F27BEA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44" name="Gruppieren 909">
                <a:extLst>
                  <a:ext uri="{FF2B5EF4-FFF2-40B4-BE49-F238E27FC236}">
                    <a16:creationId xmlns:a16="http://schemas.microsoft.com/office/drawing/2014/main" id="{48428891-A6D6-42D4-A0A5-79C60B1AB2A6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62" name="Freeform 737">
                  <a:extLst>
                    <a:ext uri="{FF2B5EF4-FFF2-40B4-BE49-F238E27FC236}">
                      <a16:creationId xmlns:a16="http://schemas.microsoft.com/office/drawing/2014/main" id="{D646EE59-0CF4-4428-AD83-27822A451A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3" name="Freeform 738">
                  <a:extLst>
                    <a:ext uri="{FF2B5EF4-FFF2-40B4-BE49-F238E27FC236}">
                      <a16:creationId xmlns:a16="http://schemas.microsoft.com/office/drawing/2014/main" id="{90CCB0B9-F41F-4AD3-89EF-6C3F5B0B5D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45" name="Gruppieren 910">
                <a:extLst>
                  <a:ext uri="{FF2B5EF4-FFF2-40B4-BE49-F238E27FC236}">
                    <a16:creationId xmlns:a16="http://schemas.microsoft.com/office/drawing/2014/main" id="{E52E714F-5EE8-4FE8-BCB8-59DBD9CB26A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46" name="Abgerundetes Rechteck 911">
                  <a:extLst>
                    <a:ext uri="{FF2B5EF4-FFF2-40B4-BE49-F238E27FC236}">
                      <a16:creationId xmlns:a16="http://schemas.microsoft.com/office/drawing/2014/main" id="{7CEC4E5C-803A-4EC3-B54E-0575379E722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7" name="Rectangle 246">
                  <a:extLst>
                    <a:ext uri="{FF2B5EF4-FFF2-40B4-BE49-F238E27FC236}">
                      <a16:creationId xmlns:a16="http://schemas.microsoft.com/office/drawing/2014/main" id="{FCA3AF92-0444-4767-91CA-18F43B8553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8" name="Rectangle 247">
                  <a:extLst>
                    <a:ext uri="{FF2B5EF4-FFF2-40B4-BE49-F238E27FC236}">
                      <a16:creationId xmlns:a16="http://schemas.microsoft.com/office/drawing/2014/main" id="{172BFFE6-66C8-4E46-99EB-05AC59480E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9" name="Rectangle 248">
                  <a:extLst>
                    <a:ext uri="{FF2B5EF4-FFF2-40B4-BE49-F238E27FC236}">
                      <a16:creationId xmlns:a16="http://schemas.microsoft.com/office/drawing/2014/main" id="{F2B711D3-BA23-4330-A5A4-3E899C7A79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0" name="Rectangle 249">
                  <a:extLst>
                    <a:ext uri="{FF2B5EF4-FFF2-40B4-BE49-F238E27FC236}">
                      <a16:creationId xmlns:a16="http://schemas.microsoft.com/office/drawing/2014/main" id="{E7019F60-4BC4-4932-81A9-28A545A737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id="{60FD6F88-53C2-415C-A028-60D39A01D0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2" name="Rectangle 251">
                  <a:extLst>
                    <a:ext uri="{FF2B5EF4-FFF2-40B4-BE49-F238E27FC236}">
                      <a16:creationId xmlns:a16="http://schemas.microsoft.com/office/drawing/2014/main" id="{D96DDFD3-B76C-405B-B639-DE776CEAB8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3" name="Rectangle 252">
                  <a:extLst>
                    <a:ext uri="{FF2B5EF4-FFF2-40B4-BE49-F238E27FC236}">
                      <a16:creationId xmlns:a16="http://schemas.microsoft.com/office/drawing/2014/main" id="{D393D420-7AC0-4068-A675-E1E25C9AE2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4" name="Rectangle 253">
                  <a:extLst>
                    <a:ext uri="{FF2B5EF4-FFF2-40B4-BE49-F238E27FC236}">
                      <a16:creationId xmlns:a16="http://schemas.microsoft.com/office/drawing/2014/main" id="{429F3596-0D6A-4B57-B527-0E68FD8820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5" name="Rectangle 254">
                  <a:extLst>
                    <a:ext uri="{FF2B5EF4-FFF2-40B4-BE49-F238E27FC236}">
                      <a16:creationId xmlns:a16="http://schemas.microsoft.com/office/drawing/2014/main" id="{1A8AA60F-6018-4437-BA67-A8F5090C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6" name="Rectangle 255">
                  <a:extLst>
                    <a:ext uri="{FF2B5EF4-FFF2-40B4-BE49-F238E27FC236}">
                      <a16:creationId xmlns:a16="http://schemas.microsoft.com/office/drawing/2014/main" id="{0E804998-234F-4EA9-A675-8B71553715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7" name="Rectangle 256">
                  <a:extLst>
                    <a:ext uri="{FF2B5EF4-FFF2-40B4-BE49-F238E27FC236}">
                      <a16:creationId xmlns:a16="http://schemas.microsoft.com/office/drawing/2014/main" id="{1925DACD-8015-4607-96A7-8146567EA3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8" name="Rectangle 257">
                  <a:extLst>
                    <a:ext uri="{FF2B5EF4-FFF2-40B4-BE49-F238E27FC236}">
                      <a16:creationId xmlns:a16="http://schemas.microsoft.com/office/drawing/2014/main" id="{18DD1813-4DA0-473C-9754-74B8DDC91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59" name="Rectangle 258">
                  <a:extLst>
                    <a:ext uri="{FF2B5EF4-FFF2-40B4-BE49-F238E27FC236}">
                      <a16:creationId xmlns:a16="http://schemas.microsoft.com/office/drawing/2014/main" id="{F64183AB-7FCC-423A-ACA8-61B03405D4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0" name="Rectangle 259">
                  <a:extLst>
                    <a:ext uri="{FF2B5EF4-FFF2-40B4-BE49-F238E27FC236}">
                      <a16:creationId xmlns:a16="http://schemas.microsoft.com/office/drawing/2014/main" id="{88A23712-6AA9-4ECE-9175-EC1A6B1EE5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61" name="Rectangle 260">
                  <a:extLst>
                    <a:ext uri="{FF2B5EF4-FFF2-40B4-BE49-F238E27FC236}">
                      <a16:creationId xmlns:a16="http://schemas.microsoft.com/office/drawing/2014/main" id="{4A26AF7F-6750-4427-9349-3FD2994EC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95CDFC1-9706-43CB-9B2F-9F9EEAE2B5AF}"/>
                </a:ext>
              </a:extLst>
            </p:cNvPr>
            <p:cNvSpPr/>
            <p:nvPr/>
          </p:nvSpPr>
          <p:spPr bwMode="gray">
            <a:xfrm>
              <a:off x="985890" y="4541426"/>
              <a:ext cx="3103089" cy="655059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18" name="Gruppieren 907">
              <a:extLst>
                <a:ext uri="{FF2B5EF4-FFF2-40B4-BE49-F238E27FC236}">
                  <a16:creationId xmlns:a16="http://schemas.microsoft.com/office/drawing/2014/main" id="{D8D52534-E35E-4FE0-AF92-A6B5BD7011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765858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22" name="Abgerundetes Rechteck 908">
                <a:extLst>
                  <a:ext uri="{FF2B5EF4-FFF2-40B4-BE49-F238E27FC236}">
                    <a16:creationId xmlns:a16="http://schemas.microsoft.com/office/drawing/2014/main" id="{FAC35BDA-C607-49A5-B69B-C9222C102AB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23" name="Gruppieren 909">
                <a:extLst>
                  <a:ext uri="{FF2B5EF4-FFF2-40B4-BE49-F238E27FC236}">
                    <a16:creationId xmlns:a16="http://schemas.microsoft.com/office/drawing/2014/main" id="{2DA96181-499F-4ACF-8DDC-A65C694E5B1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41" name="Freeform 760">
                  <a:extLst>
                    <a:ext uri="{FF2B5EF4-FFF2-40B4-BE49-F238E27FC236}">
                      <a16:creationId xmlns:a16="http://schemas.microsoft.com/office/drawing/2014/main" id="{72E28AB9-8DA8-49F5-B9E4-B8A1518457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2" name="Freeform 761">
                  <a:extLst>
                    <a:ext uri="{FF2B5EF4-FFF2-40B4-BE49-F238E27FC236}">
                      <a16:creationId xmlns:a16="http://schemas.microsoft.com/office/drawing/2014/main" id="{A8981564-426B-4168-A565-A30FEFFCB65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24" name="Gruppieren 910">
                <a:extLst>
                  <a:ext uri="{FF2B5EF4-FFF2-40B4-BE49-F238E27FC236}">
                    <a16:creationId xmlns:a16="http://schemas.microsoft.com/office/drawing/2014/main" id="{15744602-D56D-45C2-8573-97F9FD267A4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25" name="Abgerundetes Rechteck 911">
                  <a:extLst>
                    <a:ext uri="{FF2B5EF4-FFF2-40B4-BE49-F238E27FC236}">
                      <a16:creationId xmlns:a16="http://schemas.microsoft.com/office/drawing/2014/main" id="{5F2ED505-D2DE-424F-8649-0023FE73476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28FBCB7D-9D6E-4E23-BA71-E1FA0D32A7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7" name="Rectangle 226">
                  <a:extLst>
                    <a:ext uri="{FF2B5EF4-FFF2-40B4-BE49-F238E27FC236}">
                      <a16:creationId xmlns:a16="http://schemas.microsoft.com/office/drawing/2014/main" id="{06E3655D-04E5-4443-A4AD-35ED96FF2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B97AF97E-ABA5-447B-9B2C-0E5EB489B4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9" name="Rectangle 228">
                  <a:extLst>
                    <a:ext uri="{FF2B5EF4-FFF2-40B4-BE49-F238E27FC236}">
                      <a16:creationId xmlns:a16="http://schemas.microsoft.com/office/drawing/2014/main" id="{8F410454-B477-4174-8C69-0D14AA4FA0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0826EA5A-19CE-4548-8F57-467B79DF2E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1" name="Rectangle 230">
                  <a:extLst>
                    <a:ext uri="{FF2B5EF4-FFF2-40B4-BE49-F238E27FC236}">
                      <a16:creationId xmlns:a16="http://schemas.microsoft.com/office/drawing/2014/main" id="{A82A7994-DE7A-4938-9E4D-EAE939DE09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2" name="Rectangle 231">
                  <a:extLst>
                    <a:ext uri="{FF2B5EF4-FFF2-40B4-BE49-F238E27FC236}">
                      <a16:creationId xmlns:a16="http://schemas.microsoft.com/office/drawing/2014/main" id="{0D29DC1E-923F-4918-97E4-951EE0EB60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3" name="Rectangle 232">
                  <a:extLst>
                    <a:ext uri="{FF2B5EF4-FFF2-40B4-BE49-F238E27FC236}">
                      <a16:creationId xmlns:a16="http://schemas.microsoft.com/office/drawing/2014/main" id="{BF86169B-FFE3-440E-AC59-8F598742FF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428F29FF-BBA3-4152-A490-4F6DAEADA9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B0512254-43D7-40D5-BF1F-38B6F71F86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6" name="Rectangle 235">
                  <a:extLst>
                    <a:ext uri="{FF2B5EF4-FFF2-40B4-BE49-F238E27FC236}">
                      <a16:creationId xmlns:a16="http://schemas.microsoft.com/office/drawing/2014/main" id="{D2DA3A35-270F-4CCE-BB80-686BD37331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7" name="Rectangle 236">
                  <a:extLst>
                    <a:ext uri="{FF2B5EF4-FFF2-40B4-BE49-F238E27FC236}">
                      <a16:creationId xmlns:a16="http://schemas.microsoft.com/office/drawing/2014/main" id="{977EC5F8-3770-422A-A7FB-F75BB2CC4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8" name="Rectangle 237">
                  <a:extLst>
                    <a:ext uri="{FF2B5EF4-FFF2-40B4-BE49-F238E27FC236}">
                      <a16:creationId xmlns:a16="http://schemas.microsoft.com/office/drawing/2014/main" id="{D8E87B50-532F-4236-8B11-65DFF11C6B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5F528908-CDF2-40C8-923E-C4B5E4EFF9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40" name="Rectangle 239">
                  <a:extLst>
                    <a:ext uri="{FF2B5EF4-FFF2-40B4-BE49-F238E27FC236}">
                      <a16:creationId xmlns:a16="http://schemas.microsoft.com/office/drawing/2014/main" id="{EB633BB9-0ED8-4E6E-AEEC-18E390D45A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9" name="Gruppieren 907">
              <a:extLst>
                <a:ext uri="{FF2B5EF4-FFF2-40B4-BE49-F238E27FC236}">
                  <a16:creationId xmlns:a16="http://schemas.microsoft.com/office/drawing/2014/main" id="{D4B3B856-3CB8-4EB4-A23F-750A185E3A2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448037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201" name="Abgerundetes Rechteck 908">
                <a:extLst>
                  <a:ext uri="{FF2B5EF4-FFF2-40B4-BE49-F238E27FC236}">
                    <a16:creationId xmlns:a16="http://schemas.microsoft.com/office/drawing/2014/main" id="{74F1F295-6451-4D8C-ACFE-3DED9CCA486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202" name="Gruppieren 909">
                <a:extLst>
                  <a:ext uri="{FF2B5EF4-FFF2-40B4-BE49-F238E27FC236}">
                    <a16:creationId xmlns:a16="http://schemas.microsoft.com/office/drawing/2014/main" id="{BB44A379-3C60-46E3-9BFC-BBE183F774F1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220" name="Freeform 782">
                  <a:extLst>
                    <a:ext uri="{FF2B5EF4-FFF2-40B4-BE49-F238E27FC236}">
                      <a16:creationId xmlns:a16="http://schemas.microsoft.com/office/drawing/2014/main" id="{F24AE501-4F6B-4EA9-9B90-13826A4777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21" name="Freeform 783">
                  <a:extLst>
                    <a:ext uri="{FF2B5EF4-FFF2-40B4-BE49-F238E27FC236}">
                      <a16:creationId xmlns:a16="http://schemas.microsoft.com/office/drawing/2014/main" id="{B3EC0043-5837-4154-8945-A51C07610C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203" name="Gruppieren 910">
                <a:extLst>
                  <a:ext uri="{FF2B5EF4-FFF2-40B4-BE49-F238E27FC236}">
                    <a16:creationId xmlns:a16="http://schemas.microsoft.com/office/drawing/2014/main" id="{983772AF-EB7B-4DC2-AB89-4AF89F60FEC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204" name="Abgerundetes Rechteck 911">
                  <a:extLst>
                    <a:ext uri="{FF2B5EF4-FFF2-40B4-BE49-F238E27FC236}">
                      <a16:creationId xmlns:a16="http://schemas.microsoft.com/office/drawing/2014/main" id="{EA58C5DE-9D67-46C0-A0ED-CC33080D8CC2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5" name="Rectangle 204">
                  <a:extLst>
                    <a:ext uri="{FF2B5EF4-FFF2-40B4-BE49-F238E27FC236}">
                      <a16:creationId xmlns:a16="http://schemas.microsoft.com/office/drawing/2014/main" id="{16D2EC95-E7B7-40DE-BD0D-2A069F4A05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6" name="Rectangle 205">
                  <a:extLst>
                    <a:ext uri="{FF2B5EF4-FFF2-40B4-BE49-F238E27FC236}">
                      <a16:creationId xmlns:a16="http://schemas.microsoft.com/office/drawing/2014/main" id="{CB69B33E-8D40-46ED-9AFB-160167962F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7" name="Rectangle 206">
                  <a:extLst>
                    <a:ext uri="{FF2B5EF4-FFF2-40B4-BE49-F238E27FC236}">
                      <a16:creationId xmlns:a16="http://schemas.microsoft.com/office/drawing/2014/main" id="{82EE5733-1DC7-47C0-8546-B1AF0F6966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8" name="Rectangle 207">
                  <a:extLst>
                    <a:ext uri="{FF2B5EF4-FFF2-40B4-BE49-F238E27FC236}">
                      <a16:creationId xmlns:a16="http://schemas.microsoft.com/office/drawing/2014/main" id="{B5243C77-12F9-45CA-9C93-C529A6D80E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9" name="Rectangle 208">
                  <a:extLst>
                    <a:ext uri="{FF2B5EF4-FFF2-40B4-BE49-F238E27FC236}">
                      <a16:creationId xmlns:a16="http://schemas.microsoft.com/office/drawing/2014/main" id="{48934C4C-E61B-4AEF-80D0-2EBEB660C2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B49DA630-0DEE-46CF-B1DF-CB96B63A7B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4913F365-19CA-463D-A4EE-DE2DD32383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5526D7FA-3065-4B0A-A4D7-CFA5336AF5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32DC1262-1F0A-44CA-9880-69F951C6F3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7BB28F55-9A41-43D6-812B-67F38B84B3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125F94E2-E113-468B-BA5B-C905723E04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5850A50-942F-4597-85DE-6ECA4CBFB5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129A7DC0-9E9B-4252-AD6D-B07331A3D2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0777627F-CEED-4F81-A922-3C84400E3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D93AD2DF-FAC8-4AEF-AA00-D69B9248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20" name="Gruppieren 907">
              <a:extLst>
                <a:ext uri="{FF2B5EF4-FFF2-40B4-BE49-F238E27FC236}">
                  <a16:creationId xmlns:a16="http://schemas.microsoft.com/office/drawing/2014/main" id="{7DC786ED-E2F8-49AF-9F23-4F3C5463B66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133914" y="4665188"/>
              <a:ext cx="154495" cy="409845"/>
              <a:chOff x="9147423" y="1790700"/>
              <a:chExt cx="725488" cy="1924580"/>
            </a:xfrm>
            <a:solidFill>
              <a:schemeClr val="bg1">
                <a:lumMod val="95000"/>
                <a:alpha val="39000"/>
              </a:schemeClr>
            </a:solidFill>
          </p:grpSpPr>
          <p:sp>
            <p:nvSpPr>
              <p:cNvPr id="180" name="Abgerundetes Rechteck 908">
                <a:extLst>
                  <a:ext uri="{FF2B5EF4-FFF2-40B4-BE49-F238E27FC236}">
                    <a16:creationId xmlns:a16="http://schemas.microsoft.com/office/drawing/2014/main" id="{F30DAFF8-DF24-4CC6-862D-56085870AF05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81" name="Gruppieren 909">
                <a:extLst>
                  <a:ext uri="{FF2B5EF4-FFF2-40B4-BE49-F238E27FC236}">
                    <a16:creationId xmlns:a16="http://schemas.microsoft.com/office/drawing/2014/main" id="{3080911A-A883-4C10-B9AF-597F85100F8D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99" name="Freeform 804">
                  <a:extLst>
                    <a:ext uri="{FF2B5EF4-FFF2-40B4-BE49-F238E27FC236}">
                      <a16:creationId xmlns:a16="http://schemas.microsoft.com/office/drawing/2014/main" id="{AE549482-B8E7-4B19-9EB3-2378AB20450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00" name="Freeform 805">
                  <a:extLst>
                    <a:ext uri="{FF2B5EF4-FFF2-40B4-BE49-F238E27FC236}">
                      <a16:creationId xmlns:a16="http://schemas.microsoft.com/office/drawing/2014/main" id="{EE6C0E54-09DC-4BC0-8B42-76D74C0294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82" name="Gruppieren 910">
                <a:extLst>
                  <a:ext uri="{FF2B5EF4-FFF2-40B4-BE49-F238E27FC236}">
                    <a16:creationId xmlns:a16="http://schemas.microsoft.com/office/drawing/2014/main" id="{31F27DCB-D97E-484F-9441-5D1C933F555E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83" name="Abgerundetes Rechteck 911">
                  <a:extLst>
                    <a:ext uri="{FF2B5EF4-FFF2-40B4-BE49-F238E27FC236}">
                      <a16:creationId xmlns:a16="http://schemas.microsoft.com/office/drawing/2014/main" id="{44D48579-F0DA-40F3-B9AB-6622EC8CCD8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4" name="Rectangle 183">
                  <a:extLst>
                    <a:ext uri="{FF2B5EF4-FFF2-40B4-BE49-F238E27FC236}">
                      <a16:creationId xmlns:a16="http://schemas.microsoft.com/office/drawing/2014/main" id="{59E1BAD7-4299-4334-BB8F-A3CECA212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5" name="Rectangle 184">
                  <a:extLst>
                    <a:ext uri="{FF2B5EF4-FFF2-40B4-BE49-F238E27FC236}">
                      <a16:creationId xmlns:a16="http://schemas.microsoft.com/office/drawing/2014/main" id="{6031C0F2-DD3A-4125-B5C1-E52C21FAC1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2F06DAF7-AD72-48CE-B4F7-C90FC2EE49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7" name="Rectangle 186">
                  <a:extLst>
                    <a:ext uri="{FF2B5EF4-FFF2-40B4-BE49-F238E27FC236}">
                      <a16:creationId xmlns:a16="http://schemas.microsoft.com/office/drawing/2014/main" id="{44F56B4B-9770-4944-A4D8-84BD83325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86E6A151-6C20-4EC1-9D51-32CB7C39F7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1D5FA383-0A20-4C75-A44B-4DF479C6A1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4B98C931-334F-40E2-8488-13A0373AEB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1" name="Rectangle 190">
                  <a:extLst>
                    <a:ext uri="{FF2B5EF4-FFF2-40B4-BE49-F238E27FC236}">
                      <a16:creationId xmlns:a16="http://schemas.microsoft.com/office/drawing/2014/main" id="{D0B15C4C-6397-439F-9139-417261F4ED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2" name="Rectangle 191">
                  <a:extLst>
                    <a:ext uri="{FF2B5EF4-FFF2-40B4-BE49-F238E27FC236}">
                      <a16:creationId xmlns:a16="http://schemas.microsoft.com/office/drawing/2014/main" id="{C5303842-D418-4B64-BF06-9F81A9C541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3" name="Rectangle 192">
                  <a:extLst>
                    <a:ext uri="{FF2B5EF4-FFF2-40B4-BE49-F238E27FC236}">
                      <a16:creationId xmlns:a16="http://schemas.microsoft.com/office/drawing/2014/main" id="{2C7836DE-FE2F-4D3F-A53B-6DEA44887D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1C2A58E6-426F-424E-BDA1-40F8F769A6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5" name="Rectangle 194">
                  <a:extLst>
                    <a:ext uri="{FF2B5EF4-FFF2-40B4-BE49-F238E27FC236}">
                      <a16:creationId xmlns:a16="http://schemas.microsoft.com/office/drawing/2014/main" id="{9F98AFE6-8F66-42F7-9D60-274C8A044E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6" name="Rectangle 195">
                  <a:extLst>
                    <a:ext uri="{FF2B5EF4-FFF2-40B4-BE49-F238E27FC236}">
                      <a16:creationId xmlns:a16="http://schemas.microsoft.com/office/drawing/2014/main" id="{1D64477E-57DA-499F-A3E9-40D2964E90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239903F7-4F39-4A1B-BC08-4D8D158683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0A4EFE9E-627C-44FA-9A35-7E3DA25996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95000"/>
                      </a:schemeClr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419302A9-1EAB-44D0-9A8C-B8BA254A1FF4}"/>
                </a:ext>
              </a:extLst>
            </p:cNvPr>
            <p:cNvCxnSpPr/>
            <p:nvPr/>
          </p:nvCxnSpPr>
          <p:spPr bwMode="gray">
            <a:xfrm>
              <a:off x="1500722" y="2967086"/>
              <a:ext cx="791550" cy="36118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C5D31BB3-E7D4-49B3-AEA7-B234B176C68E}"/>
                </a:ext>
              </a:extLst>
            </p:cNvPr>
            <p:cNvCxnSpPr/>
            <p:nvPr/>
          </p:nvCxnSpPr>
          <p:spPr bwMode="gray">
            <a:xfrm>
              <a:off x="2127156" y="2978265"/>
              <a:ext cx="314796" cy="299614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C0A3CEBE-1BE0-470F-92DB-31D74BC42461}"/>
                </a:ext>
              </a:extLst>
            </p:cNvPr>
            <p:cNvCxnSpPr/>
            <p:nvPr/>
          </p:nvCxnSpPr>
          <p:spPr bwMode="gray">
            <a:xfrm flipH="1">
              <a:off x="2589236" y="3002297"/>
              <a:ext cx="52850" cy="28932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2B18F9A-52CA-4DBD-ADFF-862B4FECC0FC}"/>
                </a:ext>
              </a:extLst>
            </p:cNvPr>
            <p:cNvCxnSpPr/>
            <p:nvPr/>
          </p:nvCxnSpPr>
          <p:spPr bwMode="gray">
            <a:xfrm flipH="1">
              <a:off x="3660151" y="3032068"/>
              <a:ext cx="57380" cy="584651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E5D3A9AF-B414-41F3-98B9-3F23CF1707B9}"/>
                </a:ext>
              </a:extLst>
            </p:cNvPr>
            <p:cNvCxnSpPr/>
            <p:nvPr/>
          </p:nvCxnSpPr>
          <p:spPr bwMode="gray">
            <a:xfrm flipH="1">
              <a:off x="1632728" y="3548514"/>
              <a:ext cx="754386" cy="425864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33F943F0-AF0A-4E4A-B68C-C6D31D1ECCD4}"/>
                </a:ext>
              </a:extLst>
            </p:cNvPr>
            <p:cNvCxnSpPr/>
            <p:nvPr/>
          </p:nvCxnSpPr>
          <p:spPr bwMode="gray">
            <a:xfrm>
              <a:off x="2633484" y="3567840"/>
              <a:ext cx="577678" cy="37947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B2E3063-4C91-4F5A-AFC8-DF9C6DCB02FE}"/>
                </a:ext>
              </a:extLst>
            </p:cNvPr>
            <p:cNvCxnSpPr/>
            <p:nvPr/>
          </p:nvCxnSpPr>
          <p:spPr bwMode="gray">
            <a:xfrm>
              <a:off x="1653933" y="4051100"/>
              <a:ext cx="1506173" cy="23345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C72C8E0F-29A8-4DB5-A5DE-011EB8D3185E}"/>
                </a:ext>
              </a:extLst>
            </p:cNvPr>
            <p:cNvCxnSpPr/>
            <p:nvPr/>
          </p:nvCxnSpPr>
          <p:spPr bwMode="gray">
            <a:xfrm flipV="1">
              <a:off x="2633484" y="4187057"/>
              <a:ext cx="571950" cy="451576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5945F2F8-D599-4F60-A753-DAE1AB0C06C8}"/>
                </a:ext>
              </a:extLst>
            </p:cNvPr>
            <p:cNvCxnSpPr/>
            <p:nvPr/>
          </p:nvCxnSpPr>
          <p:spPr bwMode="gray">
            <a:xfrm flipV="1">
              <a:off x="3211162" y="4319402"/>
              <a:ext cx="102783" cy="268401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21C550AD-1E26-4E15-9D9D-DB64E5CDB215}"/>
                </a:ext>
              </a:extLst>
            </p:cNvPr>
            <p:cNvCxnSpPr/>
            <p:nvPr/>
          </p:nvCxnSpPr>
          <p:spPr bwMode="gray">
            <a:xfrm flipH="1" flipV="1">
              <a:off x="1517602" y="4314669"/>
              <a:ext cx="214330" cy="255928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179">
              <a:extLst>
                <a:ext uri="{FF2B5EF4-FFF2-40B4-BE49-F238E27FC236}">
                  <a16:creationId xmlns:a16="http://schemas.microsoft.com/office/drawing/2014/main" id="{99709D34-AD93-49B2-8356-C74C011A224C}"/>
                </a:ext>
              </a:extLst>
            </p:cNvPr>
            <p:cNvSpPr txBox="1"/>
            <p:nvPr/>
          </p:nvSpPr>
          <p:spPr bwMode="gray">
            <a:xfrm>
              <a:off x="2627787" y="4768789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AS</a:t>
              </a:r>
            </a:p>
          </p:txBody>
        </p:sp>
        <p:sp>
          <p:nvSpPr>
            <p:cNvPr id="35" name="TextBox 179">
              <a:extLst>
                <a:ext uri="{FF2B5EF4-FFF2-40B4-BE49-F238E27FC236}">
                  <a16:creationId xmlns:a16="http://schemas.microsoft.com/office/drawing/2014/main" id="{0CE05C00-EAF0-42F8-9758-BD26C1DE8593}"/>
                </a:ext>
              </a:extLst>
            </p:cNvPr>
            <p:cNvSpPr txBox="1"/>
            <p:nvPr/>
          </p:nvSpPr>
          <p:spPr bwMode="gray">
            <a:xfrm>
              <a:off x="3361993" y="4754551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Fileserver</a:t>
              </a:r>
            </a:p>
          </p:txBody>
        </p:sp>
        <p:sp>
          <p:nvSpPr>
            <p:cNvPr id="36" name="TextBox 179">
              <a:extLst>
                <a:ext uri="{FF2B5EF4-FFF2-40B4-BE49-F238E27FC236}">
                  <a16:creationId xmlns:a16="http://schemas.microsoft.com/office/drawing/2014/main" id="{DD6F869B-4C4E-490E-BCC7-3A2F961C4265}"/>
                </a:ext>
              </a:extLst>
            </p:cNvPr>
            <p:cNvSpPr txBox="1"/>
            <p:nvPr/>
          </p:nvSpPr>
          <p:spPr bwMode="gray">
            <a:xfrm>
              <a:off x="1202932" y="4762300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ARGUS</a:t>
              </a:r>
            </a:p>
          </p:txBody>
        </p:sp>
        <p:sp>
          <p:nvSpPr>
            <p:cNvPr id="37" name="TextBox 179">
              <a:extLst>
                <a:ext uri="{FF2B5EF4-FFF2-40B4-BE49-F238E27FC236}">
                  <a16:creationId xmlns:a16="http://schemas.microsoft.com/office/drawing/2014/main" id="{115917A3-F8B5-4C86-B38A-A646A98E9971}"/>
                </a:ext>
              </a:extLst>
            </p:cNvPr>
            <p:cNvSpPr txBox="1"/>
            <p:nvPr/>
          </p:nvSpPr>
          <p:spPr bwMode="gray">
            <a:xfrm>
              <a:off x="1099850" y="3505646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Applic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erver</a:t>
              </a:r>
            </a:p>
          </p:txBody>
        </p:sp>
        <p:sp>
          <p:nvSpPr>
            <p:cNvPr id="38" name="TextBox 179">
              <a:extLst>
                <a:ext uri="{FF2B5EF4-FFF2-40B4-BE49-F238E27FC236}">
                  <a16:creationId xmlns:a16="http://schemas.microsoft.com/office/drawing/2014/main" id="{9944332D-638D-4574-A2AD-76ABCAD5E4C6}"/>
                </a:ext>
              </a:extLst>
            </p:cNvPr>
            <p:cNvSpPr txBox="1"/>
            <p:nvPr/>
          </p:nvSpPr>
          <p:spPr bwMode="gray">
            <a:xfrm>
              <a:off x="3512461" y="3730867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DB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Serv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</a:t>
              </a: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ith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 EPG</a:t>
              </a:r>
            </a:p>
          </p:txBody>
        </p:sp>
        <p:sp>
          <p:nvSpPr>
            <p:cNvPr id="39" name="TextBox 179">
              <a:extLst>
                <a:ext uri="{FF2B5EF4-FFF2-40B4-BE49-F238E27FC236}">
                  <a16:creationId xmlns:a16="http://schemas.microsoft.com/office/drawing/2014/main" id="{5CB61C07-8803-4F43-8D15-C878A5EC9B82}"/>
                </a:ext>
              </a:extLst>
            </p:cNvPr>
            <p:cNvSpPr txBox="1"/>
            <p:nvPr/>
          </p:nvSpPr>
          <p:spPr bwMode="gray">
            <a:xfrm>
              <a:off x="2633484" y="3410907"/>
              <a:ext cx="516679" cy="221690"/>
            </a:xfrm>
            <a:prstGeom prst="rect">
              <a:avLst/>
            </a:prstGeom>
            <a:solidFill>
              <a:schemeClr val="bg1">
                <a:lumMod val="95000"/>
                <a:alpha val="39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PC Web Server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7AB0EBD-FC68-47BC-BCDE-00708884834E}"/>
                </a:ext>
              </a:extLst>
            </p:cNvPr>
            <p:cNvGrpSpPr/>
            <p:nvPr/>
          </p:nvGrpSpPr>
          <p:grpSpPr>
            <a:xfrm>
              <a:off x="3026010" y="2673036"/>
              <a:ext cx="200754" cy="251135"/>
              <a:chOff x="2502880" y="2960980"/>
              <a:chExt cx="187583" cy="234659"/>
            </a:xfrm>
            <a:solidFill>
              <a:schemeClr val="bg1">
                <a:lumMod val="95000"/>
                <a:alpha val="39000"/>
              </a:schemeClr>
            </a:solidFill>
          </p:grpSpPr>
          <p:grpSp>
            <p:nvGrpSpPr>
              <p:cNvPr id="92" name="Gruppieren 907">
                <a:extLst>
                  <a:ext uri="{FF2B5EF4-FFF2-40B4-BE49-F238E27FC236}">
                    <a16:creationId xmlns:a16="http://schemas.microsoft.com/office/drawing/2014/main" id="{BEEC7DCF-0E88-4223-BF12-1ABE955E3A14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502880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115" name="Abgerundetes Rechteck 908">
                  <a:extLst>
                    <a:ext uri="{FF2B5EF4-FFF2-40B4-BE49-F238E27FC236}">
                      <a16:creationId xmlns:a16="http://schemas.microsoft.com/office/drawing/2014/main" id="{56871B60-2A80-41C9-8B67-01D261B9B30D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16" name="Gruppieren 909">
                  <a:extLst>
                    <a:ext uri="{FF2B5EF4-FFF2-40B4-BE49-F238E27FC236}">
                      <a16:creationId xmlns:a16="http://schemas.microsoft.com/office/drawing/2014/main" id="{0AE7E91D-DE19-4D35-A0F1-F5A2113FBEE8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134" name="Freeform 912">
                    <a:extLst>
                      <a:ext uri="{FF2B5EF4-FFF2-40B4-BE49-F238E27FC236}">
                        <a16:creationId xmlns:a16="http://schemas.microsoft.com/office/drawing/2014/main" id="{7B662F96-F3A9-4841-AC68-D6C38224E6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5" name="Freeform 913">
                    <a:extLst>
                      <a:ext uri="{FF2B5EF4-FFF2-40B4-BE49-F238E27FC236}">
                        <a16:creationId xmlns:a16="http://schemas.microsoft.com/office/drawing/2014/main" id="{B02273CB-4277-4761-BE60-2ED3EE1842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17" name="Gruppieren 910">
                  <a:extLst>
                    <a:ext uri="{FF2B5EF4-FFF2-40B4-BE49-F238E27FC236}">
                      <a16:creationId xmlns:a16="http://schemas.microsoft.com/office/drawing/2014/main" id="{6E715F7C-0177-4EC0-8494-01F0803A9568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118" name="Abgerundetes Rechteck 911">
                    <a:extLst>
                      <a:ext uri="{FF2B5EF4-FFF2-40B4-BE49-F238E27FC236}">
                        <a16:creationId xmlns:a16="http://schemas.microsoft.com/office/drawing/2014/main" id="{34590D70-EE6A-42D8-AAAB-4193A44588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9" name="Rectangle 118">
                    <a:extLst>
                      <a:ext uri="{FF2B5EF4-FFF2-40B4-BE49-F238E27FC236}">
                        <a16:creationId xmlns:a16="http://schemas.microsoft.com/office/drawing/2014/main" id="{AE50CA02-5A99-4E1B-BB1C-3D1EF053A91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0" name="Rectangle 119">
                    <a:extLst>
                      <a:ext uri="{FF2B5EF4-FFF2-40B4-BE49-F238E27FC236}">
                        <a16:creationId xmlns:a16="http://schemas.microsoft.com/office/drawing/2014/main" id="{E701A9EA-3A66-4579-A872-ECB6E9D9AF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1" name="Rectangle 120">
                    <a:extLst>
                      <a:ext uri="{FF2B5EF4-FFF2-40B4-BE49-F238E27FC236}">
                        <a16:creationId xmlns:a16="http://schemas.microsoft.com/office/drawing/2014/main" id="{67B90788-9928-4F7A-A306-974BE002002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id="{BF8F54D9-49A4-4FC9-8510-026902A743E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3" name="Rectangle 122">
                    <a:extLst>
                      <a:ext uri="{FF2B5EF4-FFF2-40B4-BE49-F238E27FC236}">
                        <a16:creationId xmlns:a16="http://schemas.microsoft.com/office/drawing/2014/main" id="{AB70A77D-2024-4B32-97A6-9998E125B4F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id="{08DD050C-04DE-4749-BA59-703A1F61663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5" name="Rectangle 124">
                    <a:extLst>
                      <a:ext uri="{FF2B5EF4-FFF2-40B4-BE49-F238E27FC236}">
                        <a16:creationId xmlns:a16="http://schemas.microsoft.com/office/drawing/2014/main" id="{396F87BC-91BF-42AD-BD30-71DCE5553C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id="{F9CCE71D-90A0-4129-8E23-0D9ACE368A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7" name="Rectangle 126">
                    <a:extLst>
                      <a:ext uri="{FF2B5EF4-FFF2-40B4-BE49-F238E27FC236}">
                        <a16:creationId xmlns:a16="http://schemas.microsoft.com/office/drawing/2014/main" id="{E45BB45A-A965-4461-8BF3-2427E34DFA4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id="{91AAE5F0-BA9F-4259-B39C-F6C0F4227E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29" name="Rectangle 128">
                    <a:extLst>
                      <a:ext uri="{FF2B5EF4-FFF2-40B4-BE49-F238E27FC236}">
                        <a16:creationId xmlns:a16="http://schemas.microsoft.com/office/drawing/2014/main" id="{BDCAC196-1B90-4FBC-9BE6-AA57A5580A1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0" name="Rectangle 129">
                    <a:extLst>
                      <a:ext uri="{FF2B5EF4-FFF2-40B4-BE49-F238E27FC236}">
                        <a16:creationId xmlns:a16="http://schemas.microsoft.com/office/drawing/2014/main" id="{94598471-BAD7-407A-BAE4-05401CA9448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1" name="Rectangle 130">
                    <a:extLst>
                      <a:ext uri="{FF2B5EF4-FFF2-40B4-BE49-F238E27FC236}">
                        <a16:creationId xmlns:a16="http://schemas.microsoft.com/office/drawing/2014/main" id="{93A6457C-D2C6-44FE-AB37-DFAEF94439F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2" name="Rectangle 131">
                    <a:extLst>
                      <a:ext uri="{FF2B5EF4-FFF2-40B4-BE49-F238E27FC236}">
                        <a16:creationId xmlns:a16="http://schemas.microsoft.com/office/drawing/2014/main" id="{F1690D64-BEA6-4AA8-AC05-86AB89CF0F1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33" name="Rectangle 132">
                    <a:extLst>
                      <a:ext uri="{FF2B5EF4-FFF2-40B4-BE49-F238E27FC236}">
                        <a16:creationId xmlns:a16="http://schemas.microsoft.com/office/drawing/2014/main" id="{1C482038-49F4-44F5-BCFB-C66567EEA2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93" name="Gruppieren 907">
                <a:extLst>
                  <a:ext uri="{FF2B5EF4-FFF2-40B4-BE49-F238E27FC236}">
                    <a16:creationId xmlns:a16="http://schemas.microsoft.com/office/drawing/2014/main" id="{2D742563-2A07-40D7-B998-DB702B3FD5B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602006" y="2960980"/>
                <a:ext cx="88457" cy="234659"/>
                <a:chOff x="9147423" y="1790700"/>
                <a:chExt cx="725488" cy="1924580"/>
              </a:xfrm>
              <a:grpFill/>
            </p:grpSpPr>
            <p:sp>
              <p:nvSpPr>
                <p:cNvPr id="94" name="Abgerundetes Rechteck 908">
                  <a:extLst>
                    <a:ext uri="{FF2B5EF4-FFF2-40B4-BE49-F238E27FC236}">
                      <a16:creationId xmlns:a16="http://schemas.microsoft.com/office/drawing/2014/main" id="{7749BD14-692C-4FE1-B204-CB26CDA66E41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95" name="Gruppieren 909">
                  <a:extLst>
                    <a:ext uri="{FF2B5EF4-FFF2-40B4-BE49-F238E27FC236}">
                      <a16:creationId xmlns:a16="http://schemas.microsoft.com/office/drawing/2014/main" id="{795CA00F-DF54-4021-94BD-5EF86EBC881F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  <a:grpFill/>
              </p:grpSpPr>
              <p:sp>
                <p:nvSpPr>
                  <p:cNvPr id="113" name="Freeform 891">
                    <a:extLst>
                      <a:ext uri="{FF2B5EF4-FFF2-40B4-BE49-F238E27FC236}">
                        <a16:creationId xmlns:a16="http://schemas.microsoft.com/office/drawing/2014/main" id="{BD43A453-5378-4988-8F05-90EABC4F3C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4" name="Freeform 892">
                    <a:extLst>
                      <a:ext uri="{FF2B5EF4-FFF2-40B4-BE49-F238E27FC236}">
                        <a16:creationId xmlns:a16="http://schemas.microsoft.com/office/drawing/2014/main" id="{C7A2776F-2C87-447B-9101-7DFAEC9F4B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96" name="Gruppieren 910">
                  <a:extLst>
                    <a:ext uri="{FF2B5EF4-FFF2-40B4-BE49-F238E27FC236}">
                      <a16:creationId xmlns:a16="http://schemas.microsoft.com/office/drawing/2014/main" id="{F24AC082-7E46-44FA-88C0-97C074CE6381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  <a:grpFill/>
              </p:grpSpPr>
              <p:sp>
                <p:nvSpPr>
                  <p:cNvPr id="97" name="Abgerundetes Rechteck 911">
                    <a:extLst>
                      <a:ext uri="{FF2B5EF4-FFF2-40B4-BE49-F238E27FC236}">
                        <a16:creationId xmlns:a16="http://schemas.microsoft.com/office/drawing/2014/main" id="{85535ED3-61EB-4C87-97D3-7CEF93E2FC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98" name="Rectangle 97">
                    <a:extLst>
                      <a:ext uri="{FF2B5EF4-FFF2-40B4-BE49-F238E27FC236}">
                        <a16:creationId xmlns:a16="http://schemas.microsoft.com/office/drawing/2014/main" id="{2173BCE3-4FDC-4C33-B45C-071DB5FEE1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99" name="Rectangle 98">
                    <a:extLst>
                      <a:ext uri="{FF2B5EF4-FFF2-40B4-BE49-F238E27FC236}">
                        <a16:creationId xmlns:a16="http://schemas.microsoft.com/office/drawing/2014/main" id="{95D6B551-F10C-4DFB-A9BA-788DBB43E96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0" name="Rectangle 99">
                    <a:extLst>
                      <a:ext uri="{FF2B5EF4-FFF2-40B4-BE49-F238E27FC236}">
                        <a16:creationId xmlns:a16="http://schemas.microsoft.com/office/drawing/2014/main" id="{C1BE7907-2A32-4B97-AF59-4EB802FE7F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1" name="Rectangle 100">
                    <a:extLst>
                      <a:ext uri="{FF2B5EF4-FFF2-40B4-BE49-F238E27FC236}">
                        <a16:creationId xmlns:a16="http://schemas.microsoft.com/office/drawing/2014/main" id="{BC4FCD9D-FD6A-45EE-9090-AA7A077D0EC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2" name="Rectangle 101">
                    <a:extLst>
                      <a:ext uri="{FF2B5EF4-FFF2-40B4-BE49-F238E27FC236}">
                        <a16:creationId xmlns:a16="http://schemas.microsoft.com/office/drawing/2014/main" id="{F9FC242C-065A-4CEB-A859-EF8264F26E0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3" name="Rectangle 102">
                    <a:extLst>
                      <a:ext uri="{FF2B5EF4-FFF2-40B4-BE49-F238E27FC236}">
                        <a16:creationId xmlns:a16="http://schemas.microsoft.com/office/drawing/2014/main" id="{B46D82EA-C4FA-409B-BFC0-69D8A6A2EB2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id="{3EFCB747-B7D8-4363-BB3D-035A1C15440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5" name="Rectangle 104">
                    <a:extLst>
                      <a:ext uri="{FF2B5EF4-FFF2-40B4-BE49-F238E27FC236}">
                        <a16:creationId xmlns:a16="http://schemas.microsoft.com/office/drawing/2014/main" id="{F4067F62-F1A0-46D2-8722-AD920E2E727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6" name="Rectangle 105">
                    <a:extLst>
                      <a:ext uri="{FF2B5EF4-FFF2-40B4-BE49-F238E27FC236}">
                        <a16:creationId xmlns:a16="http://schemas.microsoft.com/office/drawing/2014/main" id="{49C0F0E4-1627-40D9-BA04-6D90EAFC0A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7" name="Rectangle 106">
                    <a:extLst>
                      <a:ext uri="{FF2B5EF4-FFF2-40B4-BE49-F238E27FC236}">
                        <a16:creationId xmlns:a16="http://schemas.microsoft.com/office/drawing/2014/main" id="{9BC955B6-B573-4B8D-86DF-8412CD9261D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8" name="Rectangle 107">
                    <a:extLst>
                      <a:ext uri="{FF2B5EF4-FFF2-40B4-BE49-F238E27FC236}">
                        <a16:creationId xmlns:a16="http://schemas.microsoft.com/office/drawing/2014/main" id="{A72213D2-7304-4A88-B388-E328CAD1BE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09" name="Rectangle 108">
                    <a:extLst>
                      <a:ext uri="{FF2B5EF4-FFF2-40B4-BE49-F238E27FC236}">
                        <a16:creationId xmlns:a16="http://schemas.microsoft.com/office/drawing/2014/main" id="{F7EFA03C-E2C7-4D0B-B2D7-B884F953D26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0" name="Rectangle 109">
                    <a:extLst>
                      <a:ext uri="{FF2B5EF4-FFF2-40B4-BE49-F238E27FC236}">
                        <a16:creationId xmlns:a16="http://schemas.microsoft.com/office/drawing/2014/main" id="{BF7336ED-3150-4706-82B8-59F3DCC4F8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1" name="Rectangle 110">
                    <a:extLst>
                      <a:ext uri="{FF2B5EF4-FFF2-40B4-BE49-F238E27FC236}">
                        <a16:creationId xmlns:a16="http://schemas.microsoft.com/office/drawing/2014/main" id="{21B023D4-7440-4A5C-B083-B7A0C5393CB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grpFill/>
                  <a:ln>
                    <a:solidFill>
                      <a:schemeClr val="bg1">
                        <a:lumMod val="95000"/>
                      </a:schemeClr>
                    </a:solidFill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12" name="Rectangle 111">
                    <a:extLst>
                      <a:ext uri="{FF2B5EF4-FFF2-40B4-BE49-F238E27FC236}">
                        <a16:creationId xmlns:a16="http://schemas.microsoft.com/office/drawing/2014/main" id="{894B1B8B-BA23-4CCB-85DD-2AABEDBADC4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D95D1C6-20B9-4408-8B83-103C8C7CF7D4}"/>
                </a:ext>
              </a:extLst>
            </p:cNvPr>
            <p:cNvSpPr/>
            <p:nvPr/>
          </p:nvSpPr>
          <p:spPr bwMode="gray">
            <a:xfrm>
              <a:off x="2933748" y="2474700"/>
              <a:ext cx="385276" cy="654229"/>
            </a:xfrm>
            <a:prstGeom prst="rect">
              <a:avLst/>
            </a:prstGeom>
            <a:noFill/>
            <a:ln w="9525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sp>
          <p:nvSpPr>
            <p:cNvPr id="42" name="TextBox 179">
              <a:extLst>
                <a:ext uri="{FF2B5EF4-FFF2-40B4-BE49-F238E27FC236}">
                  <a16:creationId xmlns:a16="http://schemas.microsoft.com/office/drawing/2014/main" id="{B5D8FFB3-E6A3-42FB-A328-4EF1E0D455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926415" y="2299604"/>
              <a:ext cx="443847" cy="15710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hoDD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1AC0A2C5-4B94-40F9-88E2-D3C10215517A}"/>
                </a:ext>
              </a:extLst>
            </p:cNvPr>
            <p:cNvCxnSpPr/>
            <p:nvPr/>
          </p:nvCxnSpPr>
          <p:spPr bwMode="gray">
            <a:xfrm>
              <a:off x="3200573" y="3024800"/>
              <a:ext cx="334742" cy="59592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0B4C474-5E86-4BB7-8B56-55F06BD89B63}"/>
                </a:ext>
              </a:extLst>
            </p:cNvPr>
            <p:cNvSpPr/>
            <p:nvPr/>
          </p:nvSpPr>
          <p:spPr bwMode="gray">
            <a:xfrm>
              <a:off x="3412339" y="2473748"/>
              <a:ext cx="671242" cy="6519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7C52FC8-F5D0-44A7-BB42-9F77AD4FF51D}"/>
                </a:ext>
              </a:extLst>
            </p:cNvPr>
            <p:cNvGrpSpPr/>
            <p:nvPr/>
          </p:nvGrpSpPr>
          <p:grpSpPr>
            <a:xfrm>
              <a:off x="3647584" y="2680273"/>
              <a:ext cx="200752" cy="251135"/>
              <a:chOff x="3448947" y="2970769"/>
              <a:chExt cx="187582" cy="234659"/>
            </a:xfrm>
          </p:grpSpPr>
          <p:grpSp>
            <p:nvGrpSpPr>
              <p:cNvPr id="136" name="Gruppieren 907">
                <a:extLst>
                  <a:ext uri="{FF2B5EF4-FFF2-40B4-BE49-F238E27FC236}">
                    <a16:creationId xmlns:a16="http://schemas.microsoft.com/office/drawing/2014/main" id="{DBBF5FA3-0BA7-4A14-AC11-9AF8E8BD39D9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448947" y="2970769"/>
                <a:ext cx="88457" cy="234659"/>
                <a:chOff x="9147423" y="1790700"/>
                <a:chExt cx="725488" cy="1924580"/>
              </a:xfrm>
            </p:grpSpPr>
            <p:sp>
              <p:nvSpPr>
                <p:cNvPr id="159" name="Abgerundetes Rechteck 908">
                  <a:extLst>
                    <a:ext uri="{FF2B5EF4-FFF2-40B4-BE49-F238E27FC236}">
                      <a16:creationId xmlns:a16="http://schemas.microsoft.com/office/drawing/2014/main" id="{14BB09BA-EAA6-4C72-B221-0950FC4FB6DE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solidFill>
                  <a:srgbClr val="C6C6C6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60" name="Gruppieren 909">
                  <a:extLst>
                    <a:ext uri="{FF2B5EF4-FFF2-40B4-BE49-F238E27FC236}">
                      <a16:creationId xmlns:a16="http://schemas.microsoft.com/office/drawing/2014/main" id="{80AB31F1-2021-4181-BA74-399E2BFBDF8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</p:grpSpPr>
              <p:sp>
                <p:nvSpPr>
                  <p:cNvPr id="178" name="Freeform 849">
                    <a:extLst>
                      <a:ext uri="{FF2B5EF4-FFF2-40B4-BE49-F238E27FC236}">
                        <a16:creationId xmlns:a16="http://schemas.microsoft.com/office/drawing/2014/main" id="{617DC6B9-6942-4EE2-9A63-48FACEB7D8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9" name="Freeform 850">
                    <a:extLst>
                      <a:ext uri="{FF2B5EF4-FFF2-40B4-BE49-F238E27FC236}">
                        <a16:creationId xmlns:a16="http://schemas.microsoft.com/office/drawing/2014/main" id="{0CCF2E5D-6610-44F3-83A2-CB539C1361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61" name="Gruppieren 910">
                  <a:extLst>
                    <a:ext uri="{FF2B5EF4-FFF2-40B4-BE49-F238E27FC236}">
                      <a16:creationId xmlns:a16="http://schemas.microsoft.com/office/drawing/2014/main" id="{489D2CC8-9BAF-49AF-A7B1-E88FC51134D0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</p:grpSpPr>
              <p:sp>
                <p:nvSpPr>
                  <p:cNvPr id="162" name="Abgerundetes Rechteck 911">
                    <a:extLst>
                      <a:ext uri="{FF2B5EF4-FFF2-40B4-BE49-F238E27FC236}">
                        <a16:creationId xmlns:a16="http://schemas.microsoft.com/office/drawing/2014/main" id="{363FE1EC-3194-4613-BB5A-1BF98559918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3" name="Rectangle 162">
                    <a:extLst>
                      <a:ext uri="{FF2B5EF4-FFF2-40B4-BE49-F238E27FC236}">
                        <a16:creationId xmlns:a16="http://schemas.microsoft.com/office/drawing/2014/main" id="{EEFE7B7B-F4F6-4A4C-90C7-D68840C9AC2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4" name="Rectangle 163">
                    <a:extLst>
                      <a:ext uri="{FF2B5EF4-FFF2-40B4-BE49-F238E27FC236}">
                        <a16:creationId xmlns:a16="http://schemas.microsoft.com/office/drawing/2014/main" id="{3D6D805E-54C2-4C97-AADA-E9B0F58FB51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5" name="Rectangle 164">
                    <a:extLst>
                      <a:ext uri="{FF2B5EF4-FFF2-40B4-BE49-F238E27FC236}">
                        <a16:creationId xmlns:a16="http://schemas.microsoft.com/office/drawing/2014/main" id="{D21DD822-33E6-466C-9815-BD32B87A430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6" name="Rectangle 165">
                    <a:extLst>
                      <a:ext uri="{FF2B5EF4-FFF2-40B4-BE49-F238E27FC236}">
                        <a16:creationId xmlns:a16="http://schemas.microsoft.com/office/drawing/2014/main" id="{6D8B3619-11FD-4BB7-B0B7-7969CF07C8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7" name="Rectangle 166">
                    <a:extLst>
                      <a:ext uri="{FF2B5EF4-FFF2-40B4-BE49-F238E27FC236}">
                        <a16:creationId xmlns:a16="http://schemas.microsoft.com/office/drawing/2014/main" id="{54A01531-0955-4016-AF9C-94B5A29CFF6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8" name="Rectangle 167">
                    <a:extLst>
                      <a:ext uri="{FF2B5EF4-FFF2-40B4-BE49-F238E27FC236}">
                        <a16:creationId xmlns:a16="http://schemas.microsoft.com/office/drawing/2014/main" id="{9ADE7672-D8FA-44B5-BB27-2674212198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69" name="Rectangle 168">
                    <a:extLst>
                      <a:ext uri="{FF2B5EF4-FFF2-40B4-BE49-F238E27FC236}">
                        <a16:creationId xmlns:a16="http://schemas.microsoft.com/office/drawing/2014/main" id="{259ECD59-BE15-4914-B789-34329741A7B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0" name="Rectangle 169">
                    <a:extLst>
                      <a:ext uri="{FF2B5EF4-FFF2-40B4-BE49-F238E27FC236}">
                        <a16:creationId xmlns:a16="http://schemas.microsoft.com/office/drawing/2014/main" id="{20BB36F9-B6E8-4F30-89D0-1DB5EAE23F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1" name="Rectangle 170">
                    <a:extLst>
                      <a:ext uri="{FF2B5EF4-FFF2-40B4-BE49-F238E27FC236}">
                        <a16:creationId xmlns:a16="http://schemas.microsoft.com/office/drawing/2014/main" id="{62456BCB-8F28-447E-90F9-D8AC848DC01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2" name="Rectangle 171">
                    <a:extLst>
                      <a:ext uri="{FF2B5EF4-FFF2-40B4-BE49-F238E27FC236}">
                        <a16:creationId xmlns:a16="http://schemas.microsoft.com/office/drawing/2014/main" id="{41E9DBEA-9895-43D8-BC5F-8C5BA51D8B5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3" name="Rectangle 172">
                    <a:extLst>
                      <a:ext uri="{FF2B5EF4-FFF2-40B4-BE49-F238E27FC236}">
                        <a16:creationId xmlns:a16="http://schemas.microsoft.com/office/drawing/2014/main" id="{CDCAD6DC-62D5-439F-9891-D07CFD35295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4" name="Rectangle 173">
                    <a:extLst>
                      <a:ext uri="{FF2B5EF4-FFF2-40B4-BE49-F238E27FC236}">
                        <a16:creationId xmlns:a16="http://schemas.microsoft.com/office/drawing/2014/main" id="{AB0D67AD-5666-48E5-B91C-DC9E28CB586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5" name="Rectangle 174">
                    <a:extLst>
                      <a:ext uri="{FF2B5EF4-FFF2-40B4-BE49-F238E27FC236}">
                        <a16:creationId xmlns:a16="http://schemas.microsoft.com/office/drawing/2014/main" id="{78D6A7A4-BC84-40CF-893E-4F9505D274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6" name="Rectangle 175">
                    <a:extLst>
                      <a:ext uri="{FF2B5EF4-FFF2-40B4-BE49-F238E27FC236}">
                        <a16:creationId xmlns:a16="http://schemas.microsoft.com/office/drawing/2014/main" id="{73EEC402-F397-4009-8473-5240CCC353C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77" name="Rectangle 176">
                    <a:extLst>
                      <a:ext uri="{FF2B5EF4-FFF2-40B4-BE49-F238E27FC236}">
                        <a16:creationId xmlns:a16="http://schemas.microsoft.com/office/drawing/2014/main" id="{05F6B419-5F5D-4FDC-8EB1-0DF10ED46DD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  <p:grpSp>
            <p:nvGrpSpPr>
              <p:cNvPr id="137" name="Gruppieren 907">
                <a:extLst>
                  <a:ext uri="{FF2B5EF4-FFF2-40B4-BE49-F238E27FC236}">
                    <a16:creationId xmlns:a16="http://schemas.microsoft.com/office/drawing/2014/main" id="{13D138E2-B392-45D9-A24B-43AFF9831A4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548072" y="2970769"/>
                <a:ext cx="88457" cy="234659"/>
                <a:chOff x="9147423" y="1790700"/>
                <a:chExt cx="725488" cy="1924580"/>
              </a:xfrm>
            </p:grpSpPr>
            <p:sp>
              <p:nvSpPr>
                <p:cNvPr id="138" name="Abgerundetes Rechteck 908">
                  <a:extLst>
                    <a:ext uri="{FF2B5EF4-FFF2-40B4-BE49-F238E27FC236}">
                      <a16:creationId xmlns:a16="http://schemas.microsoft.com/office/drawing/2014/main" id="{AE463138-5739-496D-81C3-D002B94719DC}"/>
                    </a:ext>
                  </a:extLst>
                </p:cNvPr>
                <p:cNvSpPr/>
                <p:nvPr/>
              </p:nvSpPr>
              <p:spPr bwMode="gray">
                <a:xfrm>
                  <a:off x="9147423" y="1790700"/>
                  <a:ext cx="725488" cy="1924580"/>
                </a:xfrm>
                <a:prstGeom prst="roundRect">
                  <a:avLst>
                    <a:gd name="adj" fmla="val 6820"/>
                  </a:avLst>
                </a:prstGeom>
                <a:solidFill>
                  <a:srgbClr val="C6C6C6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grpSp>
              <p:nvGrpSpPr>
                <p:cNvPr id="139" name="Gruppieren 909">
                  <a:extLst>
                    <a:ext uri="{FF2B5EF4-FFF2-40B4-BE49-F238E27FC236}">
                      <a16:creationId xmlns:a16="http://schemas.microsoft.com/office/drawing/2014/main" id="{724D2B23-A098-470A-A77B-18CB02461DA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3524780"/>
                  <a:ext cx="619125" cy="98426"/>
                  <a:chOff x="9202985" y="3100387"/>
                  <a:chExt cx="619125" cy="98426"/>
                </a:xfrm>
              </p:grpSpPr>
              <p:sp>
                <p:nvSpPr>
                  <p:cNvPr id="157" name="Freeform 828">
                    <a:extLst>
                      <a:ext uri="{FF2B5EF4-FFF2-40B4-BE49-F238E27FC236}">
                        <a16:creationId xmlns:a16="http://schemas.microsoft.com/office/drawing/2014/main" id="{5669E217-1AFA-4467-BFC8-386CABE160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49600"/>
                    <a:ext cx="619125" cy="49213"/>
                  </a:xfrm>
                  <a:custGeom>
                    <a:avLst/>
                    <a:gdLst>
                      <a:gd name="T0" fmla="*/ 0 w 202"/>
                      <a:gd name="T1" fmla="*/ 0 h 15"/>
                      <a:gd name="T2" fmla="*/ 0 w 202"/>
                      <a:gd name="T3" fmla="*/ 6 h 15"/>
                      <a:gd name="T4" fmla="*/ 11 w 202"/>
                      <a:gd name="T5" fmla="*/ 15 h 15"/>
                      <a:gd name="T6" fmla="*/ 191 w 202"/>
                      <a:gd name="T7" fmla="*/ 15 h 15"/>
                      <a:gd name="T8" fmla="*/ 202 w 202"/>
                      <a:gd name="T9" fmla="*/ 6 h 15"/>
                      <a:gd name="T10" fmla="*/ 202 w 202"/>
                      <a:gd name="T11" fmla="*/ 0 h 15"/>
                      <a:gd name="T12" fmla="*/ 0 w 202"/>
                      <a:gd name="T13" fmla="*/ 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5">
                        <a:moveTo>
                          <a:pt x="0" y="0"/>
                        </a:move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0" y="11"/>
                          <a:pt x="5" y="15"/>
                          <a:pt x="1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7" y="15"/>
                          <a:pt x="202" y="11"/>
                          <a:pt x="202" y="6"/>
                        </a:cubicBezTo>
                        <a:cubicBezTo>
                          <a:pt x="202" y="0"/>
                          <a:pt x="202" y="0"/>
                          <a:pt x="20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8" name="Freeform 829">
                    <a:extLst>
                      <a:ext uri="{FF2B5EF4-FFF2-40B4-BE49-F238E27FC236}">
                        <a16:creationId xmlns:a16="http://schemas.microsoft.com/office/drawing/2014/main" id="{FDDA1138-EE40-4932-801B-3505A99686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202985" y="3100387"/>
                    <a:ext cx="619125" cy="49213"/>
                  </a:xfrm>
                  <a:custGeom>
                    <a:avLst/>
                    <a:gdLst>
                      <a:gd name="T0" fmla="*/ 202 w 202"/>
                      <a:gd name="T1" fmla="*/ 9 h 14"/>
                      <a:gd name="T2" fmla="*/ 191 w 202"/>
                      <a:gd name="T3" fmla="*/ 0 h 14"/>
                      <a:gd name="T4" fmla="*/ 11 w 202"/>
                      <a:gd name="T5" fmla="*/ 0 h 14"/>
                      <a:gd name="T6" fmla="*/ 0 w 202"/>
                      <a:gd name="T7" fmla="*/ 9 h 14"/>
                      <a:gd name="T8" fmla="*/ 0 w 202"/>
                      <a:gd name="T9" fmla="*/ 14 h 14"/>
                      <a:gd name="T10" fmla="*/ 202 w 202"/>
                      <a:gd name="T11" fmla="*/ 14 h 14"/>
                      <a:gd name="T12" fmla="*/ 202 w 202"/>
                      <a:gd name="T13" fmla="*/ 9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2" h="14">
                        <a:moveTo>
                          <a:pt x="202" y="9"/>
                        </a:moveTo>
                        <a:cubicBezTo>
                          <a:pt x="202" y="4"/>
                          <a:pt x="197" y="0"/>
                          <a:pt x="191" y="0"/>
                        </a:cubicBezTo>
                        <a:cubicBezTo>
                          <a:pt x="11" y="0"/>
                          <a:pt x="11" y="0"/>
                          <a:pt x="11" y="0"/>
                        </a:cubicBezTo>
                        <a:cubicBezTo>
                          <a:pt x="5" y="0"/>
                          <a:pt x="0" y="4"/>
                          <a:pt x="0" y="9"/>
                        </a:cubicBezTo>
                        <a:cubicBezTo>
                          <a:pt x="0" y="14"/>
                          <a:pt x="0" y="14"/>
                          <a:pt x="0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lnTo>
                          <a:pt x="202" y="9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  <p:grpSp>
              <p:nvGrpSpPr>
                <p:cNvPr id="140" name="Gruppieren 910">
                  <a:extLst>
                    <a:ext uri="{FF2B5EF4-FFF2-40B4-BE49-F238E27FC236}">
                      <a16:creationId xmlns:a16="http://schemas.microsoft.com/office/drawing/2014/main" id="{27280F92-46B0-4B0A-86D0-D2BC842C9F0B}"/>
                    </a:ext>
                  </a:extLst>
                </p:cNvPr>
                <p:cNvGrpSpPr/>
                <p:nvPr/>
              </p:nvGrpSpPr>
              <p:grpSpPr bwMode="gray">
                <a:xfrm>
                  <a:off x="9202985" y="1831102"/>
                  <a:ext cx="619125" cy="1128528"/>
                  <a:chOff x="9202985" y="1831102"/>
                  <a:chExt cx="619125" cy="1128528"/>
                </a:xfrm>
              </p:grpSpPr>
              <p:sp>
                <p:nvSpPr>
                  <p:cNvPr id="141" name="Abgerundetes Rechteck 911">
                    <a:extLst>
                      <a:ext uri="{FF2B5EF4-FFF2-40B4-BE49-F238E27FC236}">
                        <a16:creationId xmlns:a16="http://schemas.microsoft.com/office/drawing/2014/main" id="{2B455008-B9BA-4162-89A6-37ED628D63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9202985" y="1831102"/>
                    <a:ext cx="619125" cy="1128528"/>
                  </a:xfrm>
                  <a:prstGeom prst="roundRect">
                    <a:avLst>
                      <a:gd name="adj" fmla="val 6820"/>
                    </a:avLst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2" name="Rectangle 141">
                    <a:extLst>
                      <a:ext uri="{FF2B5EF4-FFF2-40B4-BE49-F238E27FC236}">
                        <a16:creationId xmlns:a16="http://schemas.microsoft.com/office/drawing/2014/main" id="{A0CB229C-6ADB-44DE-AB7B-B87AD4F4DDC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1908705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3" name="Rectangle 142">
                    <a:extLst>
                      <a:ext uri="{FF2B5EF4-FFF2-40B4-BE49-F238E27FC236}">
                        <a16:creationId xmlns:a16="http://schemas.microsoft.com/office/drawing/2014/main" id="{99B92B75-D257-47B8-AA67-C6CE76FAB6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10396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4" name="Rectangle 143">
                    <a:extLst>
                      <a:ext uri="{FF2B5EF4-FFF2-40B4-BE49-F238E27FC236}">
                        <a16:creationId xmlns:a16="http://schemas.microsoft.com/office/drawing/2014/main" id="{DD85DC6F-0CED-4373-8986-30D823C2081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230968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5" name="Rectangle 144">
                    <a:extLst>
                      <a:ext uri="{FF2B5EF4-FFF2-40B4-BE49-F238E27FC236}">
                        <a16:creationId xmlns:a16="http://schemas.microsoft.com/office/drawing/2014/main" id="{2A6584DA-1724-42D8-B362-749849A8CFF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13413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6" name="Rectangle 145">
                    <a:extLst>
                      <a:ext uri="{FF2B5EF4-FFF2-40B4-BE49-F238E27FC236}">
                        <a16:creationId xmlns:a16="http://schemas.microsoft.com/office/drawing/2014/main" id="{904190A9-7109-42B8-B794-C7589F6883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037293"/>
                    <a:ext cx="95250" cy="26988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id="{8BC09492-DA0C-406B-8A94-51964E4F33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1935693"/>
                    <a:ext cx="534988" cy="79375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8" name="Rectangle 147">
                    <a:extLst>
                      <a:ext uri="{FF2B5EF4-FFF2-40B4-BE49-F238E27FC236}">
                        <a16:creationId xmlns:a16="http://schemas.microsoft.com/office/drawing/2014/main" id="{4D1EB64F-3A85-41B7-AD81-0BFF80097CD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300818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49" name="Rectangle 148">
                    <a:extLst>
                      <a:ext uri="{FF2B5EF4-FFF2-40B4-BE49-F238E27FC236}">
                        <a16:creationId xmlns:a16="http://schemas.microsoft.com/office/drawing/2014/main" id="{C9B6D151-5AC9-4E20-A1ED-32EAD78BACD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427818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0" name="Rectangle 149">
                    <a:extLst>
                      <a:ext uri="{FF2B5EF4-FFF2-40B4-BE49-F238E27FC236}">
                        <a16:creationId xmlns:a16="http://schemas.microsoft.com/office/drawing/2014/main" id="{B2084F1F-D139-425D-AD5C-7AEF34E175D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330980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1" name="Rectangle 150">
                    <a:extLst>
                      <a:ext uri="{FF2B5EF4-FFF2-40B4-BE49-F238E27FC236}">
                        <a16:creationId xmlns:a16="http://schemas.microsoft.com/office/drawing/2014/main" id="{924A7C37-124A-4A0C-9050-6D405458A84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49449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2" name="Rectangle 151">
                    <a:extLst>
                      <a:ext uri="{FF2B5EF4-FFF2-40B4-BE49-F238E27FC236}">
                        <a16:creationId xmlns:a16="http://schemas.microsoft.com/office/drawing/2014/main" id="{7413B115-9516-4EA1-A9FE-CB6C0D80BFE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621493"/>
                    <a:ext cx="95250" cy="28575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3" name="Rectangle 152">
                    <a:extLst>
                      <a:ext uri="{FF2B5EF4-FFF2-40B4-BE49-F238E27FC236}">
                        <a16:creationId xmlns:a16="http://schemas.microsoft.com/office/drawing/2014/main" id="{3AAE0CC1-11A8-4FD8-BA8D-CA73C6D345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52465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4" name="Rectangle 153">
                    <a:extLst>
                      <a:ext uri="{FF2B5EF4-FFF2-40B4-BE49-F238E27FC236}">
                        <a16:creationId xmlns:a16="http://schemas.microsoft.com/office/drawing/2014/main" id="{C61818E7-BED0-4F6B-8087-F281DAC3793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15156" y="2691343"/>
                    <a:ext cx="595313" cy="185738"/>
                  </a:xfrm>
                  <a:prstGeom prst="rect">
                    <a:avLst/>
                  </a:prstGeom>
                  <a:solidFill>
                    <a:srgbClr val="00617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5" name="Rectangle 154">
                    <a:extLst>
                      <a:ext uri="{FF2B5EF4-FFF2-40B4-BE49-F238E27FC236}">
                        <a16:creationId xmlns:a16="http://schemas.microsoft.com/office/drawing/2014/main" id="{D15932E2-10E4-4EF5-870A-540FB29575C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683468" y="2818343"/>
                    <a:ext cx="95250" cy="28575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  <p:sp>
                <p:nvSpPr>
                  <p:cNvPr id="156" name="Rectangle 155">
                    <a:extLst>
                      <a:ext uri="{FF2B5EF4-FFF2-40B4-BE49-F238E27FC236}">
                        <a16:creationId xmlns:a16="http://schemas.microsoft.com/office/drawing/2014/main" id="{BAA4DD20-6AED-4135-A24A-AD94A46CA84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9243731" y="2721505"/>
                    <a:ext cx="534988" cy="76200"/>
                  </a:xfrm>
                  <a:prstGeom prst="rect">
                    <a:avLst/>
                  </a:prstGeom>
                  <a:solidFill>
                    <a:srgbClr val="0091DF"/>
                  </a:soli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 Unicode MS"/>
                      <a:cs typeface="Arial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53568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720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7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396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7641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5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2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</p:spTree>
    <p:extLst>
      <p:ext uri="{BB962C8B-B14F-4D97-AF65-F5344CB8AC3E}">
        <p14:creationId xmlns:p14="http://schemas.microsoft.com/office/powerpoint/2010/main" val="70010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803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3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D8449701-AAB9-46F9-8ABD-4A4C003D456D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40" name="Isosceles Triangle 439">
            <a:extLst>
              <a:ext uri="{FF2B5EF4-FFF2-40B4-BE49-F238E27FC236}">
                <a16:creationId xmlns:a16="http://schemas.microsoft.com/office/drawing/2014/main" id="{AAD0C493-ADA4-4ED0-8F15-B28C6CD54BA2}"/>
              </a:ext>
            </a:extLst>
          </p:cNvPr>
          <p:cNvSpPr/>
          <p:nvPr/>
        </p:nvSpPr>
        <p:spPr bwMode="gray">
          <a:xfrm rot="10800000" flipV="1">
            <a:off x="1342986" y="4314671"/>
            <a:ext cx="8967416" cy="1019595"/>
          </a:xfrm>
          <a:prstGeom prst="triangle">
            <a:avLst>
              <a:gd name="adj" fmla="val 35335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1E4BADD7-C881-4FCB-89CB-793380A20238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640000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The </a:t>
            </a:r>
            <a:r>
              <a:rPr lang="en-US" sz="1400" b="1">
                <a:solidFill>
                  <a:schemeClr val="tx1"/>
                </a:solidFill>
              </a:rPr>
              <a:t>Serving Layer </a:t>
            </a:r>
            <a:r>
              <a:rPr lang="en-US" sz="1200">
                <a:solidFill>
                  <a:schemeClr val="tx1"/>
                </a:solidFill>
              </a:rPr>
              <a:t>is responsible for </a:t>
            </a:r>
            <a:r>
              <a:rPr lang="en-US" sz="1200" b="1">
                <a:solidFill>
                  <a:schemeClr val="tx1"/>
                </a:solidFill>
              </a:rPr>
              <a:t>receiving the “as reported terms” </a:t>
            </a:r>
            <a:r>
              <a:rPr lang="en-US" sz="1200">
                <a:solidFill>
                  <a:schemeClr val="tx1"/>
                </a:solidFill>
              </a:rPr>
              <a:t>from MPC, forwarding it to the </a:t>
            </a:r>
            <a:r>
              <a:rPr lang="en-US" sz="1200" err="1">
                <a:solidFill>
                  <a:schemeClr val="tx1"/>
                </a:solidFill>
              </a:rPr>
              <a:t>ai.Holmes</a:t>
            </a:r>
            <a:r>
              <a:rPr lang="en-US" sz="1200">
                <a:solidFill>
                  <a:schemeClr val="tx1"/>
                </a:solidFill>
              </a:rPr>
              <a:t> algorithm and </a:t>
            </a:r>
            <a:r>
              <a:rPr lang="en-US" sz="1200" b="1">
                <a:solidFill>
                  <a:schemeClr val="tx1"/>
                </a:solidFill>
              </a:rPr>
              <a:t>returning the respective predictions </a:t>
            </a:r>
            <a:r>
              <a:rPr lang="en-US" sz="1200">
                <a:solidFill>
                  <a:schemeClr val="tx1"/>
                </a:solidFill>
              </a:rPr>
              <a:t>to the MPC. It is, thus, the main connection between MPC and Holmes.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15A767-AF82-45CC-AC7B-08A1BFD8B894}"/>
              </a:ext>
            </a:extLst>
          </p:cNvPr>
          <p:cNvSpPr/>
          <p:nvPr/>
        </p:nvSpPr>
        <p:spPr bwMode="gray">
          <a:xfrm>
            <a:off x="1403450" y="5342152"/>
            <a:ext cx="3351430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 i="0" u="none" cap="all">
                <a:solidFill>
                  <a:srgbClr val="FFFFFF"/>
                </a:solidFill>
                <a:latin typeface="Arial" panose="020B0604020202020204" pitchFamily="34" charset="0"/>
              </a:rPr>
              <a:t>Daily interaction with business process</a:t>
            </a:r>
          </a:p>
        </p:txBody>
      </p:sp>
    </p:spTree>
    <p:extLst>
      <p:ext uri="{BB962C8B-B14F-4D97-AF65-F5344CB8AC3E}">
        <p14:creationId xmlns:p14="http://schemas.microsoft.com/office/powerpoint/2010/main" val="319572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58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1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4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04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009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5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B231D23D-751F-4F0F-9CA8-E5E395A1160A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2" name="Isosceles Triangle 361">
            <a:extLst>
              <a:ext uri="{FF2B5EF4-FFF2-40B4-BE49-F238E27FC236}">
                <a16:creationId xmlns:a16="http://schemas.microsoft.com/office/drawing/2014/main" id="{F8429839-EAD5-45EA-88E8-B840B4C3F719}"/>
              </a:ext>
            </a:extLst>
          </p:cNvPr>
          <p:cNvSpPr/>
          <p:nvPr/>
        </p:nvSpPr>
        <p:spPr bwMode="gray">
          <a:xfrm rot="10800000" flipV="1">
            <a:off x="1342986" y="4947443"/>
            <a:ext cx="8967416" cy="386823"/>
          </a:xfrm>
          <a:prstGeom prst="triangle">
            <a:avLst>
              <a:gd name="adj" fmla="val 54596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3" name="Subtitle 1">
            <a:extLst>
              <a:ext uri="{FF2B5EF4-FFF2-40B4-BE49-F238E27FC236}">
                <a16:creationId xmlns:a16="http://schemas.microsoft.com/office/drawing/2014/main" id="{2A59E455-74EB-4D00-9729-BB054D71B4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379" name="Title 2">
            <a:extLst>
              <a:ext uri="{FF2B5EF4-FFF2-40B4-BE49-F238E27FC236}">
                <a16:creationId xmlns:a16="http://schemas.microsoft.com/office/drawing/2014/main" id="{9C9D7EA7-2157-46D0-A224-B34029D8C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976FEFBE-15E3-4128-B1C3-B3E547018FC4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514571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Via the </a:t>
            </a:r>
            <a:r>
              <a:rPr lang="en-US" sz="1400" b="1">
                <a:solidFill>
                  <a:schemeClr val="tx1"/>
                </a:solidFill>
              </a:rPr>
              <a:t>Ingestion Layer, </a:t>
            </a:r>
            <a:r>
              <a:rPr lang="en-US" sz="1200">
                <a:solidFill>
                  <a:schemeClr val="tx1"/>
                </a:solidFill>
              </a:rPr>
              <a:t>the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MPC sends all available data that is needed for training the model to Holmes. It can be considered as a one-way street since we do not send any data from Holmes to MPC via it.</a:t>
            </a: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50E65A04-2804-4F07-8BB1-7BA2E34A3017}"/>
              </a:ext>
            </a:extLst>
          </p:cNvPr>
          <p:cNvSpPr/>
          <p:nvPr/>
        </p:nvSpPr>
        <p:spPr bwMode="gray">
          <a:xfrm>
            <a:off x="1403450" y="5342152"/>
            <a:ext cx="2754664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FOR MONTHLY MODEL TRAINING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42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86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7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6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DD4A1F-9D2E-4B37-BAC5-03B40748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8D159F1-0A23-447B-BF2D-08A04305AC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33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9968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5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7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D0F6FA40-6E7B-40B9-844C-6FDF9DABA8B0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2" name="Isosceles Triangle 361">
            <a:extLst>
              <a:ext uri="{FF2B5EF4-FFF2-40B4-BE49-F238E27FC236}">
                <a16:creationId xmlns:a16="http://schemas.microsoft.com/office/drawing/2014/main" id="{DAF84009-EBDC-49AA-8F40-B8E23C1E37B5}"/>
              </a:ext>
            </a:extLst>
          </p:cNvPr>
          <p:cNvSpPr/>
          <p:nvPr/>
        </p:nvSpPr>
        <p:spPr bwMode="gray">
          <a:xfrm rot="10800000" flipV="1">
            <a:off x="1342986" y="4947443"/>
            <a:ext cx="8967416" cy="386823"/>
          </a:xfrm>
          <a:prstGeom prst="triangle">
            <a:avLst>
              <a:gd name="adj" fmla="val 26397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79" name="Subtitle 1">
            <a:extLst>
              <a:ext uri="{FF2B5EF4-FFF2-40B4-BE49-F238E27FC236}">
                <a16:creationId xmlns:a16="http://schemas.microsoft.com/office/drawing/2014/main" id="{E6EE2390-3803-4766-BB5C-641F916B599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380" name="Title 2">
            <a:extLst>
              <a:ext uri="{FF2B5EF4-FFF2-40B4-BE49-F238E27FC236}">
                <a16:creationId xmlns:a16="http://schemas.microsoft.com/office/drawing/2014/main" id="{13D1F69E-154B-404D-94BC-BB169FAC3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5C34B3EC-2E6C-430A-9914-565A96A1B3F0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514571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In the </a:t>
            </a:r>
            <a:r>
              <a:rPr lang="en-US" sz="1400" b="1">
                <a:solidFill>
                  <a:schemeClr val="tx1"/>
                </a:solidFill>
              </a:rPr>
              <a:t>Storage Layer </a:t>
            </a:r>
            <a:r>
              <a:rPr lang="en-US" sz="1200">
                <a:solidFill>
                  <a:schemeClr val="tx1"/>
                </a:solidFill>
              </a:rPr>
              <a:t>we save all data, solutions or model versions that are received or created by the Holmes system. It can be considered as the </a:t>
            </a:r>
            <a:r>
              <a:rPr lang="en-US" sz="1200" b="1">
                <a:solidFill>
                  <a:schemeClr val="tx1"/>
                </a:solidFill>
              </a:rPr>
              <a:t>hard-drive of Holmes</a:t>
            </a:r>
            <a:r>
              <a:rPr lang="en-US" sz="1200">
                <a:solidFill>
                  <a:schemeClr val="tx1"/>
                </a:solidFill>
              </a:rPr>
              <a:t>.   </a:t>
            </a: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91066C66-D334-47DD-9E1D-722DAAE67821}"/>
              </a:ext>
            </a:extLst>
          </p:cNvPr>
          <p:cNvSpPr/>
          <p:nvPr/>
        </p:nvSpPr>
        <p:spPr bwMode="gray">
          <a:xfrm>
            <a:off x="1403450" y="5342152"/>
            <a:ext cx="2754664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e.g., FOR MONTHLY MODEL TRAINING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02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96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3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8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Title 2">
            <a:extLst>
              <a:ext uri="{FF2B5EF4-FFF2-40B4-BE49-F238E27FC236}">
                <a16:creationId xmlns:a16="http://schemas.microsoft.com/office/drawing/2014/main" id="{A011C98E-5454-40EC-94B9-E3BDF12CF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62" name="Subtitle 1">
            <a:extLst>
              <a:ext uri="{FF2B5EF4-FFF2-40B4-BE49-F238E27FC236}">
                <a16:creationId xmlns:a16="http://schemas.microsoft.com/office/drawing/2014/main" id="{67E34ABD-27B2-469D-B7EB-892CCF746B3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81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71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1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9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EA2879A2-3D86-43E6-AAE6-0419DE79B6DB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62" name="Isosceles Triangle 361">
            <a:extLst>
              <a:ext uri="{FF2B5EF4-FFF2-40B4-BE49-F238E27FC236}">
                <a16:creationId xmlns:a16="http://schemas.microsoft.com/office/drawing/2014/main" id="{62BD062B-583D-4EFB-9119-92CD570103F2}"/>
              </a:ext>
            </a:extLst>
          </p:cNvPr>
          <p:cNvSpPr/>
          <p:nvPr/>
        </p:nvSpPr>
        <p:spPr bwMode="gray">
          <a:xfrm rot="10800000" flipV="1">
            <a:off x="1342986" y="4496538"/>
            <a:ext cx="8967416" cy="837729"/>
          </a:xfrm>
          <a:prstGeom prst="triangle">
            <a:avLst>
              <a:gd name="adj" fmla="val 2463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19F3C8C7-18DB-4614-89AB-7371B1F5E669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651363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The </a:t>
            </a:r>
            <a:r>
              <a:rPr lang="en-US" sz="1400" b="1">
                <a:solidFill>
                  <a:schemeClr val="tx1"/>
                </a:solidFill>
              </a:rPr>
              <a:t>Transformation Layer </a:t>
            </a:r>
            <a:r>
              <a:rPr lang="en-US" sz="1200">
                <a:solidFill>
                  <a:schemeClr val="tx1"/>
                </a:solidFill>
              </a:rPr>
              <a:t>handles all steps that are required to make the original MPC </a:t>
            </a:r>
            <a:r>
              <a:rPr lang="en-US" sz="1200" b="1">
                <a:solidFill>
                  <a:schemeClr val="tx1"/>
                </a:solidFill>
              </a:rPr>
              <a:t>data ready for model training</a:t>
            </a:r>
            <a:r>
              <a:rPr lang="en-US" sz="1200">
                <a:solidFill>
                  <a:schemeClr val="tx1"/>
                </a:solidFill>
              </a:rPr>
              <a:t>. It is a preprocessing pipeline that e.g. ensures we have no duplicates to train on.</a:t>
            </a:r>
          </a:p>
        </p:txBody>
      </p:sp>
      <p:sp>
        <p:nvSpPr>
          <p:cNvPr id="391" name="Title 2">
            <a:extLst>
              <a:ext uri="{FF2B5EF4-FFF2-40B4-BE49-F238E27FC236}">
                <a16:creationId xmlns:a16="http://schemas.microsoft.com/office/drawing/2014/main" id="{4621E405-613D-48C0-95B0-1774F552A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93" name="Subtitle 1">
            <a:extLst>
              <a:ext uri="{FF2B5EF4-FFF2-40B4-BE49-F238E27FC236}">
                <a16:creationId xmlns:a16="http://schemas.microsoft.com/office/drawing/2014/main" id="{8EEA08ED-935F-468E-B41B-35B7559E6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400" name="Rectangle 399">
            <a:extLst>
              <a:ext uri="{FF2B5EF4-FFF2-40B4-BE49-F238E27FC236}">
                <a16:creationId xmlns:a16="http://schemas.microsoft.com/office/drawing/2014/main" id="{0279361D-FECF-4CEE-92F6-25B48B3787A3}"/>
              </a:ext>
            </a:extLst>
          </p:cNvPr>
          <p:cNvSpPr/>
          <p:nvPr/>
        </p:nvSpPr>
        <p:spPr bwMode="gray">
          <a:xfrm>
            <a:off x="1403450" y="5342152"/>
            <a:ext cx="2754664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FOR MONTHLY MODEL TRAINING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067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ct </a:t>
            </a:r>
            <a:br>
              <a:rPr lang="de-DE"/>
            </a:br>
            <a:r>
              <a:rPr lang="de-DE"/>
              <a:t>Statu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4414" y="2444854"/>
            <a:ext cx="1847775" cy="64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45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320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0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80" name="Title 2">
            <a:extLst>
              <a:ext uri="{FF2B5EF4-FFF2-40B4-BE49-F238E27FC236}">
                <a16:creationId xmlns:a16="http://schemas.microsoft.com/office/drawing/2014/main" id="{F5056441-CC39-4F88-B6FC-CAF274483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91" name="Subtitle 1">
            <a:extLst>
              <a:ext uri="{FF2B5EF4-FFF2-40B4-BE49-F238E27FC236}">
                <a16:creationId xmlns:a16="http://schemas.microsoft.com/office/drawing/2014/main" id="{49DB61C1-FA58-4E8B-9523-C2E240A2A29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3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14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7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0" name="Rectangle 379">
            <a:extLst>
              <a:ext uri="{FF2B5EF4-FFF2-40B4-BE49-F238E27FC236}">
                <a16:creationId xmlns:a16="http://schemas.microsoft.com/office/drawing/2014/main" id="{50875BCE-9BC6-494F-8F2E-6F6213098D96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Isosceles Triangle 359">
            <a:extLst>
              <a:ext uri="{FF2B5EF4-FFF2-40B4-BE49-F238E27FC236}">
                <a16:creationId xmlns:a16="http://schemas.microsoft.com/office/drawing/2014/main" id="{9ED45383-3706-44EC-8832-67EB23A26750}"/>
              </a:ext>
            </a:extLst>
          </p:cNvPr>
          <p:cNvSpPr/>
          <p:nvPr/>
        </p:nvSpPr>
        <p:spPr bwMode="gray">
          <a:xfrm rot="10800000" flipV="1">
            <a:off x="1342986" y="3287908"/>
            <a:ext cx="8967416" cy="2046360"/>
          </a:xfrm>
          <a:prstGeom prst="triangle">
            <a:avLst>
              <a:gd name="adj" fmla="val 39427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3ADFACBD-F20B-4E67-8A19-DB5538DECA99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514571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In order to actually have powerful classification models available, we built a </a:t>
            </a:r>
            <a:r>
              <a:rPr lang="en-US" sz="1400" b="1">
                <a:solidFill>
                  <a:schemeClr val="tx1"/>
                </a:solidFill>
              </a:rPr>
              <a:t>Training Layer </a:t>
            </a:r>
            <a:r>
              <a:rPr lang="en-US" sz="1200">
                <a:solidFill>
                  <a:schemeClr val="tx1"/>
                </a:solidFill>
              </a:rPr>
              <a:t>that uses the transformed MPC data, trains a deep ensemble model and saves it to the mentioned storage layer. </a:t>
            </a: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1" name="Title 2">
            <a:extLst>
              <a:ext uri="{FF2B5EF4-FFF2-40B4-BE49-F238E27FC236}">
                <a16:creationId xmlns:a16="http://schemas.microsoft.com/office/drawing/2014/main" id="{7ACFAFD1-E1BB-45CE-B05E-3A1B37D13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93" name="Subtitle 1">
            <a:extLst>
              <a:ext uri="{FF2B5EF4-FFF2-40B4-BE49-F238E27FC236}">
                <a16:creationId xmlns:a16="http://schemas.microsoft.com/office/drawing/2014/main" id="{5F3B1829-B1F2-458E-B1B1-B555AB9B9C8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C3A4275E-3859-4F5F-8520-6FA241F5E10C}"/>
              </a:ext>
            </a:extLst>
          </p:cNvPr>
          <p:cNvSpPr/>
          <p:nvPr/>
        </p:nvSpPr>
        <p:spPr bwMode="gray">
          <a:xfrm>
            <a:off x="1403450" y="5342152"/>
            <a:ext cx="2754664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FOR MONTHLY MODEL TRAINING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52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25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5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2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7" name="Freeform: Shape 406">
            <a:extLst>
              <a:ext uri="{FF2B5EF4-FFF2-40B4-BE49-F238E27FC236}">
                <a16:creationId xmlns:a16="http://schemas.microsoft.com/office/drawing/2014/main" id="{4E05ACF2-3E18-44AB-B06F-CB6B4CEC3412}"/>
              </a:ext>
            </a:extLst>
          </p:cNvPr>
          <p:cNvSpPr/>
          <p:nvPr/>
        </p:nvSpPr>
        <p:spPr bwMode="gray">
          <a:xfrm>
            <a:off x="8729493" y="1895363"/>
            <a:ext cx="2887131" cy="2245135"/>
          </a:xfrm>
          <a:custGeom>
            <a:avLst/>
            <a:gdLst>
              <a:gd name="connsiteX0" fmla="*/ 118347 w 2887131"/>
              <a:gd name="connsiteY0" fmla="*/ 2049620 h 2245135"/>
              <a:gd name="connsiteX1" fmla="*/ 107973 w 2887131"/>
              <a:gd name="connsiteY1" fmla="*/ 2069432 h 2245135"/>
              <a:gd name="connsiteX2" fmla="*/ 99664 w 2887131"/>
              <a:gd name="connsiteY2" fmla="*/ 2079735 h 2245135"/>
              <a:gd name="connsiteX3" fmla="*/ 173083 w 2887131"/>
              <a:gd name="connsiteY3" fmla="*/ 1939613 h 2245135"/>
              <a:gd name="connsiteX4" fmla="*/ 169295 w 2887131"/>
              <a:gd name="connsiteY4" fmla="*/ 1952316 h 2245135"/>
              <a:gd name="connsiteX5" fmla="*/ 159166 w 2887131"/>
              <a:gd name="connsiteY5" fmla="*/ 1971661 h 2245135"/>
              <a:gd name="connsiteX6" fmla="*/ 128618 w 2887131"/>
              <a:gd name="connsiteY6" fmla="*/ 1360180 h 2245135"/>
              <a:gd name="connsiteX7" fmla="*/ 168868 w 2887131"/>
              <a:gd name="connsiteY7" fmla="*/ 1435515 h 2245135"/>
              <a:gd name="connsiteX8" fmla="*/ 176222 w 2887131"/>
              <a:gd name="connsiteY8" fmla="*/ 1458101 h 2245135"/>
              <a:gd name="connsiteX9" fmla="*/ 175612 w 2887131"/>
              <a:gd name="connsiteY9" fmla="*/ 1458101 h 2245135"/>
              <a:gd name="connsiteX10" fmla="*/ 168868 w 2887131"/>
              <a:gd name="connsiteY10" fmla="*/ 1435515 h 2245135"/>
              <a:gd name="connsiteX11" fmla="*/ 24461 w 2887131"/>
              <a:gd name="connsiteY11" fmla="*/ 1217772 h 2245135"/>
              <a:gd name="connsiteX12" fmla="*/ 24466 w 2887131"/>
              <a:gd name="connsiteY12" fmla="*/ 1217777 h 2245135"/>
              <a:gd name="connsiteX13" fmla="*/ 103578 w 2887131"/>
              <a:gd name="connsiteY13" fmla="*/ 1313314 h 2245135"/>
              <a:gd name="connsiteX14" fmla="*/ 15213 w 2887131"/>
              <a:gd name="connsiteY14" fmla="*/ 1206603 h 2245135"/>
              <a:gd name="connsiteX15" fmla="*/ 24464 w 2887131"/>
              <a:gd name="connsiteY15" fmla="*/ 1217775 h 2245135"/>
              <a:gd name="connsiteX16" fmla="*/ 24461 w 2887131"/>
              <a:gd name="connsiteY16" fmla="*/ 1217772 h 2245135"/>
              <a:gd name="connsiteX17" fmla="*/ 6272 w 2887131"/>
              <a:gd name="connsiteY17" fmla="*/ 1199393 h 2245135"/>
              <a:gd name="connsiteX18" fmla="*/ 15213 w 2887131"/>
              <a:gd name="connsiteY18" fmla="*/ 1206603 h 2245135"/>
              <a:gd name="connsiteX19" fmla="*/ 6273 w 2887131"/>
              <a:gd name="connsiteY19" fmla="*/ 1199394 h 2245135"/>
              <a:gd name="connsiteX20" fmla="*/ 0 w 2887131"/>
              <a:gd name="connsiteY20" fmla="*/ 1194335 h 2245135"/>
              <a:gd name="connsiteX21" fmla="*/ 6271 w 2887131"/>
              <a:gd name="connsiteY21" fmla="*/ 1199392 h 2245135"/>
              <a:gd name="connsiteX22" fmla="*/ 6270 w 2887131"/>
              <a:gd name="connsiteY22" fmla="*/ 1199392 h 2245135"/>
              <a:gd name="connsiteX23" fmla="*/ 1538598 w 2887131"/>
              <a:gd name="connsiteY23" fmla="*/ 0 h 2245135"/>
              <a:gd name="connsiteX24" fmla="*/ 2887131 w 2887131"/>
              <a:gd name="connsiteY24" fmla="*/ 0 h 2245135"/>
              <a:gd name="connsiteX25" fmla="*/ 2887131 w 2887131"/>
              <a:gd name="connsiteY25" fmla="*/ 2245135 h 2245135"/>
              <a:gd name="connsiteX26" fmla="*/ 1554598 w 2887131"/>
              <a:gd name="connsiteY26" fmla="*/ 2245135 h 2245135"/>
              <a:gd name="connsiteX27" fmla="*/ 1554598 w 2887131"/>
              <a:gd name="connsiteY27" fmla="*/ 1747834 h 2245135"/>
              <a:gd name="connsiteX28" fmla="*/ 216498 w 2887131"/>
              <a:gd name="connsiteY28" fmla="*/ 1747834 h 2245135"/>
              <a:gd name="connsiteX29" fmla="*/ 218838 w 2887131"/>
              <a:gd name="connsiteY29" fmla="*/ 1728843 h 2245135"/>
              <a:gd name="connsiteX30" fmla="*/ 200191 w 2887131"/>
              <a:gd name="connsiteY30" fmla="*/ 1531716 h 2245135"/>
              <a:gd name="connsiteX31" fmla="*/ 176222 w 2887131"/>
              <a:gd name="connsiteY31" fmla="*/ 1458101 h 2245135"/>
              <a:gd name="connsiteX32" fmla="*/ 1538598 w 2887131"/>
              <a:gd name="connsiteY32" fmla="*/ 1458101 h 224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87131" h="2245135">
                <a:moveTo>
                  <a:pt x="118347" y="2049620"/>
                </a:moveTo>
                <a:lnTo>
                  <a:pt x="107973" y="2069432"/>
                </a:lnTo>
                <a:lnTo>
                  <a:pt x="99664" y="2079735"/>
                </a:lnTo>
                <a:close/>
                <a:moveTo>
                  <a:pt x="173083" y="1939613"/>
                </a:moveTo>
                <a:lnTo>
                  <a:pt x="169295" y="1952316"/>
                </a:lnTo>
                <a:lnTo>
                  <a:pt x="159166" y="1971661"/>
                </a:lnTo>
                <a:close/>
                <a:moveTo>
                  <a:pt x="128618" y="1360180"/>
                </a:moveTo>
                <a:lnTo>
                  <a:pt x="168868" y="1435515"/>
                </a:lnTo>
                <a:lnTo>
                  <a:pt x="176222" y="1458101"/>
                </a:lnTo>
                <a:lnTo>
                  <a:pt x="175612" y="1458101"/>
                </a:lnTo>
                <a:lnTo>
                  <a:pt x="168868" y="1435515"/>
                </a:lnTo>
                <a:close/>
                <a:moveTo>
                  <a:pt x="24461" y="1217772"/>
                </a:moveTo>
                <a:lnTo>
                  <a:pt x="24466" y="1217777"/>
                </a:lnTo>
                <a:lnTo>
                  <a:pt x="103578" y="1313314"/>
                </a:lnTo>
                <a:close/>
                <a:moveTo>
                  <a:pt x="15213" y="1206603"/>
                </a:moveTo>
                <a:lnTo>
                  <a:pt x="24464" y="1217775"/>
                </a:lnTo>
                <a:lnTo>
                  <a:pt x="24461" y="1217772"/>
                </a:lnTo>
                <a:close/>
                <a:moveTo>
                  <a:pt x="6272" y="1199393"/>
                </a:moveTo>
                <a:lnTo>
                  <a:pt x="15213" y="1206603"/>
                </a:lnTo>
                <a:lnTo>
                  <a:pt x="6273" y="1199394"/>
                </a:lnTo>
                <a:close/>
                <a:moveTo>
                  <a:pt x="0" y="1194335"/>
                </a:moveTo>
                <a:lnTo>
                  <a:pt x="6271" y="1199392"/>
                </a:lnTo>
                <a:lnTo>
                  <a:pt x="6270" y="1199392"/>
                </a:lnTo>
                <a:close/>
                <a:moveTo>
                  <a:pt x="1538598" y="0"/>
                </a:moveTo>
                <a:lnTo>
                  <a:pt x="2887131" y="0"/>
                </a:lnTo>
                <a:lnTo>
                  <a:pt x="2887131" y="2245135"/>
                </a:lnTo>
                <a:lnTo>
                  <a:pt x="1554598" y="2245135"/>
                </a:lnTo>
                <a:lnTo>
                  <a:pt x="1554598" y="1747834"/>
                </a:lnTo>
                <a:lnTo>
                  <a:pt x="216498" y="1747834"/>
                </a:lnTo>
                <a:lnTo>
                  <a:pt x="218838" y="1728843"/>
                </a:lnTo>
                <a:cubicBezTo>
                  <a:pt x="222189" y="1663158"/>
                  <a:pt x="216114" y="1596733"/>
                  <a:pt x="200191" y="1531716"/>
                </a:cubicBezTo>
                <a:lnTo>
                  <a:pt x="176222" y="1458101"/>
                </a:lnTo>
                <a:lnTo>
                  <a:pt x="1538598" y="145810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E81565A6-186A-4412-9E42-5AE5F73B4AE2}"/>
              </a:ext>
            </a:extLst>
          </p:cNvPr>
          <p:cNvSpPr>
            <a:spLocks/>
          </p:cNvSpPr>
          <p:nvPr/>
        </p:nvSpPr>
        <p:spPr>
          <a:xfrm>
            <a:off x="10079291" y="278101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onitoring &amp; Orchestration </a:t>
            </a:r>
            <a:br>
              <a:rPr lang="en-US" sz="1100" b="1">
                <a:solidFill>
                  <a:schemeClr val="tx1"/>
                </a:solidFill>
              </a:rPr>
            </a:br>
            <a:r>
              <a:rPr lang="en-US" sz="1100" b="1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79" name="Title 2">
            <a:extLst>
              <a:ext uri="{FF2B5EF4-FFF2-40B4-BE49-F238E27FC236}">
                <a16:creationId xmlns:a16="http://schemas.microsoft.com/office/drawing/2014/main" id="{F2E7B8B9-5DB3-42B6-8531-0356E1CD5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80" name="Subtitle 1">
            <a:extLst>
              <a:ext uri="{FF2B5EF4-FFF2-40B4-BE49-F238E27FC236}">
                <a16:creationId xmlns:a16="http://schemas.microsoft.com/office/drawing/2014/main" id="{BFE4A254-C584-4696-8FE3-1B8469489D1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135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382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3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D4146FB0-73D7-42FE-80EF-576822C13868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0" name="Isosceles Triangle 379">
            <a:extLst>
              <a:ext uri="{FF2B5EF4-FFF2-40B4-BE49-F238E27FC236}">
                <a16:creationId xmlns:a16="http://schemas.microsoft.com/office/drawing/2014/main" id="{84443424-C878-4245-90FE-BFFEF00DF74F}"/>
              </a:ext>
            </a:extLst>
          </p:cNvPr>
          <p:cNvSpPr/>
          <p:nvPr/>
        </p:nvSpPr>
        <p:spPr bwMode="gray">
          <a:xfrm rot="10800000" flipV="1">
            <a:off x="1342986" y="3413626"/>
            <a:ext cx="8967416" cy="1920642"/>
          </a:xfrm>
          <a:prstGeom prst="triangle">
            <a:avLst>
              <a:gd name="adj" fmla="val 0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8DC8D262-523C-4881-B709-17E9F85AB713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514571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07" name="Freeform: Shape 406">
            <a:extLst>
              <a:ext uri="{FF2B5EF4-FFF2-40B4-BE49-F238E27FC236}">
                <a16:creationId xmlns:a16="http://schemas.microsoft.com/office/drawing/2014/main" id="{4E05ACF2-3E18-44AB-B06F-CB6B4CEC3412}"/>
              </a:ext>
            </a:extLst>
          </p:cNvPr>
          <p:cNvSpPr/>
          <p:nvPr/>
        </p:nvSpPr>
        <p:spPr bwMode="gray">
          <a:xfrm>
            <a:off x="8729493" y="1895363"/>
            <a:ext cx="2887131" cy="2245135"/>
          </a:xfrm>
          <a:custGeom>
            <a:avLst/>
            <a:gdLst>
              <a:gd name="connsiteX0" fmla="*/ 118347 w 2887131"/>
              <a:gd name="connsiteY0" fmla="*/ 2049620 h 2245135"/>
              <a:gd name="connsiteX1" fmla="*/ 107973 w 2887131"/>
              <a:gd name="connsiteY1" fmla="*/ 2069432 h 2245135"/>
              <a:gd name="connsiteX2" fmla="*/ 99664 w 2887131"/>
              <a:gd name="connsiteY2" fmla="*/ 2079735 h 2245135"/>
              <a:gd name="connsiteX3" fmla="*/ 173083 w 2887131"/>
              <a:gd name="connsiteY3" fmla="*/ 1939613 h 2245135"/>
              <a:gd name="connsiteX4" fmla="*/ 169295 w 2887131"/>
              <a:gd name="connsiteY4" fmla="*/ 1952316 h 2245135"/>
              <a:gd name="connsiteX5" fmla="*/ 159166 w 2887131"/>
              <a:gd name="connsiteY5" fmla="*/ 1971661 h 2245135"/>
              <a:gd name="connsiteX6" fmla="*/ 128618 w 2887131"/>
              <a:gd name="connsiteY6" fmla="*/ 1360180 h 2245135"/>
              <a:gd name="connsiteX7" fmla="*/ 168868 w 2887131"/>
              <a:gd name="connsiteY7" fmla="*/ 1435515 h 2245135"/>
              <a:gd name="connsiteX8" fmla="*/ 176222 w 2887131"/>
              <a:gd name="connsiteY8" fmla="*/ 1458101 h 2245135"/>
              <a:gd name="connsiteX9" fmla="*/ 175612 w 2887131"/>
              <a:gd name="connsiteY9" fmla="*/ 1458101 h 2245135"/>
              <a:gd name="connsiteX10" fmla="*/ 168868 w 2887131"/>
              <a:gd name="connsiteY10" fmla="*/ 1435515 h 2245135"/>
              <a:gd name="connsiteX11" fmla="*/ 24461 w 2887131"/>
              <a:gd name="connsiteY11" fmla="*/ 1217772 h 2245135"/>
              <a:gd name="connsiteX12" fmla="*/ 24466 w 2887131"/>
              <a:gd name="connsiteY12" fmla="*/ 1217777 h 2245135"/>
              <a:gd name="connsiteX13" fmla="*/ 103578 w 2887131"/>
              <a:gd name="connsiteY13" fmla="*/ 1313314 h 2245135"/>
              <a:gd name="connsiteX14" fmla="*/ 15213 w 2887131"/>
              <a:gd name="connsiteY14" fmla="*/ 1206603 h 2245135"/>
              <a:gd name="connsiteX15" fmla="*/ 24464 w 2887131"/>
              <a:gd name="connsiteY15" fmla="*/ 1217775 h 2245135"/>
              <a:gd name="connsiteX16" fmla="*/ 24461 w 2887131"/>
              <a:gd name="connsiteY16" fmla="*/ 1217772 h 2245135"/>
              <a:gd name="connsiteX17" fmla="*/ 6272 w 2887131"/>
              <a:gd name="connsiteY17" fmla="*/ 1199393 h 2245135"/>
              <a:gd name="connsiteX18" fmla="*/ 15213 w 2887131"/>
              <a:gd name="connsiteY18" fmla="*/ 1206603 h 2245135"/>
              <a:gd name="connsiteX19" fmla="*/ 6273 w 2887131"/>
              <a:gd name="connsiteY19" fmla="*/ 1199394 h 2245135"/>
              <a:gd name="connsiteX20" fmla="*/ 0 w 2887131"/>
              <a:gd name="connsiteY20" fmla="*/ 1194335 h 2245135"/>
              <a:gd name="connsiteX21" fmla="*/ 6271 w 2887131"/>
              <a:gd name="connsiteY21" fmla="*/ 1199392 h 2245135"/>
              <a:gd name="connsiteX22" fmla="*/ 6270 w 2887131"/>
              <a:gd name="connsiteY22" fmla="*/ 1199392 h 2245135"/>
              <a:gd name="connsiteX23" fmla="*/ 1538598 w 2887131"/>
              <a:gd name="connsiteY23" fmla="*/ 0 h 2245135"/>
              <a:gd name="connsiteX24" fmla="*/ 2887131 w 2887131"/>
              <a:gd name="connsiteY24" fmla="*/ 0 h 2245135"/>
              <a:gd name="connsiteX25" fmla="*/ 2887131 w 2887131"/>
              <a:gd name="connsiteY25" fmla="*/ 2245135 h 2245135"/>
              <a:gd name="connsiteX26" fmla="*/ 1554598 w 2887131"/>
              <a:gd name="connsiteY26" fmla="*/ 2245135 h 2245135"/>
              <a:gd name="connsiteX27" fmla="*/ 1554598 w 2887131"/>
              <a:gd name="connsiteY27" fmla="*/ 1747834 h 2245135"/>
              <a:gd name="connsiteX28" fmla="*/ 216498 w 2887131"/>
              <a:gd name="connsiteY28" fmla="*/ 1747834 h 2245135"/>
              <a:gd name="connsiteX29" fmla="*/ 218838 w 2887131"/>
              <a:gd name="connsiteY29" fmla="*/ 1728843 h 2245135"/>
              <a:gd name="connsiteX30" fmla="*/ 200191 w 2887131"/>
              <a:gd name="connsiteY30" fmla="*/ 1531716 h 2245135"/>
              <a:gd name="connsiteX31" fmla="*/ 176222 w 2887131"/>
              <a:gd name="connsiteY31" fmla="*/ 1458101 h 2245135"/>
              <a:gd name="connsiteX32" fmla="*/ 1538598 w 2887131"/>
              <a:gd name="connsiteY32" fmla="*/ 1458101 h 224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87131" h="2245135">
                <a:moveTo>
                  <a:pt x="118347" y="2049620"/>
                </a:moveTo>
                <a:lnTo>
                  <a:pt x="107973" y="2069432"/>
                </a:lnTo>
                <a:lnTo>
                  <a:pt x="99664" y="2079735"/>
                </a:lnTo>
                <a:close/>
                <a:moveTo>
                  <a:pt x="173083" y="1939613"/>
                </a:moveTo>
                <a:lnTo>
                  <a:pt x="169295" y="1952316"/>
                </a:lnTo>
                <a:lnTo>
                  <a:pt x="159166" y="1971661"/>
                </a:lnTo>
                <a:close/>
                <a:moveTo>
                  <a:pt x="128618" y="1360180"/>
                </a:moveTo>
                <a:lnTo>
                  <a:pt x="168868" y="1435515"/>
                </a:lnTo>
                <a:lnTo>
                  <a:pt x="176222" y="1458101"/>
                </a:lnTo>
                <a:lnTo>
                  <a:pt x="175612" y="1458101"/>
                </a:lnTo>
                <a:lnTo>
                  <a:pt x="168868" y="1435515"/>
                </a:lnTo>
                <a:close/>
                <a:moveTo>
                  <a:pt x="24461" y="1217772"/>
                </a:moveTo>
                <a:lnTo>
                  <a:pt x="24466" y="1217777"/>
                </a:lnTo>
                <a:lnTo>
                  <a:pt x="103578" y="1313314"/>
                </a:lnTo>
                <a:close/>
                <a:moveTo>
                  <a:pt x="15213" y="1206603"/>
                </a:moveTo>
                <a:lnTo>
                  <a:pt x="24464" y="1217775"/>
                </a:lnTo>
                <a:lnTo>
                  <a:pt x="24461" y="1217772"/>
                </a:lnTo>
                <a:close/>
                <a:moveTo>
                  <a:pt x="6272" y="1199393"/>
                </a:moveTo>
                <a:lnTo>
                  <a:pt x="15213" y="1206603"/>
                </a:lnTo>
                <a:lnTo>
                  <a:pt x="6273" y="1199394"/>
                </a:lnTo>
                <a:close/>
                <a:moveTo>
                  <a:pt x="0" y="1194335"/>
                </a:moveTo>
                <a:lnTo>
                  <a:pt x="6271" y="1199392"/>
                </a:lnTo>
                <a:lnTo>
                  <a:pt x="6270" y="1199392"/>
                </a:lnTo>
                <a:close/>
                <a:moveTo>
                  <a:pt x="1538598" y="0"/>
                </a:moveTo>
                <a:lnTo>
                  <a:pt x="2887131" y="0"/>
                </a:lnTo>
                <a:lnTo>
                  <a:pt x="2887131" y="2245135"/>
                </a:lnTo>
                <a:lnTo>
                  <a:pt x="1554598" y="2245135"/>
                </a:lnTo>
                <a:lnTo>
                  <a:pt x="1554598" y="1747834"/>
                </a:lnTo>
                <a:lnTo>
                  <a:pt x="216498" y="1747834"/>
                </a:lnTo>
                <a:lnTo>
                  <a:pt x="218838" y="1728843"/>
                </a:lnTo>
                <a:cubicBezTo>
                  <a:pt x="222189" y="1663158"/>
                  <a:pt x="216114" y="1596733"/>
                  <a:pt x="200191" y="1531716"/>
                </a:cubicBezTo>
                <a:lnTo>
                  <a:pt x="176222" y="1458101"/>
                </a:lnTo>
                <a:lnTo>
                  <a:pt x="1538598" y="145810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E81565A6-186A-4412-9E42-5AE5F73B4AE2}"/>
              </a:ext>
            </a:extLst>
          </p:cNvPr>
          <p:cNvSpPr>
            <a:spLocks/>
          </p:cNvSpPr>
          <p:nvPr/>
        </p:nvSpPr>
        <p:spPr>
          <a:xfrm>
            <a:off x="10079291" y="278101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onitoring &amp; Orchestration </a:t>
            </a:r>
            <a:br>
              <a:rPr lang="en-US" sz="1100" b="1">
                <a:solidFill>
                  <a:schemeClr val="tx1"/>
                </a:solidFill>
              </a:rPr>
            </a:br>
            <a:r>
              <a:rPr lang="en-US" sz="1100" b="1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398" name="Title 2">
            <a:extLst>
              <a:ext uri="{FF2B5EF4-FFF2-40B4-BE49-F238E27FC236}">
                <a16:creationId xmlns:a16="http://schemas.microsoft.com/office/drawing/2014/main" id="{7D5A807D-0D90-42D8-9199-CBDF428CD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00" name="Subtitle 1">
            <a:extLst>
              <a:ext uri="{FF2B5EF4-FFF2-40B4-BE49-F238E27FC236}">
                <a16:creationId xmlns:a16="http://schemas.microsoft.com/office/drawing/2014/main" id="{998C3A93-AD03-447D-A48C-12403178545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360" name="Rectangle 379">
            <a:extLst>
              <a:ext uri="{FF2B5EF4-FFF2-40B4-BE49-F238E27FC236}">
                <a16:creationId xmlns:a16="http://schemas.microsoft.com/office/drawing/2014/main" id="{C439FC73-5797-4F8E-A8FA-78E973C4D455}"/>
              </a:ext>
            </a:extLst>
          </p:cNvPr>
          <p:cNvSpPr>
            <a:spLocks/>
          </p:cNvSpPr>
          <p:nvPr/>
        </p:nvSpPr>
        <p:spPr>
          <a:xfrm>
            <a:off x="1443601" y="5381598"/>
            <a:ext cx="8840490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The </a:t>
            </a:r>
            <a:r>
              <a:rPr lang="en-US" sz="1400" b="1">
                <a:solidFill>
                  <a:schemeClr val="tx1"/>
                </a:solidFill>
              </a:rPr>
              <a:t>Monitoring Layer </a:t>
            </a:r>
            <a:r>
              <a:rPr lang="en-US" sz="1200">
                <a:solidFill>
                  <a:schemeClr val="tx1"/>
                </a:solidFill>
              </a:rPr>
              <a:t>observes the system and </a:t>
            </a:r>
            <a:r>
              <a:rPr lang="en-US" sz="1200" b="1">
                <a:solidFill>
                  <a:schemeClr val="tx1"/>
                </a:solidFill>
              </a:rPr>
              <a:t>raises alerts </a:t>
            </a:r>
            <a:r>
              <a:rPr lang="en-US" sz="1200">
                <a:solidFill>
                  <a:schemeClr val="tx1"/>
                </a:solidFill>
              </a:rPr>
              <a:t>if unusual behavior is detected while the </a:t>
            </a:r>
            <a:r>
              <a:rPr lang="en-US" sz="1400" b="1">
                <a:solidFill>
                  <a:schemeClr val="tx1"/>
                </a:solidFill>
              </a:rPr>
              <a:t>Orchestration Layer </a:t>
            </a:r>
            <a:r>
              <a:rPr lang="en-US" sz="1200">
                <a:solidFill>
                  <a:schemeClr val="tx1"/>
                </a:solidFill>
              </a:rPr>
              <a:t>schedules all tasks such as model training or processing data in the </a:t>
            </a:r>
            <a:r>
              <a:rPr lang="en-US" sz="1200" b="1">
                <a:solidFill>
                  <a:schemeClr val="tx1"/>
                </a:solidFill>
              </a:rPr>
              <a:t>right order</a:t>
            </a:r>
            <a:r>
              <a:rPr lang="en-US" sz="12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66A4813-D2F4-4071-964C-3521B4CFD08C}"/>
              </a:ext>
            </a:extLst>
          </p:cNvPr>
          <p:cNvSpPr/>
          <p:nvPr/>
        </p:nvSpPr>
        <p:spPr bwMode="gray">
          <a:xfrm>
            <a:off x="1403450" y="5342152"/>
            <a:ext cx="1692508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BASE FUNCTIONALITY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3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41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1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4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5" name="Freeform: Shape 404">
            <a:extLst>
              <a:ext uri="{FF2B5EF4-FFF2-40B4-BE49-F238E27FC236}">
                <a16:creationId xmlns:a16="http://schemas.microsoft.com/office/drawing/2014/main" id="{6D6A43E9-171A-4B5F-B5C6-AF90CD441EA7}"/>
              </a:ext>
            </a:extLst>
          </p:cNvPr>
          <p:cNvSpPr>
            <a:spLocks/>
          </p:cNvSpPr>
          <p:nvPr/>
        </p:nvSpPr>
        <p:spPr bwMode="gray">
          <a:xfrm>
            <a:off x="5019825" y="1895363"/>
            <a:ext cx="5248266" cy="1458101"/>
          </a:xfrm>
          <a:custGeom>
            <a:avLst/>
            <a:gdLst>
              <a:gd name="connsiteX0" fmla="*/ 2666767 w 5248266"/>
              <a:gd name="connsiteY0" fmla="*/ 1331547 h 1458101"/>
              <a:gd name="connsiteX1" fmla="*/ 2611695 w 5248266"/>
              <a:gd name="connsiteY1" fmla="*/ 1436727 h 1458101"/>
              <a:gd name="connsiteX2" fmla="*/ 2655489 w 5248266"/>
              <a:gd name="connsiteY2" fmla="*/ 1347880 h 1458101"/>
              <a:gd name="connsiteX3" fmla="*/ 2743034 w 5248266"/>
              <a:gd name="connsiteY3" fmla="*/ 1232791 h 1458101"/>
              <a:gd name="connsiteX4" fmla="*/ 2686852 w 5248266"/>
              <a:gd name="connsiteY4" fmla="*/ 1302458 h 1458101"/>
              <a:gd name="connsiteX5" fmla="*/ 2712371 w 5248266"/>
              <a:gd name="connsiteY5" fmla="*/ 1265499 h 1458101"/>
              <a:gd name="connsiteX6" fmla="*/ 2864108 w 5248266"/>
              <a:gd name="connsiteY6" fmla="*/ 1126611 h 1458101"/>
              <a:gd name="connsiteX7" fmla="*/ 2767839 w 5248266"/>
              <a:gd name="connsiteY7" fmla="*/ 1206330 h 1458101"/>
              <a:gd name="connsiteX8" fmla="*/ 2782018 w 5248266"/>
              <a:gd name="connsiteY8" fmla="*/ 1191205 h 1458101"/>
              <a:gd name="connsiteX9" fmla="*/ 3246749 w 5248266"/>
              <a:gd name="connsiteY9" fmla="*/ 1010458 h 1458101"/>
              <a:gd name="connsiteX10" fmla="*/ 3813246 w 5248266"/>
              <a:gd name="connsiteY10" fmla="*/ 1313314 h 1458101"/>
              <a:gd name="connsiteX11" fmla="*/ 3246749 w 5248266"/>
              <a:gd name="connsiteY11" fmla="*/ 1010458 h 1458101"/>
              <a:gd name="connsiteX12" fmla="*/ 0 w 5248266"/>
              <a:gd name="connsiteY12" fmla="*/ 0 h 1458101"/>
              <a:gd name="connsiteX13" fmla="*/ 5248266 w 5248266"/>
              <a:gd name="connsiteY13" fmla="*/ 0 h 1458101"/>
              <a:gd name="connsiteX14" fmla="*/ 5248266 w 5248266"/>
              <a:gd name="connsiteY14" fmla="*/ 1458101 h 1458101"/>
              <a:gd name="connsiteX15" fmla="*/ 3885280 w 5248266"/>
              <a:gd name="connsiteY15" fmla="*/ 1458101 h 1458101"/>
              <a:gd name="connsiteX16" fmla="*/ 3878536 w 5248266"/>
              <a:gd name="connsiteY16" fmla="*/ 1435515 h 1458101"/>
              <a:gd name="connsiteX17" fmla="*/ 3832035 w 5248266"/>
              <a:gd name="connsiteY17" fmla="*/ 1348481 h 1458101"/>
              <a:gd name="connsiteX18" fmla="*/ 3832035 w 5248266"/>
              <a:gd name="connsiteY18" fmla="*/ 649566 h 1458101"/>
              <a:gd name="connsiteX19" fmla="*/ 608447 w 5248266"/>
              <a:gd name="connsiteY19" fmla="*/ 649566 h 1458101"/>
              <a:gd name="connsiteX20" fmla="*/ 608447 w 5248266"/>
              <a:gd name="connsiteY20" fmla="*/ 648658 h 1458101"/>
              <a:gd name="connsiteX21" fmla="*/ 0 w 5248266"/>
              <a:gd name="connsiteY21" fmla="*/ 648658 h 145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48266" h="1458101">
                <a:moveTo>
                  <a:pt x="2666767" y="1331547"/>
                </a:moveTo>
                <a:lnTo>
                  <a:pt x="2611695" y="1436727"/>
                </a:lnTo>
                <a:lnTo>
                  <a:pt x="2655489" y="1347880"/>
                </a:lnTo>
                <a:close/>
                <a:moveTo>
                  <a:pt x="2743034" y="1232791"/>
                </a:moveTo>
                <a:lnTo>
                  <a:pt x="2686852" y="1302458"/>
                </a:lnTo>
                <a:lnTo>
                  <a:pt x="2712371" y="1265499"/>
                </a:lnTo>
                <a:close/>
                <a:moveTo>
                  <a:pt x="2864108" y="1126611"/>
                </a:moveTo>
                <a:lnTo>
                  <a:pt x="2767839" y="1206330"/>
                </a:lnTo>
                <a:lnTo>
                  <a:pt x="2782018" y="1191205"/>
                </a:lnTo>
                <a:close/>
                <a:moveTo>
                  <a:pt x="3246749" y="1010458"/>
                </a:moveTo>
                <a:cubicBezTo>
                  <a:pt x="3466323" y="1011115"/>
                  <a:pt x="3681660" y="1117280"/>
                  <a:pt x="3813246" y="1313314"/>
                </a:cubicBezTo>
                <a:cubicBezTo>
                  <a:pt x="3681660" y="1117281"/>
                  <a:pt x="3466323" y="1011115"/>
                  <a:pt x="3246749" y="1010458"/>
                </a:cubicBezTo>
                <a:close/>
                <a:moveTo>
                  <a:pt x="0" y="0"/>
                </a:moveTo>
                <a:lnTo>
                  <a:pt x="5248266" y="0"/>
                </a:lnTo>
                <a:lnTo>
                  <a:pt x="5248266" y="1458101"/>
                </a:lnTo>
                <a:lnTo>
                  <a:pt x="3885280" y="1458101"/>
                </a:lnTo>
                <a:lnTo>
                  <a:pt x="3878536" y="1435515"/>
                </a:lnTo>
                <a:lnTo>
                  <a:pt x="3832035" y="1348481"/>
                </a:lnTo>
                <a:lnTo>
                  <a:pt x="3832035" y="649566"/>
                </a:lnTo>
                <a:lnTo>
                  <a:pt x="608447" y="649566"/>
                </a:lnTo>
                <a:lnTo>
                  <a:pt x="608447" y="648658"/>
                </a:lnTo>
                <a:lnTo>
                  <a:pt x="0" y="64865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7" name="Freeform: Shape 406">
            <a:extLst>
              <a:ext uri="{FF2B5EF4-FFF2-40B4-BE49-F238E27FC236}">
                <a16:creationId xmlns:a16="http://schemas.microsoft.com/office/drawing/2014/main" id="{4E05ACF2-3E18-44AB-B06F-CB6B4CEC3412}"/>
              </a:ext>
            </a:extLst>
          </p:cNvPr>
          <p:cNvSpPr/>
          <p:nvPr/>
        </p:nvSpPr>
        <p:spPr bwMode="gray">
          <a:xfrm>
            <a:off x="8729493" y="1895363"/>
            <a:ext cx="2887131" cy="2245135"/>
          </a:xfrm>
          <a:custGeom>
            <a:avLst/>
            <a:gdLst>
              <a:gd name="connsiteX0" fmla="*/ 118347 w 2887131"/>
              <a:gd name="connsiteY0" fmla="*/ 2049620 h 2245135"/>
              <a:gd name="connsiteX1" fmla="*/ 107973 w 2887131"/>
              <a:gd name="connsiteY1" fmla="*/ 2069432 h 2245135"/>
              <a:gd name="connsiteX2" fmla="*/ 99664 w 2887131"/>
              <a:gd name="connsiteY2" fmla="*/ 2079735 h 2245135"/>
              <a:gd name="connsiteX3" fmla="*/ 173083 w 2887131"/>
              <a:gd name="connsiteY3" fmla="*/ 1939613 h 2245135"/>
              <a:gd name="connsiteX4" fmla="*/ 169295 w 2887131"/>
              <a:gd name="connsiteY4" fmla="*/ 1952316 h 2245135"/>
              <a:gd name="connsiteX5" fmla="*/ 159166 w 2887131"/>
              <a:gd name="connsiteY5" fmla="*/ 1971661 h 2245135"/>
              <a:gd name="connsiteX6" fmla="*/ 128618 w 2887131"/>
              <a:gd name="connsiteY6" fmla="*/ 1360180 h 2245135"/>
              <a:gd name="connsiteX7" fmla="*/ 168868 w 2887131"/>
              <a:gd name="connsiteY7" fmla="*/ 1435515 h 2245135"/>
              <a:gd name="connsiteX8" fmla="*/ 176222 w 2887131"/>
              <a:gd name="connsiteY8" fmla="*/ 1458101 h 2245135"/>
              <a:gd name="connsiteX9" fmla="*/ 175612 w 2887131"/>
              <a:gd name="connsiteY9" fmla="*/ 1458101 h 2245135"/>
              <a:gd name="connsiteX10" fmla="*/ 168868 w 2887131"/>
              <a:gd name="connsiteY10" fmla="*/ 1435515 h 2245135"/>
              <a:gd name="connsiteX11" fmla="*/ 24461 w 2887131"/>
              <a:gd name="connsiteY11" fmla="*/ 1217772 h 2245135"/>
              <a:gd name="connsiteX12" fmla="*/ 24466 w 2887131"/>
              <a:gd name="connsiteY12" fmla="*/ 1217777 h 2245135"/>
              <a:gd name="connsiteX13" fmla="*/ 103578 w 2887131"/>
              <a:gd name="connsiteY13" fmla="*/ 1313314 h 2245135"/>
              <a:gd name="connsiteX14" fmla="*/ 15213 w 2887131"/>
              <a:gd name="connsiteY14" fmla="*/ 1206603 h 2245135"/>
              <a:gd name="connsiteX15" fmla="*/ 24464 w 2887131"/>
              <a:gd name="connsiteY15" fmla="*/ 1217775 h 2245135"/>
              <a:gd name="connsiteX16" fmla="*/ 24461 w 2887131"/>
              <a:gd name="connsiteY16" fmla="*/ 1217772 h 2245135"/>
              <a:gd name="connsiteX17" fmla="*/ 6272 w 2887131"/>
              <a:gd name="connsiteY17" fmla="*/ 1199393 h 2245135"/>
              <a:gd name="connsiteX18" fmla="*/ 15213 w 2887131"/>
              <a:gd name="connsiteY18" fmla="*/ 1206603 h 2245135"/>
              <a:gd name="connsiteX19" fmla="*/ 6273 w 2887131"/>
              <a:gd name="connsiteY19" fmla="*/ 1199394 h 2245135"/>
              <a:gd name="connsiteX20" fmla="*/ 0 w 2887131"/>
              <a:gd name="connsiteY20" fmla="*/ 1194335 h 2245135"/>
              <a:gd name="connsiteX21" fmla="*/ 6271 w 2887131"/>
              <a:gd name="connsiteY21" fmla="*/ 1199392 h 2245135"/>
              <a:gd name="connsiteX22" fmla="*/ 6270 w 2887131"/>
              <a:gd name="connsiteY22" fmla="*/ 1199392 h 2245135"/>
              <a:gd name="connsiteX23" fmla="*/ 1538598 w 2887131"/>
              <a:gd name="connsiteY23" fmla="*/ 0 h 2245135"/>
              <a:gd name="connsiteX24" fmla="*/ 2887131 w 2887131"/>
              <a:gd name="connsiteY24" fmla="*/ 0 h 2245135"/>
              <a:gd name="connsiteX25" fmla="*/ 2887131 w 2887131"/>
              <a:gd name="connsiteY25" fmla="*/ 2245135 h 2245135"/>
              <a:gd name="connsiteX26" fmla="*/ 1554598 w 2887131"/>
              <a:gd name="connsiteY26" fmla="*/ 2245135 h 2245135"/>
              <a:gd name="connsiteX27" fmla="*/ 1554598 w 2887131"/>
              <a:gd name="connsiteY27" fmla="*/ 1747834 h 2245135"/>
              <a:gd name="connsiteX28" fmla="*/ 216498 w 2887131"/>
              <a:gd name="connsiteY28" fmla="*/ 1747834 h 2245135"/>
              <a:gd name="connsiteX29" fmla="*/ 218838 w 2887131"/>
              <a:gd name="connsiteY29" fmla="*/ 1728843 h 2245135"/>
              <a:gd name="connsiteX30" fmla="*/ 200191 w 2887131"/>
              <a:gd name="connsiteY30" fmla="*/ 1531716 h 2245135"/>
              <a:gd name="connsiteX31" fmla="*/ 176222 w 2887131"/>
              <a:gd name="connsiteY31" fmla="*/ 1458101 h 2245135"/>
              <a:gd name="connsiteX32" fmla="*/ 1538598 w 2887131"/>
              <a:gd name="connsiteY32" fmla="*/ 1458101 h 224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87131" h="2245135">
                <a:moveTo>
                  <a:pt x="118347" y="2049620"/>
                </a:moveTo>
                <a:lnTo>
                  <a:pt x="107973" y="2069432"/>
                </a:lnTo>
                <a:lnTo>
                  <a:pt x="99664" y="2079735"/>
                </a:lnTo>
                <a:close/>
                <a:moveTo>
                  <a:pt x="173083" y="1939613"/>
                </a:moveTo>
                <a:lnTo>
                  <a:pt x="169295" y="1952316"/>
                </a:lnTo>
                <a:lnTo>
                  <a:pt x="159166" y="1971661"/>
                </a:lnTo>
                <a:close/>
                <a:moveTo>
                  <a:pt x="128618" y="1360180"/>
                </a:moveTo>
                <a:lnTo>
                  <a:pt x="168868" y="1435515"/>
                </a:lnTo>
                <a:lnTo>
                  <a:pt x="176222" y="1458101"/>
                </a:lnTo>
                <a:lnTo>
                  <a:pt x="175612" y="1458101"/>
                </a:lnTo>
                <a:lnTo>
                  <a:pt x="168868" y="1435515"/>
                </a:lnTo>
                <a:close/>
                <a:moveTo>
                  <a:pt x="24461" y="1217772"/>
                </a:moveTo>
                <a:lnTo>
                  <a:pt x="24466" y="1217777"/>
                </a:lnTo>
                <a:lnTo>
                  <a:pt x="103578" y="1313314"/>
                </a:lnTo>
                <a:close/>
                <a:moveTo>
                  <a:pt x="15213" y="1206603"/>
                </a:moveTo>
                <a:lnTo>
                  <a:pt x="24464" y="1217775"/>
                </a:lnTo>
                <a:lnTo>
                  <a:pt x="24461" y="1217772"/>
                </a:lnTo>
                <a:close/>
                <a:moveTo>
                  <a:pt x="6272" y="1199393"/>
                </a:moveTo>
                <a:lnTo>
                  <a:pt x="15213" y="1206603"/>
                </a:lnTo>
                <a:lnTo>
                  <a:pt x="6273" y="1199394"/>
                </a:lnTo>
                <a:close/>
                <a:moveTo>
                  <a:pt x="0" y="1194335"/>
                </a:moveTo>
                <a:lnTo>
                  <a:pt x="6271" y="1199392"/>
                </a:lnTo>
                <a:lnTo>
                  <a:pt x="6270" y="1199392"/>
                </a:lnTo>
                <a:close/>
                <a:moveTo>
                  <a:pt x="1538598" y="0"/>
                </a:moveTo>
                <a:lnTo>
                  <a:pt x="2887131" y="0"/>
                </a:lnTo>
                <a:lnTo>
                  <a:pt x="2887131" y="2245135"/>
                </a:lnTo>
                <a:lnTo>
                  <a:pt x="1554598" y="2245135"/>
                </a:lnTo>
                <a:lnTo>
                  <a:pt x="1554598" y="1747834"/>
                </a:lnTo>
                <a:lnTo>
                  <a:pt x="216498" y="1747834"/>
                </a:lnTo>
                <a:lnTo>
                  <a:pt x="218838" y="1728843"/>
                </a:lnTo>
                <a:cubicBezTo>
                  <a:pt x="222189" y="1663158"/>
                  <a:pt x="216114" y="1596733"/>
                  <a:pt x="200191" y="1531716"/>
                </a:cubicBezTo>
                <a:lnTo>
                  <a:pt x="176222" y="1458101"/>
                </a:lnTo>
                <a:lnTo>
                  <a:pt x="1538598" y="145810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E81565A6-186A-4412-9E42-5AE5F73B4AE2}"/>
              </a:ext>
            </a:extLst>
          </p:cNvPr>
          <p:cNvSpPr>
            <a:spLocks/>
          </p:cNvSpPr>
          <p:nvPr/>
        </p:nvSpPr>
        <p:spPr>
          <a:xfrm>
            <a:off x="10079291" y="278101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onitoring &amp; Orchestration </a:t>
            </a:r>
            <a:br>
              <a:rPr lang="en-US" sz="1100" b="1">
                <a:solidFill>
                  <a:schemeClr val="tx1"/>
                </a:solidFill>
              </a:rPr>
            </a:br>
            <a:r>
              <a:rPr lang="en-US" sz="1100" b="1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14B04545-E8B6-4EB0-81FF-0ED0C695DA7A}"/>
              </a:ext>
            </a:extLst>
          </p:cNvPr>
          <p:cNvSpPr>
            <a:spLocks/>
          </p:cNvSpPr>
          <p:nvPr/>
        </p:nvSpPr>
        <p:spPr>
          <a:xfrm>
            <a:off x="6832397" y="194356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Configuration &amp; </a:t>
            </a:r>
            <a:r>
              <a:rPr lang="en-US" sz="1100" b="1" err="1">
                <a:solidFill>
                  <a:schemeClr val="tx1"/>
                </a:solidFill>
              </a:rPr>
              <a:t>IaC</a:t>
            </a:r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Title 2">
            <a:extLst>
              <a:ext uri="{FF2B5EF4-FFF2-40B4-BE49-F238E27FC236}">
                <a16:creationId xmlns:a16="http://schemas.microsoft.com/office/drawing/2014/main" id="{7E6AEF8E-D9C2-485A-B898-5AF7CE82D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379" name="Subtitle 1">
            <a:extLst>
              <a:ext uri="{FF2B5EF4-FFF2-40B4-BE49-F238E27FC236}">
                <a16:creationId xmlns:a16="http://schemas.microsoft.com/office/drawing/2014/main" id="{48580647-36AC-421E-9E5A-485357D59E1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5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" name="Object 364" hidden="1">
            <a:extLst>
              <a:ext uri="{FF2B5EF4-FFF2-40B4-BE49-F238E27FC236}">
                <a16:creationId xmlns:a16="http://schemas.microsoft.com/office/drawing/2014/main" id="{E60950EF-D161-4F96-83E4-B88E961AAC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74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365" name="Object 364" hidden="1">
                        <a:extLst>
                          <a:ext uri="{FF2B5EF4-FFF2-40B4-BE49-F238E27FC236}">
                            <a16:creationId xmlns:a16="http://schemas.microsoft.com/office/drawing/2014/main" id="{E60950EF-D161-4F96-83E4-B88E961AA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Rectangle 360">
            <a:extLst>
              <a:ext uri="{FF2B5EF4-FFF2-40B4-BE49-F238E27FC236}">
                <a16:creationId xmlns:a16="http://schemas.microsoft.com/office/drawing/2014/main" id="{216FF5D1-F5EE-4B51-AD15-F796A02CE247}"/>
              </a:ext>
            </a:extLst>
          </p:cNvPr>
          <p:cNvSpPr>
            <a:spLocks/>
          </p:cNvSpPr>
          <p:nvPr/>
        </p:nvSpPr>
        <p:spPr bwMode="gray">
          <a:xfrm>
            <a:off x="4856169" y="1757879"/>
            <a:ext cx="6924111" cy="343860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19990A-B665-4CF2-BB25-7CD28F82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Holmes Steering Committee /// 2021-08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85F28-C617-44C3-AFDF-58763606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45D328-0F27-4F7A-A962-22E5F65A0985}"/>
              </a:ext>
            </a:extLst>
          </p:cNvPr>
          <p:cNvSpPr/>
          <p:nvPr/>
        </p:nvSpPr>
        <p:spPr bwMode="gray">
          <a:xfrm>
            <a:off x="985890" y="2471461"/>
            <a:ext cx="1421130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8" name="Computer">
            <a:extLst>
              <a:ext uri="{FF2B5EF4-FFF2-40B4-BE49-F238E27FC236}">
                <a16:creationId xmlns:a16="http://schemas.microsoft.com/office/drawing/2014/main" id="{51CB5670-EE3A-400D-AE59-99DA547646D2}"/>
              </a:ext>
            </a:extLst>
          </p:cNvPr>
          <p:cNvGrpSpPr/>
          <p:nvPr/>
        </p:nvGrpSpPr>
        <p:grpSpPr>
          <a:xfrm>
            <a:off x="1109100" y="2673265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5" name="Freeform 614">
              <a:extLst>
                <a:ext uri="{FF2B5EF4-FFF2-40B4-BE49-F238E27FC236}">
                  <a16:creationId xmlns:a16="http://schemas.microsoft.com/office/drawing/2014/main" id="{801E3919-1ACE-4D32-A4CA-5199DA505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6" name="Freeform: Shape 329">
              <a:extLst>
                <a:ext uri="{FF2B5EF4-FFF2-40B4-BE49-F238E27FC236}">
                  <a16:creationId xmlns:a16="http://schemas.microsoft.com/office/drawing/2014/main" id="{5CF413E2-152A-4767-A7E6-2819D4514B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7" name="Freeform: Shape 327">
              <a:extLst>
                <a:ext uri="{FF2B5EF4-FFF2-40B4-BE49-F238E27FC236}">
                  <a16:creationId xmlns:a16="http://schemas.microsoft.com/office/drawing/2014/main" id="{F07F0261-EBA3-43A6-9830-5FC74F4881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8" name="Freeform 617">
              <a:extLst>
                <a:ext uri="{FF2B5EF4-FFF2-40B4-BE49-F238E27FC236}">
                  <a16:creationId xmlns:a16="http://schemas.microsoft.com/office/drawing/2014/main" id="{7B614370-DB77-4BD1-8B0C-49927A54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9" name="Freeform: Shape 330">
              <a:extLst>
                <a:ext uri="{FF2B5EF4-FFF2-40B4-BE49-F238E27FC236}">
                  <a16:creationId xmlns:a16="http://schemas.microsoft.com/office/drawing/2014/main" id="{0D1D795A-FA8E-4A36-9545-25C5453AB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" name="Computer">
            <a:extLst>
              <a:ext uri="{FF2B5EF4-FFF2-40B4-BE49-F238E27FC236}">
                <a16:creationId xmlns:a16="http://schemas.microsoft.com/office/drawing/2014/main" id="{76BC0828-D448-4861-9806-96BBF27B3EE1}"/>
              </a:ext>
            </a:extLst>
          </p:cNvPr>
          <p:cNvGrpSpPr/>
          <p:nvPr/>
        </p:nvGrpSpPr>
        <p:grpSpPr>
          <a:xfrm>
            <a:off x="1824171" y="2676814"/>
            <a:ext cx="336328" cy="254511"/>
            <a:chOff x="2449092" y="1855816"/>
            <a:chExt cx="391852" cy="296527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350" name="Freeform 620">
              <a:extLst>
                <a:ext uri="{FF2B5EF4-FFF2-40B4-BE49-F238E27FC236}">
                  <a16:creationId xmlns:a16="http://schemas.microsoft.com/office/drawing/2014/main" id="{F39573C9-F7A5-49FC-A9D2-82FE73410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644" y="2047958"/>
              <a:ext cx="124865" cy="49957"/>
            </a:xfrm>
            <a:custGeom>
              <a:avLst/>
              <a:gdLst>
                <a:gd name="T0" fmla="*/ 930 w 930"/>
                <a:gd name="T1" fmla="*/ 268 h 372"/>
                <a:gd name="T2" fmla="*/ 855 w 930"/>
                <a:gd name="T3" fmla="*/ 372 h 372"/>
                <a:gd name="T4" fmla="*/ 75 w 930"/>
                <a:gd name="T5" fmla="*/ 372 h 372"/>
                <a:gd name="T6" fmla="*/ 0 w 930"/>
                <a:gd name="T7" fmla="*/ 268 h 372"/>
                <a:gd name="T8" fmla="*/ 0 w 930"/>
                <a:gd name="T9" fmla="*/ 105 h 372"/>
                <a:gd name="T10" fmla="*/ 75 w 930"/>
                <a:gd name="T11" fmla="*/ 0 h 372"/>
                <a:gd name="T12" fmla="*/ 855 w 930"/>
                <a:gd name="T13" fmla="*/ 0 h 372"/>
                <a:gd name="T14" fmla="*/ 930 w 930"/>
                <a:gd name="T15" fmla="*/ 105 h 372"/>
                <a:gd name="T16" fmla="*/ 930 w 930"/>
                <a:gd name="T17" fmla="*/ 26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0" h="372">
                  <a:moveTo>
                    <a:pt x="930" y="268"/>
                  </a:moveTo>
                  <a:cubicBezTo>
                    <a:pt x="930" y="326"/>
                    <a:pt x="897" y="372"/>
                    <a:pt x="855" y="372"/>
                  </a:cubicBezTo>
                  <a:cubicBezTo>
                    <a:pt x="75" y="372"/>
                    <a:pt x="75" y="372"/>
                    <a:pt x="75" y="372"/>
                  </a:cubicBezTo>
                  <a:cubicBezTo>
                    <a:pt x="34" y="372"/>
                    <a:pt x="0" y="326"/>
                    <a:pt x="0" y="26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7"/>
                    <a:pt x="34" y="0"/>
                    <a:pt x="75" y="0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897" y="0"/>
                    <a:pt x="930" y="47"/>
                    <a:pt x="930" y="105"/>
                  </a:cubicBezTo>
                  <a:lnTo>
                    <a:pt x="930" y="26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1" name="Freeform: Shape 329">
              <a:extLst>
                <a:ext uri="{FF2B5EF4-FFF2-40B4-BE49-F238E27FC236}">
                  <a16:creationId xmlns:a16="http://schemas.microsoft.com/office/drawing/2014/main" id="{C3CEC323-293D-4A3B-A41B-A875E2A845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591" y="1863982"/>
              <a:ext cx="119353" cy="241619"/>
            </a:xfrm>
            <a:custGeom>
              <a:avLst/>
              <a:gdLst>
                <a:gd name="connsiteX0" fmla="*/ 59677 w 119353"/>
                <a:gd name="connsiteY0" fmla="*/ 189981 h 241619"/>
                <a:gd name="connsiteX1" fmla="*/ 48173 w 119353"/>
                <a:gd name="connsiteY1" fmla="*/ 201630 h 241619"/>
                <a:gd name="connsiteX2" fmla="*/ 59677 w 119353"/>
                <a:gd name="connsiteY2" fmla="*/ 213279 h 241619"/>
                <a:gd name="connsiteX3" fmla="*/ 71181 w 119353"/>
                <a:gd name="connsiteY3" fmla="*/ 201630 h 241619"/>
                <a:gd name="connsiteX4" fmla="*/ 59677 w 119353"/>
                <a:gd name="connsiteY4" fmla="*/ 189981 h 241619"/>
                <a:gd name="connsiteX5" fmla="*/ 16765 w 119353"/>
                <a:gd name="connsiteY5" fmla="*/ 33625 h 241619"/>
                <a:gd name="connsiteX6" fmla="*/ 5752 w 119353"/>
                <a:gd name="connsiteY6" fmla="*/ 44487 h 241619"/>
                <a:gd name="connsiteX7" fmla="*/ 16765 w 119353"/>
                <a:gd name="connsiteY7" fmla="*/ 55482 h 241619"/>
                <a:gd name="connsiteX8" fmla="*/ 102588 w 119353"/>
                <a:gd name="connsiteY8" fmla="*/ 55482 h 241619"/>
                <a:gd name="connsiteX9" fmla="*/ 113601 w 119353"/>
                <a:gd name="connsiteY9" fmla="*/ 44487 h 241619"/>
                <a:gd name="connsiteX10" fmla="*/ 102588 w 119353"/>
                <a:gd name="connsiteY10" fmla="*/ 33625 h 241619"/>
                <a:gd name="connsiteX11" fmla="*/ 16765 w 119353"/>
                <a:gd name="connsiteY11" fmla="*/ 33625 h 241619"/>
                <a:gd name="connsiteX12" fmla="*/ 13963 w 119353"/>
                <a:gd name="connsiteY12" fmla="*/ 0 h 241619"/>
                <a:gd name="connsiteX13" fmla="*/ 105391 w 119353"/>
                <a:gd name="connsiteY13" fmla="*/ 0 h 241619"/>
                <a:gd name="connsiteX14" fmla="*/ 119353 w 119353"/>
                <a:gd name="connsiteY14" fmla="*/ 13968 h 241619"/>
                <a:gd name="connsiteX15" fmla="*/ 119353 w 119353"/>
                <a:gd name="connsiteY15" fmla="*/ 227517 h 241619"/>
                <a:gd name="connsiteX16" fmla="*/ 105391 w 119353"/>
                <a:gd name="connsiteY16" fmla="*/ 241619 h 241619"/>
                <a:gd name="connsiteX17" fmla="*/ 13963 w 119353"/>
                <a:gd name="connsiteY17" fmla="*/ 241619 h 241619"/>
                <a:gd name="connsiteX18" fmla="*/ 0 w 119353"/>
                <a:gd name="connsiteY18" fmla="*/ 227517 h 241619"/>
                <a:gd name="connsiteX19" fmla="*/ 0 w 119353"/>
                <a:gd name="connsiteY19" fmla="*/ 13968 h 241619"/>
                <a:gd name="connsiteX20" fmla="*/ 13963 w 119353"/>
                <a:gd name="connsiteY20" fmla="*/ 0 h 24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353" h="241619">
                  <a:moveTo>
                    <a:pt x="59677" y="189981"/>
                  </a:moveTo>
                  <a:cubicBezTo>
                    <a:pt x="53324" y="189981"/>
                    <a:pt x="48173" y="195196"/>
                    <a:pt x="48173" y="201630"/>
                  </a:cubicBezTo>
                  <a:cubicBezTo>
                    <a:pt x="48173" y="208064"/>
                    <a:pt x="53324" y="213279"/>
                    <a:pt x="59677" y="213279"/>
                  </a:cubicBezTo>
                  <a:cubicBezTo>
                    <a:pt x="66030" y="213279"/>
                    <a:pt x="71181" y="208064"/>
                    <a:pt x="71181" y="201630"/>
                  </a:cubicBezTo>
                  <a:cubicBezTo>
                    <a:pt x="71181" y="195196"/>
                    <a:pt x="66030" y="189981"/>
                    <a:pt x="59677" y="189981"/>
                  </a:cubicBezTo>
                  <a:close/>
                  <a:moveTo>
                    <a:pt x="16765" y="33625"/>
                  </a:moveTo>
                  <a:cubicBezTo>
                    <a:pt x="10722" y="33625"/>
                    <a:pt x="5752" y="38452"/>
                    <a:pt x="5752" y="44487"/>
                  </a:cubicBezTo>
                  <a:cubicBezTo>
                    <a:pt x="5752" y="50521"/>
                    <a:pt x="10722" y="55482"/>
                    <a:pt x="16765" y="55482"/>
                  </a:cubicBezTo>
                  <a:cubicBezTo>
                    <a:pt x="16765" y="55482"/>
                    <a:pt x="16765" y="55482"/>
                    <a:pt x="102588" y="55482"/>
                  </a:cubicBezTo>
                  <a:cubicBezTo>
                    <a:pt x="108632" y="55482"/>
                    <a:pt x="113601" y="50521"/>
                    <a:pt x="113601" y="44487"/>
                  </a:cubicBezTo>
                  <a:cubicBezTo>
                    <a:pt x="113601" y="38452"/>
                    <a:pt x="108632" y="33625"/>
                    <a:pt x="102588" y="33625"/>
                  </a:cubicBezTo>
                  <a:cubicBezTo>
                    <a:pt x="102588" y="33625"/>
                    <a:pt x="102588" y="33625"/>
                    <a:pt x="16765" y="33625"/>
                  </a:cubicBezTo>
                  <a:close/>
                  <a:moveTo>
                    <a:pt x="13963" y="0"/>
                  </a:moveTo>
                  <a:cubicBezTo>
                    <a:pt x="105391" y="0"/>
                    <a:pt x="105391" y="0"/>
                    <a:pt x="105391" y="0"/>
                  </a:cubicBezTo>
                  <a:cubicBezTo>
                    <a:pt x="113043" y="0"/>
                    <a:pt x="119353" y="6313"/>
                    <a:pt x="119353" y="13968"/>
                  </a:cubicBezTo>
                  <a:lnTo>
                    <a:pt x="119353" y="227517"/>
                  </a:lnTo>
                  <a:cubicBezTo>
                    <a:pt x="119353" y="235307"/>
                    <a:pt x="113043" y="241619"/>
                    <a:pt x="105391" y="241619"/>
                  </a:cubicBezTo>
                  <a:cubicBezTo>
                    <a:pt x="13963" y="241619"/>
                    <a:pt x="13963" y="241619"/>
                    <a:pt x="13963" y="241619"/>
                  </a:cubicBezTo>
                  <a:cubicBezTo>
                    <a:pt x="6310" y="241619"/>
                    <a:pt x="0" y="235307"/>
                    <a:pt x="0" y="227517"/>
                  </a:cubicBezTo>
                  <a:cubicBezTo>
                    <a:pt x="0" y="13968"/>
                    <a:pt x="0" y="13968"/>
                    <a:pt x="0" y="13968"/>
                  </a:cubicBezTo>
                  <a:cubicBezTo>
                    <a:pt x="0" y="6313"/>
                    <a:pt x="6310" y="0"/>
                    <a:pt x="13963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2" name="Freeform: Shape 327">
              <a:extLst>
                <a:ext uri="{FF2B5EF4-FFF2-40B4-BE49-F238E27FC236}">
                  <a16:creationId xmlns:a16="http://schemas.microsoft.com/office/drawing/2014/main" id="{7F643D42-333E-4294-A796-365DA3A3B4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2753" y="1855816"/>
              <a:ext cx="271780" cy="205833"/>
            </a:xfrm>
            <a:custGeom>
              <a:avLst/>
              <a:gdLst>
                <a:gd name="connsiteX0" fmla="*/ 28434 w 271780"/>
                <a:gd name="connsiteY0" fmla="*/ 13690 h 205833"/>
                <a:gd name="connsiteX1" fmla="*/ 17975 w 271780"/>
                <a:gd name="connsiteY1" fmla="*/ 24164 h 205833"/>
                <a:gd name="connsiteX2" fmla="*/ 17975 w 271780"/>
                <a:gd name="connsiteY2" fmla="*/ 181669 h 205833"/>
                <a:gd name="connsiteX3" fmla="*/ 28434 w 271780"/>
                <a:gd name="connsiteY3" fmla="*/ 192142 h 205833"/>
                <a:gd name="connsiteX4" fmla="*/ 243106 w 271780"/>
                <a:gd name="connsiteY4" fmla="*/ 192142 h 205833"/>
                <a:gd name="connsiteX5" fmla="*/ 253565 w 271780"/>
                <a:gd name="connsiteY5" fmla="*/ 181669 h 205833"/>
                <a:gd name="connsiteX6" fmla="*/ 253565 w 271780"/>
                <a:gd name="connsiteY6" fmla="*/ 24164 h 205833"/>
                <a:gd name="connsiteX7" fmla="*/ 243106 w 271780"/>
                <a:gd name="connsiteY7" fmla="*/ 13690 h 205833"/>
                <a:gd name="connsiteX8" fmla="*/ 28434 w 271780"/>
                <a:gd name="connsiteY8" fmla="*/ 13690 h 205833"/>
                <a:gd name="connsiteX9" fmla="*/ 12067 w 271780"/>
                <a:gd name="connsiteY9" fmla="*/ 0 h 205833"/>
                <a:gd name="connsiteX10" fmla="*/ 259713 w 271780"/>
                <a:gd name="connsiteY10" fmla="*/ 0 h 205833"/>
                <a:gd name="connsiteX11" fmla="*/ 271780 w 271780"/>
                <a:gd name="connsiteY11" fmla="*/ 12084 h 205833"/>
                <a:gd name="connsiteX12" fmla="*/ 271780 w 271780"/>
                <a:gd name="connsiteY12" fmla="*/ 193883 h 205833"/>
                <a:gd name="connsiteX13" fmla="*/ 259713 w 271780"/>
                <a:gd name="connsiteY13" fmla="*/ 205833 h 205833"/>
                <a:gd name="connsiteX14" fmla="*/ 12067 w 271780"/>
                <a:gd name="connsiteY14" fmla="*/ 205833 h 205833"/>
                <a:gd name="connsiteX15" fmla="*/ 0 w 271780"/>
                <a:gd name="connsiteY15" fmla="*/ 193883 h 205833"/>
                <a:gd name="connsiteX16" fmla="*/ 0 w 271780"/>
                <a:gd name="connsiteY16" fmla="*/ 12084 h 205833"/>
                <a:gd name="connsiteX17" fmla="*/ 12067 w 271780"/>
                <a:gd name="connsiteY17" fmla="*/ 0 h 20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1780" h="205833">
                  <a:moveTo>
                    <a:pt x="28434" y="13690"/>
                  </a:moveTo>
                  <a:cubicBezTo>
                    <a:pt x="22668" y="13690"/>
                    <a:pt x="17975" y="18390"/>
                    <a:pt x="17975" y="24164"/>
                  </a:cubicBezTo>
                  <a:cubicBezTo>
                    <a:pt x="17975" y="24164"/>
                    <a:pt x="17975" y="24164"/>
                    <a:pt x="17975" y="181669"/>
                  </a:cubicBezTo>
                  <a:cubicBezTo>
                    <a:pt x="17975" y="187442"/>
                    <a:pt x="22668" y="192142"/>
                    <a:pt x="28434" y="192142"/>
                  </a:cubicBezTo>
                  <a:cubicBezTo>
                    <a:pt x="28434" y="192142"/>
                    <a:pt x="28434" y="192142"/>
                    <a:pt x="243106" y="192142"/>
                  </a:cubicBezTo>
                  <a:cubicBezTo>
                    <a:pt x="248872" y="192142"/>
                    <a:pt x="253565" y="187442"/>
                    <a:pt x="253565" y="181669"/>
                  </a:cubicBezTo>
                  <a:lnTo>
                    <a:pt x="253565" y="24164"/>
                  </a:lnTo>
                  <a:cubicBezTo>
                    <a:pt x="253565" y="18390"/>
                    <a:pt x="248872" y="13690"/>
                    <a:pt x="243106" y="13690"/>
                  </a:cubicBezTo>
                  <a:cubicBezTo>
                    <a:pt x="243106" y="13690"/>
                    <a:pt x="243106" y="13690"/>
                    <a:pt x="28434" y="13690"/>
                  </a:cubicBezTo>
                  <a:close/>
                  <a:moveTo>
                    <a:pt x="12067" y="0"/>
                  </a:moveTo>
                  <a:cubicBezTo>
                    <a:pt x="259713" y="0"/>
                    <a:pt x="259713" y="0"/>
                    <a:pt x="259713" y="0"/>
                  </a:cubicBezTo>
                  <a:cubicBezTo>
                    <a:pt x="266283" y="0"/>
                    <a:pt x="271780" y="5371"/>
                    <a:pt x="271780" y="12084"/>
                  </a:cubicBezTo>
                  <a:lnTo>
                    <a:pt x="271780" y="193883"/>
                  </a:lnTo>
                  <a:cubicBezTo>
                    <a:pt x="271780" y="200462"/>
                    <a:pt x="266283" y="205833"/>
                    <a:pt x="259713" y="205833"/>
                  </a:cubicBezTo>
                  <a:cubicBezTo>
                    <a:pt x="12067" y="205833"/>
                    <a:pt x="12067" y="205833"/>
                    <a:pt x="12067" y="205833"/>
                  </a:cubicBezTo>
                  <a:cubicBezTo>
                    <a:pt x="5363" y="205833"/>
                    <a:pt x="0" y="200462"/>
                    <a:pt x="0" y="193883"/>
                  </a:cubicBezTo>
                  <a:cubicBezTo>
                    <a:pt x="0" y="12084"/>
                    <a:pt x="0" y="12084"/>
                    <a:pt x="0" y="12084"/>
                  </a:cubicBezTo>
                  <a:cubicBezTo>
                    <a:pt x="0" y="5371"/>
                    <a:pt x="5363" y="0"/>
                    <a:pt x="12067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3" name="Freeform 623">
              <a:extLst>
                <a:ext uri="{FF2B5EF4-FFF2-40B4-BE49-F238E27FC236}">
                  <a16:creationId xmlns:a16="http://schemas.microsoft.com/office/drawing/2014/main" id="{B67927C1-17A0-497C-8E80-71273FE5C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134182"/>
              <a:ext cx="300060" cy="13930"/>
            </a:xfrm>
            <a:custGeom>
              <a:avLst/>
              <a:gdLst>
                <a:gd name="T0" fmla="*/ 2238 w 2238"/>
                <a:gd name="T1" fmla="*/ 59 h 103"/>
                <a:gd name="T2" fmla="*/ 2149 w 2238"/>
                <a:gd name="T3" fmla="*/ 103 h 103"/>
                <a:gd name="T4" fmla="*/ 90 w 2238"/>
                <a:gd name="T5" fmla="*/ 103 h 103"/>
                <a:gd name="T6" fmla="*/ 0 w 2238"/>
                <a:gd name="T7" fmla="*/ 59 h 103"/>
                <a:gd name="T8" fmla="*/ 0 w 2238"/>
                <a:gd name="T9" fmla="*/ 44 h 103"/>
                <a:gd name="T10" fmla="*/ 90 w 2238"/>
                <a:gd name="T11" fmla="*/ 0 h 103"/>
                <a:gd name="T12" fmla="*/ 2149 w 2238"/>
                <a:gd name="T13" fmla="*/ 0 h 103"/>
                <a:gd name="T14" fmla="*/ 2238 w 2238"/>
                <a:gd name="T15" fmla="*/ 44 h 103"/>
                <a:gd name="T16" fmla="*/ 2238 w 2238"/>
                <a:gd name="T17" fmla="*/ 5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8" h="103">
                  <a:moveTo>
                    <a:pt x="2238" y="59"/>
                  </a:moveTo>
                  <a:cubicBezTo>
                    <a:pt x="2238" y="83"/>
                    <a:pt x="2198" y="103"/>
                    <a:pt x="2149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41" y="103"/>
                    <a:pt x="0" y="83"/>
                    <a:pt x="0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41" y="0"/>
                    <a:pt x="90" y="0"/>
                  </a:cubicBezTo>
                  <a:cubicBezTo>
                    <a:pt x="2149" y="0"/>
                    <a:pt x="2149" y="0"/>
                    <a:pt x="2149" y="0"/>
                  </a:cubicBezTo>
                  <a:cubicBezTo>
                    <a:pt x="2198" y="0"/>
                    <a:pt x="2238" y="20"/>
                    <a:pt x="2238" y="44"/>
                  </a:cubicBezTo>
                  <a:lnTo>
                    <a:pt x="2238" y="59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54" name="Freeform: Shape 330">
              <a:extLst>
                <a:ext uri="{FF2B5EF4-FFF2-40B4-BE49-F238E27FC236}">
                  <a16:creationId xmlns:a16="http://schemas.microsoft.com/office/drawing/2014/main" id="{F8F5FEE9-0B3A-433A-8143-8E8B2B3FEF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449092" y="2094460"/>
              <a:ext cx="300060" cy="57883"/>
            </a:xfrm>
            <a:custGeom>
              <a:avLst/>
              <a:gdLst>
                <a:gd name="connsiteX0" fmla="*/ 39626 w 300060"/>
                <a:gd name="connsiteY0" fmla="*/ 6725 h 57883"/>
                <a:gd name="connsiteX1" fmla="*/ 28900 w 300060"/>
                <a:gd name="connsiteY1" fmla="*/ 9276 h 57883"/>
                <a:gd name="connsiteX2" fmla="*/ 16298 w 300060"/>
                <a:gd name="connsiteY2" fmla="*/ 47406 h 57883"/>
                <a:gd name="connsiteX3" fmla="*/ 27024 w 300060"/>
                <a:gd name="connsiteY3" fmla="*/ 49957 h 57883"/>
                <a:gd name="connsiteX4" fmla="*/ 273038 w 300060"/>
                <a:gd name="connsiteY4" fmla="*/ 49957 h 57883"/>
                <a:gd name="connsiteX5" fmla="*/ 283763 w 300060"/>
                <a:gd name="connsiteY5" fmla="*/ 47406 h 57883"/>
                <a:gd name="connsiteX6" fmla="*/ 271161 w 300060"/>
                <a:gd name="connsiteY6" fmla="*/ 9276 h 57883"/>
                <a:gd name="connsiteX7" fmla="*/ 260435 w 300060"/>
                <a:gd name="connsiteY7" fmla="*/ 6725 h 57883"/>
                <a:gd name="connsiteX8" fmla="*/ 39626 w 300060"/>
                <a:gd name="connsiteY8" fmla="*/ 6725 h 57883"/>
                <a:gd name="connsiteX9" fmla="*/ 26279 w 300060"/>
                <a:gd name="connsiteY9" fmla="*/ 0 h 57883"/>
                <a:gd name="connsiteX10" fmla="*/ 273916 w 300060"/>
                <a:gd name="connsiteY10" fmla="*/ 0 h 57883"/>
                <a:gd name="connsiteX11" fmla="*/ 285982 w 300060"/>
                <a:gd name="connsiteY11" fmla="*/ 3365 h 57883"/>
                <a:gd name="connsiteX12" fmla="*/ 300060 w 300060"/>
                <a:gd name="connsiteY12" fmla="*/ 54518 h 57883"/>
                <a:gd name="connsiteX13" fmla="*/ 288127 w 300060"/>
                <a:gd name="connsiteY13" fmla="*/ 57883 h 57883"/>
                <a:gd name="connsiteX14" fmla="*/ 12067 w 300060"/>
                <a:gd name="connsiteY14" fmla="*/ 57883 h 57883"/>
                <a:gd name="connsiteX15" fmla="*/ 0 w 300060"/>
                <a:gd name="connsiteY15" fmla="*/ 54518 h 57883"/>
                <a:gd name="connsiteX16" fmla="*/ 14212 w 300060"/>
                <a:gd name="connsiteY16" fmla="*/ 3365 h 57883"/>
                <a:gd name="connsiteX17" fmla="*/ 26279 w 300060"/>
                <a:gd name="connsiteY17" fmla="*/ 0 h 5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060" h="57883">
                  <a:moveTo>
                    <a:pt x="39626" y="6725"/>
                  </a:moveTo>
                  <a:cubicBezTo>
                    <a:pt x="33727" y="6725"/>
                    <a:pt x="28900" y="7799"/>
                    <a:pt x="28900" y="9276"/>
                  </a:cubicBezTo>
                  <a:cubicBezTo>
                    <a:pt x="28900" y="9276"/>
                    <a:pt x="28900" y="9276"/>
                    <a:pt x="16298" y="47406"/>
                  </a:cubicBezTo>
                  <a:cubicBezTo>
                    <a:pt x="16298" y="48883"/>
                    <a:pt x="21125" y="49957"/>
                    <a:pt x="27024" y="49957"/>
                  </a:cubicBezTo>
                  <a:cubicBezTo>
                    <a:pt x="27024" y="49957"/>
                    <a:pt x="27024" y="49957"/>
                    <a:pt x="273038" y="49957"/>
                  </a:cubicBezTo>
                  <a:cubicBezTo>
                    <a:pt x="278937" y="49957"/>
                    <a:pt x="283763" y="48883"/>
                    <a:pt x="283763" y="47406"/>
                  </a:cubicBezTo>
                  <a:lnTo>
                    <a:pt x="271161" y="9276"/>
                  </a:lnTo>
                  <a:cubicBezTo>
                    <a:pt x="271161" y="7799"/>
                    <a:pt x="266334" y="6725"/>
                    <a:pt x="260435" y="6725"/>
                  </a:cubicBezTo>
                  <a:cubicBezTo>
                    <a:pt x="260435" y="6725"/>
                    <a:pt x="260435" y="6725"/>
                    <a:pt x="39626" y="6725"/>
                  </a:cubicBezTo>
                  <a:close/>
                  <a:moveTo>
                    <a:pt x="26279" y="0"/>
                  </a:moveTo>
                  <a:cubicBezTo>
                    <a:pt x="273916" y="0"/>
                    <a:pt x="273916" y="0"/>
                    <a:pt x="273916" y="0"/>
                  </a:cubicBezTo>
                  <a:cubicBezTo>
                    <a:pt x="280619" y="0"/>
                    <a:pt x="285982" y="1481"/>
                    <a:pt x="285982" y="3365"/>
                  </a:cubicBezTo>
                  <a:lnTo>
                    <a:pt x="300060" y="54518"/>
                  </a:lnTo>
                  <a:cubicBezTo>
                    <a:pt x="300060" y="56402"/>
                    <a:pt x="294697" y="57883"/>
                    <a:pt x="288127" y="57883"/>
                  </a:cubicBezTo>
                  <a:cubicBezTo>
                    <a:pt x="12067" y="57883"/>
                    <a:pt x="12067" y="57883"/>
                    <a:pt x="12067" y="57883"/>
                  </a:cubicBezTo>
                  <a:cubicBezTo>
                    <a:pt x="5497" y="57883"/>
                    <a:pt x="0" y="56402"/>
                    <a:pt x="0" y="54518"/>
                  </a:cubicBezTo>
                  <a:cubicBezTo>
                    <a:pt x="14212" y="3365"/>
                    <a:pt x="14212" y="3365"/>
                    <a:pt x="14212" y="3365"/>
                  </a:cubicBezTo>
                  <a:cubicBezTo>
                    <a:pt x="14212" y="1481"/>
                    <a:pt x="19575" y="0"/>
                    <a:pt x="26279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9F2DDE-F08B-4EB4-9B85-516A652FDCA6}"/>
              </a:ext>
            </a:extLst>
          </p:cNvPr>
          <p:cNvGrpSpPr/>
          <p:nvPr/>
        </p:nvGrpSpPr>
        <p:grpSpPr>
          <a:xfrm>
            <a:off x="2547419" y="2669797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306" name="Gruppieren 907">
              <a:extLst>
                <a:ext uri="{FF2B5EF4-FFF2-40B4-BE49-F238E27FC236}">
                  <a16:creationId xmlns:a16="http://schemas.microsoft.com/office/drawing/2014/main" id="{E992A2EC-308D-490C-A435-7473C9D1A48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29" name="Abgerundetes Rechteck 908">
                <a:extLst>
                  <a:ext uri="{FF2B5EF4-FFF2-40B4-BE49-F238E27FC236}">
                    <a16:creationId xmlns:a16="http://schemas.microsoft.com/office/drawing/2014/main" id="{30BB4086-5A71-48FF-8ADE-34C52430DA98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30" name="Gruppieren 909">
                <a:extLst>
                  <a:ext uri="{FF2B5EF4-FFF2-40B4-BE49-F238E27FC236}">
                    <a16:creationId xmlns:a16="http://schemas.microsoft.com/office/drawing/2014/main" id="{B2FD5241-7DF3-459E-A05B-A77433AF876A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48" name="Freeform 668">
                  <a:extLst>
                    <a:ext uri="{FF2B5EF4-FFF2-40B4-BE49-F238E27FC236}">
                      <a16:creationId xmlns:a16="http://schemas.microsoft.com/office/drawing/2014/main" id="{754190F0-F131-459F-BDF0-A0B4735CC6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9" name="Freeform 669">
                  <a:extLst>
                    <a:ext uri="{FF2B5EF4-FFF2-40B4-BE49-F238E27FC236}">
                      <a16:creationId xmlns:a16="http://schemas.microsoft.com/office/drawing/2014/main" id="{5D15F54F-B839-45FE-8664-5D55D39D7B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31" name="Gruppieren 910">
                <a:extLst>
                  <a:ext uri="{FF2B5EF4-FFF2-40B4-BE49-F238E27FC236}">
                    <a16:creationId xmlns:a16="http://schemas.microsoft.com/office/drawing/2014/main" id="{0BF81806-FAB6-4BC8-A3A1-7B983AB59A96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32" name="Abgerundetes Rechteck 911">
                  <a:extLst>
                    <a:ext uri="{FF2B5EF4-FFF2-40B4-BE49-F238E27FC236}">
                      <a16:creationId xmlns:a16="http://schemas.microsoft.com/office/drawing/2014/main" id="{C38A7AE0-35FD-4746-89F7-C04CC6BB3948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3" name="Rectangle 332">
                  <a:extLst>
                    <a:ext uri="{FF2B5EF4-FFF2-40B4-BE49-F238E27FC236}">
                      <a16:creationId xmlns:a16="http://schemas.microsoft.com/office/drawing/2014/main" id="{D2076FB3-D03A-4B07-BE6D-73FFCD35C9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4" name="Rectangle 333">
                  <a:extLst>
                    <a:ext uri="{FF2B5EF4-FFF2-40B4-BE49-F238E27FC236}">
                      <a16:creationId xmlns:a16="http://schemas.microsoft.com/office/drawing/2014/main" id="{0920DEBB-8A43-4EE9-A7E8-45185CA4E0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5" name="Rectangle 334">
                  <a:extLst>
                    <a:ext uri="{FF2B5EF4-FFF2-40B4-BE49-F238E27FC236}">
                      <a16:creationId xmlns:a16="http://schemas.microsoft.com/office/drawing/2014/main" id="{060F7C6C-D603-404E-A011-D790A1FFAB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6" name="Rectangle 335">
                  <a:extLst>
                    <a:ext uri="{FF2B5EF4-FFF2-40B4-BE49-F238E27FC236}">
                      <a16:creationId xmlns:a16="http://schemas.microsoft.com/office/drawing/2014/main" id="{5017EA70-D09B-42AF-8F05-1E6043B9BF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7" name="Rectangle 336">
                  <a:extLst>
                    <a:ext uri="{FF2B5EF4-FFF2-40B4-BE49-F238E27FC236}">
                      <a16:creationId xmlns:a16="http://schemas.microsoft.com/office/drawing/2014/main" id="{ABB481F5-6482-49E1-9173-3D467D49C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8" name="Rectangle 337">
                  <a:extLst>
                    <a:ext uri="{FF2B5EF4-FFF2-40B4-BE49-F238E27FC236}">
                      <a16:creationId xmlns:a16="http://schemas.microsoft.com/office/drawing/2014/main" id="{4EF5D306-4E5B-4FAC-BD1C-DA73E4291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9" name="Rectangle 338">
                  <a:extLst>
                    <a:ext uri="{FF2B5EF4-FFF2-40B4-BE49-F238E27FC236}">
                      <a16:creationId xmlns:a16="http://schemas.microsoft.com/office/drawing/2014/main" id="{60538834-60D1-4B3A-85E9-88A3200FAB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0" name="Rectangle 339">
                  <a:extLst>
                    <a:ext uri="{FF2B5EF4-FFF2-40B4-BE49-F238E27FC236}">
                      <a16:creationId xmlns:a16="http://schemas.microsoft.com/office/drawing/2014/main" id="{1DF0BB94-CB46-49B3-BF4B-545EFBFB4F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1" name="Rectangle 340">
                  <a:extLst>
                    <a:ext uri="{FF2B5EF4-FFF2-40B4-BE49-F238E27FC236}">
                      <a16:creationId xmlns:a16="http://schemas.microsoft.com/office/drawing/2014/main" id="{201477A6-386D-4EF1-AEE7-D1B8F8EBB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2" name="Rectangle 341">
                  <a:extLst>
                    <a:ext uri="{FF2B5EF4-FFF2-40B4-BE49-F238E27FC236}">
                      <a16:creationId xmlns:a16="http://schemas.microsoft.com/office/drawing/2014/main" id="{9BA77809-DEDD-446C-92AD-D6D4C8A951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3" name="Rectangle 342">
                  <a:extLst>
                    <a:ext uri="{FF2B5EF4-FFF2-40B4-BE49-F238E27FC236}">
                      <a16:creationId xmlns:a16="http://schemas.microsoft.com/office/drawing/2014/main" id="{E6522FF3-A37E-449E-A754-FCBD4441C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4" name="Rectangle 343">
                  <a:extLst>
                    <a:ext uri="{FF2B5EF4-FFF2-40B4-BE49-F238E27FC236}">
                      <a16:creationId xmlns:a16="http://schemas.microsoft.com/office/drawing/2014/main" id="{2953E4DF-4511-44F6-B862-D4C97EA2FA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5" name="Rectangle 344">
                  <a:extLst>
                    <a:ext uri="{FF2B5EF4-FFF2-40B4-BE49-F238E27FC236}">
                      <a16:creationId xmlns:a16="http://schemas.microsoft.com/office/drawing/2014/main" id="{F62AB3EC-5C94-4E03-8E28-189ED02221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6" name="Rectangle 345">
                  <a:extLst>
                    <a:ext uri="{FF2B5EF4-FFF2-40B4-BE49-F238E27FC236}">
                      <a16:creationId xmlns:a16="http://schemas.microsoft.com/office/drawing/2014/main" id="{8C75E997-0262-4932-A080-50144BBA94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7" name="Rectangle 346">
                  <a:extLst>
                    <a:ext uri="{FF2B5EF4-FFF2-40B4-BE49-F238E27FC236}">
                      <a16:creationId xmlns:a16="http://schemas.microsoft.com/office/drawing/2014/main" id="{3ECF79EF-7DF0-4D7C-88CA-094C0348F7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307" name="Gruppieren 907">
              <a:extLst>
                <a:ext uri="{FF2B5EF4-FFF2-40B4-BE49-F238E27FC236}">
                  <a16:creationId xmlns:a16="http://schemas.microsoft.com/office/drawing/2014/main" id="{DE2A3E8E-F1A4-4588-8A15-313E0670F55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308" name="Abgerundetes Rechteck 908">
                <a:extLst>
                  <a:ext uri="{FF2B5EF4-FFF2-40B4-BE49-F238E27FC236}">
                    <a16:creationId xmlns:a16="http://schemas.microsoft.com/office/drawing/2014/main" id="{E269F92E-E908-4FE2-9E34-9800E67FE2C6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309" name="Gruppieren 909">
                <a:extLst>
                  <a:ext uri="{FF2B5EF4-FFF2-40B4-BE49-F238E27FC236}">
                    <a16:creationId xmlns:a16="http://schemas.microsoft.com/office/drawing/2014/main" id="{1DEBCC30-2BDA-4BE0-9C34-9AF4B97961A7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327" name="Freeform 647">
                  <a:extLst>
                    <a:ext uri="{FF2B5EF4-FFF2-40B4-BE49-F238E27FC236}">
                      <a16:creationId xmlns:a16="http://schemas.microsoft.com/office/drawing/2014/main" id="{A1EB0A1E-9052-405B-AA16-DC7FEA23DE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8" name="Freeform 648">
                  <a:extLst>
                    <a:ext uri="{FF2B5EF4-FFF2-40B4-BE49-F238E27FC236}">
                      <a16:creationId xmlns:a16="http://schemas.microsoft.com/office/drawing/2014/main" id="{AEDB19FB-CA19-4B64-A2EE-52083D919D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310" name="Gruppieren 910">
                <a:extLst>
                  <a:ext uri="{FF2B5EF4-FFF2-40B4-BE49-F238E27FC236}">
                    <a16:creationId xmlns:a16="http://schemas.microsoft.com/office/drawing/2014/main" id="{A6066DD2-4169-4D5D-82D1-65FEFBD30F93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311" name="Abgerundetes Rechteck 911">
                  <a:extLst>
                    <a:ext uri="{FF2B5EF4-FFF2-40B4-BE49-F238E27FC236}">
                      <a16:creationId xmlns:a16="http://schemas.microsoft.com/office/drawing/2014/main" id="{871D5881-E708-4052-B876-9B709BC2E470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1DE20C1E-06A5-4A19-B0D6-4370CCB1A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94CA5EAD-BDAD-41C8-A1B8-06957A4FD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4" name="Rectangle 313">
                  <a:extLst>
                    <a:ext uri="{FF2B5EF4-FFF2-40B4-BE49-F238E27FC236}">
                      <a16:creationId xmlns:a16="http://schemas.microsoft.com/office/drawing/2014/main" id="{49BE8B7B-E76C-4BC7-818F-80CF905F4D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5" name="Rectangle 314">
                  <a:extLst>
                    <a:ext uri="{FF2B5EF4-FFF2-40B4-BE49-F238E27FC236}">
                      <a16:creationId xmlns:a16="http://schemas.microsoft.com/office/drawing/2014/main" id="{84B4AC8A-9862-4AA5-981C-52A52CE942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6" name="Rectangle 315">
                  <a:extLst>
                    <a:ext uri="{FF2B5EF4-FFF2-40B4-BE49-F238E27FC236}">
                      <a16:creationId xmlns:a16="http://schemas.microsoft.com/office/drawing/2014/main" id="{C68D6E5C-084C-4A43-9A03-CBE0B45243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50971EEF-3E57-44E4-B901-4F3CB0DC3C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8" name="Rectangle 317">
                  <a:extLst>
                    <a:ext uri="{FF2B5EF4-FFF2-40B4-BE49-F238E27FC236}">
                      <a16:creationId xmlns:a16="http://schemas.microsoft.com/office/drawing/2014/main" id="{464DA020-EA1B-40E9-A1B2-6BDFF412BC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19" name="Rectangle 318">
                  <a:extLst>
                    <a:ext uri="{FF2B5EF4-FFF2-40B4-BE49-F238E27FC236}">
                      <a16:creationId xmlns:a16="http://schemas.microsoft.com/office/drawing/2014/main" id="{13B00F47-F943-448E-8B47-0A12CA472E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0" name="Rectangle 319">
                  <a:extLst>
                    <a:ext uri="{FF2B5EF4-FFF2-40B4-BE49-F238E27FC236}">
                      <a16:creationId xmlns:a16="http://schemas.microsoft.com/office/drawing/2014/main" id="{86E45F8C-5723-492A-98AD-70D07432C3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1" name="Rectangle 320">
                  <a:extLst>
                    <a:ext uri="{FF2B5EF4-FFF2-40B4-BE49-F238E27FC236}">
                      <a16:creationId xmlns:a16="http://schemas.microsoft.com/office/drawing/2014/main" id="{F3F6B270-5DEC-44E1-A46B-ABACBECFD0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2" name="Rectangle 321">
                  <a:extLst>
                    <a:ext uri="{FF2B5EF4-FFF2-40B4-BE49-F238E27FC236}">
                      <a16:creationId xmlns:a16="http://schemas.microsoft.com/office/drawing/2014/main" id="{B188DA2F-AB75-4010-8E46-8A7D32C53D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3" name="Rectangle 322">
                  <a:extLst>
                    <a:ext uri="{FF2B5EF4-FFF2-40B4-BE49-F238E27FC236}">
                      <a16:creationId xmlns:a16="http://schemas.microsoft.com/office/drawing/2014/main" id="{00AFBCBF-1C91-4478-BC83-C736B63392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4" name="Rectangle 323">
                  <a:extLst>
                    <a:ext uri="{FF2B5EF4-FFF2-40B4-BE49-F238E27FC236}">
                      <a16:creationId xmlns:a16="http://schemas.microsoft.com/office/drawing/2014/main" id="{AA72D2EA-C57F-4999-A87B-F35DD5EC5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5" name="Rectangle 324">
                  <a:extLst>
                    <a:ext uri="{FF2B5EF4-FFF2-40B4-BE49-F238E27FC236}">
                      <a16:creationId xmlns:a16="http://schemas.microsoft.com/office/drawing/2014/main" id="{13263BFB-7B6B-4FF1-A9E3-3AD002B214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26" name="Rectangle 325">
                  <a:extLst>
                    <a:ext uri="{FF2B5EF4-FFF2-40B4-BE49-F238E27FC236}">
                      <a16:creationId xmlns:a16="http://schemas.microsoft.com/office/drawing/2014/main" id="{E89F5BA9-A19C-4EEC-94B5-EC63347E2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6AADE-66A6-4E7C-AF09-3A863BA83F00}"/>
              </a:ext>
            </a:extLst>
          </p:cNvPr>
          <p:cNvSpPr/>
          <p:nvPr/>
        </p:nvSpPr>
        <p:spPr bwMode="gray">
          <a:xfrm>
            <a:off x="2455157" y="2471461"/>
            <a:ext cx="385276" cy="65422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2" name="TextBox 179">
            <a:extLst>
              <a:ext uri="{FF2B5EF4-FFF2-40B4-BE49-F238E27FC236}">
                <a16:creationId xmlns:a16="http://schemas.microsoft.com/office/drawing/2014/main" id="{ACBEA92A-3262-492F-9F9B-3CB34A403D6E}"/>
              </a:ext>
            </a:extLst>
          </p:cNvPr>
          <p:cNvSpPr txBox="1"/>
          <p:nvPr/>
        </p:nvSpPr>
        <p:spPr bwMode="gray">
          <a:xfrm>
            <a:off x="2433582" y="2302348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kytre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10961-94F8-4E29-B29C-A7E48CF17FB3}"/>
              </a:ext>
            </a:extLst>
          </p:cNvPr>
          <p:cNvSpPr/>
          <p:nvPr/>
        </p:nvSpPr>
        <p:spPr bwMode="gray">
          <a:xfrm>
            <a:off x="985889" y="3178101"/>
            <a:ext cx="3103089" cy="1298065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4" name="Gruppieren 907">
            <a:extLst>
              <a:ext uri="{FF2B5EF4-FFF2-40B4-BE49-F238E27FC236}">
                <a16:creationId xmlns:a16="http://schemas.microsoft.com/office/drawing/2014/main" id="{A43E4F5B-F11C-4A94-BE41-F00D5C23AEE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403450" y="381163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85" name="Abgerundetes Rechteck 908">
              <a:extLst>
                <a:ext uri="{FF2B5EF4-FFF2-40B4-BE49-F238E27FC236}">
                  <a16:creationId xmlns:a16="http://schemas.microsoft.com/office/drawing/2014/main" id="{43CFAD05-D64C-4411-82DA-0E72CEC37BB2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86" name="Gruppieren 909">
              <a:extLst>
                <a:ext uri="{FF2B5EF4-FFF2-40B4-BE49-F238E27FC236}">
                  <a16:creationId xmlns:a16="http://schemas.microsoft.com/office/drawing/2014/main" id="{396F8AA0-BDF8-4DBA-84E9-223ED050BEEE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304" name="Freeform 693">
                <a:extLst>
                  <a:ext uri="{FF2B5EF4-FFF2-40B4-BE49-F238E27FC236}">
                    <a16:creationId xmlns:a16="http://schemas.microsoft.com/office/drawing/2014/main" id="{1E68EA90-ED01-49F1-B286-51ED64BE4F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5" name="Freeform 694">
                <a:extLst>
                  <a:ext uri="{FF2B5EF4-FFF2-40B4-BE49-F238E27FC236}">
                    <a16:creationId xmlns:a16="http://schemas.microsoft.com/office/drawing/2014/main" id="{95EF0684-1674-4E47-A758-F90BC33A4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87" name="Gruppieren 910">
              <a:extLst>
                <a:ext uri="{FF2B5EF4-FFF2-40B4-BE49-F238E27FC236}">
                  <a16:creationId xmlns:a16="http://schemas.microsoft.com/office/drawing/2014/main" id="{5C6C42DA-9986-424D-BF29-5E09C4176482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88" name="Abgerundetes Rechteck 911">
                <a:extLst>
                  <a:ext uri="{FF2B5EF4-FFF2-40B4-BE49-F238E27FC236}">
                    <a16:creationId xmlns:a16="http://schemas.microsoft.com/office/drawing/2014/main" id="{05E1CBDC-3049-4BC5-BD4D-CA08F694BCA4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557E4078-8DB1-4972-A8B0-2F894C2C90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3D729086-323D-4CE3-A1B5-1DCE157FE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38B14DE8-9DCC-406E-9A98-46DAC40C2EF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C59D072-92B5-4288-BACC-E0EF07EC7B6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16150DCD-C77A-44ED-B47A-84C95DEE9D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94912203-D7B9-4F0C-89AE-1D3D7C6EF1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FF374C5C-5478-408E-B263-110F988784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98F2FC4E-2217-43C3-A229-8924ADC335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62D20C78-834B-462F-BAA3-D1B4EB2F33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B92B56F3-1C77-4D4E-92A0-5BFC06A954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44B26386-077D-4C11-BB37-F24A1C56B0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A81A3E47-1D69-4A13-8A0A-93B5A93210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8ED6D5D-C070-4E3E-8CC2-2073BA55FF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DE549091-2C30-4AC5-93AE-261B87D68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90930206-6FEC-4FD4-9C52-3455DD1F4C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5" name="Gruppieren 907">
            <a:extLst>
              <a:ext uri="{FF2B5EF4-FFF2-40B4-BE49-F238E27FC236}">
                <a16:creationId xmlns:a16="http://schemas.microsoft.com/office/drawing/2014/main" id="{05478884-160C-419B-81A0-3951B4EA9D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27529" y="336150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64" name="Abgerundetes Rechteck 908">
              <a:extLst>
                <a:ext uri="{FF2B5EF4-FFF2-40B4-BE49-F238E27FC236}">
                  <a16:creationId xmlns:a16="http://schemas.microsoft.com/office/drawing/2014/main" id="{F9126B0A-B3B2-4D06-8A77-E75714AB2827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65" name="Gruppieren 909">
              <a:extLst>
                <a:ext uri="{FF2B5EF4-FFF2-40B4-BE49-F238E27FC236}">
                  <a16:creationId xmlns:a16="http://schemas.microsoft.com/office/drawing/2014/main" id="{8711DBEB-140F-41FD-B9EB-0DDD39C6C44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83" name="Freeform 715">
                <a:extLst>
                  <a:ext uri="{FF2B5EF4-FFF2-40B4-BE49-F238E27FC236}">
                    <a16:creationId xmlns:a16="http://schemas.microsoft.com/office/drawing/2014/main" id="{D7F601B9-AE17-4090-AE52-21CE218E21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4" name="Freeform 716">
                <a:extLst>
                  <a:ext uri="{FF2B5EF4-FFF2-40B4-BE49-F238E27FC236}">
                    <a16:creationId xmlns:a16="http://schemas.microsoft.com/office/drawing/2014/main" id="{3DD060F3-E1AB-4763-942B-632545D1D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66" name="Gruppieren 910">
              <a:extLst>
                <a:ext uri="{FF2B5EF4-FFF2-40B4-BE49-F238E27FC236}">
                  <a16:creationId xmlns:a16="http://schemas.microsoft.com/office/drawing/2014/main" id="{96B11A7B-A9B2-4331-90B5-4EE07782F658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67" name="Abgerundetes Rechteck 911">
                <a:extLst>
                  <a:ext uri="{FF2B5EF4-FFF2-40B4-BE49-F238E27FC236}">
                    <a16:creationId xmlns:a16="http://schemas.microsoft.com/office/drawing/2014/main" id="{ED9D659D-99C0-46FC-BBFB-75EE1C568A1C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BA3781D-17E5-4C24-9BE9-6C068169647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2EF73E0A-5B7A-4F48-8CEB-3B8B46CE99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9CE6E499-616A-4EC5-BCEB-68AB025D4C6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E786E6B6-1D40-4DFB-829C-088C12E4988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12FBE122-B3E3-4039-A083-0371C68E3B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DF4C2245-893F-4062-83D8-0FB4868707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D370D2E0-0995-45E6-ACFE-663E7FA54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97E03C37-BA0C-434E-962A-C5D4A783A9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AE8A3A23-6032-4E2D-930F-E7EED4E5C2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F7DED7F5-D7A5-49D2-9EDD-DB00F52848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7D288892-4204-4800-9A11-9E35EB1A3D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1AD0CEA2-3FB4-4B8D-B940-6A258A90C48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0" name="Rectangle 279">
                <a:extLst>
                  <a:ext uri="{FF2B5EF4-FFF2-40B4-BE49-F238E27FC236}">
                    <a16:creationId xmlns:a16="http://schemas.microsoft.com/office/drawing/2014/main" id="{8C738806-211E-4614-A81B-EB259517A6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1" name="Rectangle 280">
                <a:extLst>
                  <a:ext uri="{FF2B5EF4-FFF2-40B4-BE49-F238E27FC236}">
                    <a16:creationId xmlns:a16="http://schemas.microsoft.com/office/drawing/2014/main" id="{D51B184C-DD45-4C99-993C-2883366E3F5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7EB65D72-60F4-4DB2-8E13-8A5885EC0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6" name="Gruppieren 907">
            <a:extLst>
              <a:ext uri="{FF2B5EF4-FFF2-40B4-BE49-F238E27FC236}">
                <a16:creationId xmlns:a16="http://schemas.microsoft.com/office/drawing/2014/main" id="{6569C144-B3E9-4C9F-9F9F-B30EEFF1135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93437" y="3843096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43" name="Abgerundetes Rechteck 908">
              <a:extLst>
                <a:ext uri="{FF2B5EF4-FFF2-40B4-BE49-F238E27FC236}">
                  <a16:creationId xmlns:a16="http://schemas.microsoft.com/office/drawing/2014/main" id="{C68A0773-46D8-4147-B68C-4F2015F27BEA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44" name="Gruppieren 909">
              <a:extLst>
                <a:ext uri="{FF2B5EF4-FFF2-40B4-BE49-F238E27FC236}">
                  <a16:creationId xmlns:a16="http://schemas.microsoft.com/office/drawing/2014/main" id="{48428891-A6D6-42D4-A0A5-79C60B1AB2A6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62" name="Freeform 737">
                <a:extLst>
                  <a:ext uri="{FF2B5EF4-FFF2-40B4-BE49-F238E27FC236}">
                    <a16:creationId xmlns:a16="http://schemas.microsoft.com/office/drawing/2014/main" id="{D646EE59-0CF4-4428-AD83-27822A451A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3" name="Freeform 738">
                <a:extLst>
                  <a:ext uri="{FF2B5EF4-FFF2-40B4-BE49-F238E27FC236}">
                    <a16:creationId xmlns:a16="http://schemas.microsoft.com/office/drawing/2014/main" id="{90CCB0B9-F41F-4AD3-89EF-6C3F5B0B5D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45" name="Gruppieren 910">
              <a:extLst>
                <a:ext uri="{FF2B5EF4-FFF2-40B4-BE49-F238E27FC236}">
                  <a16:creationId xmlns:a16="http://schemas.microsoft.com/office/drawing/2014/main" id="{E52E714F-5EE8-4FE8-BCB8-59DBD9CB26A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46" name="Abgerundetes Rechteck 911">
                <a:extLst>
                  <a:ext uri="{FF2B5EF4-FFF2-40B4-BE49-F238E27FC236}">
                    <a16:creationId xmlns:a16="http://schemas.microsoft.com/office/drawing/2014/main" id="{7CEC4E5C-803A-4EC3-B54E-0575379E722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FCA3AF92-0444-4767-91CA-18F43B8553F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172BFFE6-66C8-4E46-99EB-05AC59480EC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F2B711D3-BA23-4330-A5A4-3E899C7A79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E7019F60-4BC4-4932-81A9-28A545A737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60FD6F88-53C2-415C-A028-60D39A01D0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96DDFD3-B76C-405B-B639-DE776CEAB8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D393D420-7AC0-4068-A675-E1E25C9AE2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29F3596-0D6A-4B57-B527-0E68FD8820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1A8AA60F-6018-4437-BA67-A8F5090C43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0E804998-234F-4EA9-A675-8B71553715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1925DACD-8015-4607-96A7-8146567EA3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18DD1813-4DA0-473C-9754-74B8DDC91A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F64183AB-7FCC-423A-ACA8-61B03405D4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88A23712-6AA9-4ECE-9175-EC1A6B1EE5A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4A26AF7F-6750-4427-9349-3FD2994ECD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895CDFC1-9706-43CB-9B2F-9F9EEAE2B5AF}"/>
              </a:ext>
            </a:extLst>
          </p:cNvPr>
          <p:cNvSpPr/>
          <p:nvPr/>
        </p:nvSpPr>
        <p:spPr bwMode="gray">
          <a:xfrm>
            <a:off x="985890" y="4541426"/>
            <a:ext cx="3103089" cy="655059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8" name="Gruppieren 907">
            <a:extLst>
              <a:ext uri="{FF2B5EF4-FFF2-40B4-BE49-F238E27FC236}">
                <a16:creationId xmlns:a16="http://schemas.microsoft.com/office/drawing/2014/main" id="{D8D52534-E35E-4FE0-AF92-A6B5BD7011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65858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22" name="Abgerundetes Rechteck 908">
              <a:extLst>
                <a:ext uri="{FF2B5EF4-FFF2-40B4-BE49-F238E27FC236}">
                  <a16:creationId xmlns:a16="http://schemas.microsoft.com/office/drawing/2014/main" id="{FAC35BDA-C607-49A5-B69B-C9222C102AB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23" name="Gruppieren 909">
              <a:extLst>
                <a:ext uri="{FF2B5EF4-FFF2-40B4-BE49-F238E27FC236}">
                  <a16:creationId xmlns:a16="http://schemas.microsoft.com/office/drawing/2014/main" id="{2DA96181-499F-4ACF-8DDC-A65C694E5B17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41" name="Freeform 760">
                <a:extLst>
                  <a:ext uri="{FF2B5EF4-FFF2-40B4-BE49-F238E27FC236}">
                    <a16:creationId xmlns:a16="http://schemas.microsoft.com/office/drawing/2014/main" id="{72E28AB9-8DA8-49F5-B9E4-B8A151845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2" name="Freeform 761">
                <a:extLst>
                  <a:ext uri="{FF2B5EF4-FFF2-40B4-BE49-F238E27FC236}">
                    <a16:creationId xmlns:a16="http://schemas.microsoft.com/office/drawing/2014/main" id="{A8981564-426B-4168-A565-A30FEFFCB6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24" name="Gruppieren 910">
              <a:extLst>
                <a:ext uri="{FF2B5EF4-FFF2-40B4-BE49-F238E27FC236}">
                  <a16:creationId xmlns:a16="http://schemas.microsoft.com/office/drawing/2014/main" id="{15744602-D56D-45C2-8573-97F9FD267A40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25" name="Abgerundetes Rechteck 911">
                <a:extLst>
                  <a:ext uri="{FF2B5EF4-FFF2-40B4-BE49-F238E27FC236}">
                    <a16:creationId xmlns:a16="http://schemas.microsoft.com/office/drawing/2014/main" id="{5F2ED505-D2DE-424F-8649-0023FE734768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8FBCB7D-9D6E-4E23-BA71-E1FA0D32A7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06E3655D-04E5-4443-A4AD-35ED96FF29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B97AF97E-ABA5-447B-9B2C-0E5EB489B4E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8F410454-B477-4174-8C69-0D14AA4FA0C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0826EA5A-19CE-4548-8F57-467B79DF2E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A82A7994-DE7A-4938-9E4D-EAE939DE09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0D29DC1E-923F-4918-97E4-951EE0EB60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F86169B-FFE3-440E-AC59-8F598742FF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428F29FF-BBA3-4152-A490-4F6DAEADA98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B0512254-43D7-40D5-BF1F-38B6F71F86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D2DA3A35-270F-4CCE-BB80-686BD37331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77EC5F8-3770-422A-A7FB-F75BB2CC41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D8E87B50-532F-4236-8B11-65DFF11C6BA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5F528908-CDF2-40C8-923E-C4B5E4EFF9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633BB9-0ED8-4E6E-AEEC-18E390D45A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19" name="Gruppieren 907">
            <a:extLst>
              <a:ext uri="{FF2B5EF4-FFF2-40B4-BE49-F238E27FC236}">
                <a16:creationId xmlns:a16="http://schemas.microsoft.com/office/drawing/2014/main" id="{D4B3B856-3CB8-4EB4-A23F-750A185E3A2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448037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201" name="Abgerundetes Rechteck 908">
              <a:extLst>
                <a:ext uri="{FF2B5EF4-FFF2-40B4-BE49-F238E27FC236}">
                  <a16:creationId xmlns:a16="http://schemas.microsoft.com/office/drawing/2014/main" id="{74F1F295-6451-4D8C-ACFE-3DED9CCA486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202" name="Gruppieren 909">
              <a:extLst>
                <a:ext uri="{FF2B5EF4-FFF2-40B4-BE49-F238E27FC236}">
                  <a16:creationId xmlns:a16="http://schemas.microsoft.com/office/drawing/2014/main" id="{BB44A379-3C60-46E3-9BFC-BBE183F774F1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220" name="Freeform 782">
                <a:extLst>
                  <a:ext uri="{FF2B5EF4-FFF2-40B4-BE49-F238E27FC236}">
                    <a16:creationId xmlns:a16="http://schemas.microsoft.com/office/drawing/2014/main" id="{F24AE501-4F6B-4EA9-9B90-13826A477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21" name="Freeform 783">
                <a:extLst>
                  <a:ext uri="{FF2B5EF4-FFF2-40B4-BE49-F238E27FC236}">
                    <a16:creationId xmlns:a16="http://schemas.microsoft.com/office/drawing/2014/main" id="{B3EC0043-5837-4154-8945-A51C07610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203" name="Gruppieren 910">
              <a:extLst>
                <a:ext uri="{FF2B5EF4-FFF2-40B4-BE49-F238E27FC236}">
                  <a16:creationId xmlns:a16="http://schemas.microsoft.com/office/drawing/2014/main" id="{983772AF-EB7B-4DC2-AB89-4AF89F60FEC1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204" name="Abgerundetes Rechteck 911">
                <a:extLst>
                  <a:ext uri="{FF2B5EF4-FFF2-40B4-BE49-F238E27FC236}">
                    <a16:creationId xmlns:a16="http://schemas.microsoft.com/office/drawing/2014/main" id="{EA58C5DE-9D67-46C0-A0ED-CC33080D8CC2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16D2EC95-E7B7-40DE-BD0D-2A069F4A05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CB69B33E-8D40-46ED-9AFB-160167962FB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2EE5733-1DC7-47C0-8546-B1AF0F69667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B5243C77-12F9-45CA-9C93-C529A6D80E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48934C4C-E61B-4AEF-80D0-2EBEB660C2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49DA630-0DEE-46CF-B1DF-CB96B63A7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4913F365-19CA-463D-A4EE-DE2DD32383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5526D7FA-3065-4B0A-A4D7-CFA5336AF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2DC1262-1F0A-44CA-9880-69F951C6F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7BB28F55-9A41-43D6-812B-67F38B84B3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125F94E2-E113-468B-BA5B-C905723E04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35850A50-942F-4597-85DE-6ECA4CBFB5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129A7DC0-9E9B-4252-AD6D-B07331A3D2C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0777627F-CEED-4F81-A922-3C84400E3E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D93AD2DF-FAC8-4AEF-AA00-D69B9248A7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grpSp>
        <p:nvGrpSpPr>
          <p:cNvPr id="20" name="Gruppieren 907">
            <a:extLst>
              <a:ext uri="{FF2B5EF4-FFF2-40B4-BE49-F238E27FC236}">
                <a16:creationId xmlns:a16="http://schemas.microsoft.com/office/drawing/2014/main" id="{7DC786ED-E2F8-49AF-9F23-4F3C5463B66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33914" y="4665188"/>
            <a:ext cx="154495" cy="409845"/>
            <a:chOff x="9147423" y="1790700"/>
            <a:chExt cx="725488" cy="1924580"/>
          </a:xfrm>
          <a:solidFill>
            <a:schemeClr val="bg1">
              <a:lumMod val="95000"/>
              <a:alpha val="39000"/>
            </a:schemeClr>
          </a:solidFill>
        </p:grpSpPr>
        <p:sp>
          <p:nvSpPr>
            <p:cNvPr id="180" name="Abgerundetes Rechteck 908">
              <a:extLst>
                <a:ext uri="{FF2B5EF4-FFF2-40B4-BE49-F238E27FC236}">
                  <a16:creationId xmlns:a16="http://schemas.microsoft.com/office/drawing/2014/main" id="{F30DAFF8-DF24-4CC6-862D-56085870AF05}"/>
                </a:ext>
              </a:extLst>
            </p:cNvPr>
            <p:cNvSpPr/>
            <p:nvPr/>
          </p:nvSpPr>
          <p:spPr bwMode="gray">
            <a:xfrm>
              <a:off x="9147423" y="1790700"/>
              <a:ext cx="725488" cy="1924580"/>
            </a:xfrm>
            <a:prstGeom prst="roundRect">
              <a:avLst>
                <a:gd name="adj" fmla="val 6820"/>
              </a:avLst>
            </a:prstGeom>
            <a:grpFill/>
            <a:ln>
              <a:solidFill>
                <a:schemeClr val="bg1">
                  <a:lumMod val="95000"/>
                </a:schemeClr>
              </a:solidFill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grpSp>
          <p:nvGrpSpPr>
            <p:cNvPr id="181" name="Gruppieren 909">
              <a:extLst>
                <a:ext uri="{FF2B5EF4-FFF2-40B4-BE49-F238E27FC236}">
                  <a16:creationId xmlns:a16="http://schemas.microsoft.com/office/drawing/2014/main" id="{3080911A-A883-4C10-B9AF-597F85100F8D}"/>
                </a:ext>
              </a:extLst>
            </p:cNvPr>
            <p:cNvGrpSpPr/>
            <p:nvPr/>
          </p:nvGrpSpPr>
          <p:grpSpPr bwMode="gray">
            <a:xfrm>
              <a:off x="9202985" y="3524780"/>
              <a:ext cx="619125" cy="98426"/>
              <a:chOff x="9202985" y="3100387"/>
              <a:chExt cx="619125" cy="98426"/>
            </a:xfrm>
            <a:grpFill/>
          </p:grpSpPr>
          <p:sp>
            <p:nvSpPr>
              <p:cNvPr id="199" name="Freeform 804">
                <a:extLst>
                  <a:ext uri="{FF2B5EF4-FFF2-40B4-BE49-F238E27FC236}">
                    <a16:creationId xmlns:a16="http://schemas.microsoft.com/office/drawing/2014/main" id="{AE549482-B8E7-4B19-9EB3-2378AB20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49600"/>
                <a:ext cx="619125" cy="49213"/>
              </a:xfrm>
              <a:custGeom>
                <a:avLst/>
                <a:gdLst>
                  <a:gd name="T0" fmla="*/ 0 w 202"/>
                  <a:gd name="T1" fmla="*/ 0 h 15"/>
                  <a:gd name="T2" fmla="*/ 0 w 202"/>
                  <a:gd name="T3" fmla="*/ 6 h 15"/>
                  <a:gd name="T4" fmla="*/ 11 w 202"/>
                  <a:gd name="T5" fmla="*/ 15 h 15"/>
                  <a:gd name="T6" fmla="*/ 191 w 202"/>
                  <a:gd name="T7" fmla="*/ 15 h 15"/>
                  <a:gd name="T8" fmla="*/ 202 w 202"/>
                  <a:gd name="T9" fmla="*/ 6 h 15"/>
                  <a:gd name="T10" fmla="*/ 202 w 202"/>
                  <a:gd name="T11" fmla="*/ 0 h 15"/>
                  <a:gd name="T12" fmla="*/ 0 w 202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5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11"/>
                      <a:pt x="5" y="15"/>
                      <a:pt x="11" y="15"/>
                    </a:cubicBezTo>
                    <a:cubicBezTo>
                      <a:pt x="191" y="15"/>
                      <a:pt x="191" y="15"/>
                      <a:pt x="191" y="15"/>
                    </a:cubicBezTo>
                    <a:cubicBezTo>
                      <a:pt x="197" y="15"/>
                      <a:pt x="202" y="11"/>
                      <a:pt x="202" y="6"/>
                    </a:cubicBezTo>
                    <a:cubicBezTo>
                      <a:pt x="202" y="0"/>
                      <a:pt x="202" y="0"/>
                      <a:pt x="20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200" name="Freeform 805">
                <a:extLst>
                  <a:ext uri="{FF2B5EF4-FFF2-40B4-BE49-F238E27FC236}">
                    <a16:creationId xmlns:a16="http://schemas.microsoft.com/office/drawing/2014/main" id="{EE6C0E54-09DC-4BC0-8B42-76D74C0294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02985" y="3100387"/>
                <a:ext cx="619125" cy="49213"/>
              </a:xfrm>
              <a:custGeom>
                <a:avLst/>
                <a:gdLst>
                  <a:gd name="T0" fmla="*/ 202 w 202"/>
                  <a:gd name="T1" fmla="*/ 9 h 14"/>
                  <a:gd name="T2" fmla="*/ 191 w 202"/>
                  <a:gd name="T3" fmla="*/ 0 h 14"/>
                  <a:gd name="T4" fmla="*/ 11 w 202"/>
                  <a:gd name="T5" fmla="*/ 0 h 14"/>
                  <a:gd name="T6" fmla="*/ 0 w 202"/>
                  <a:gd name="T7" fmla="*/ 9 h 14"/>
                  <a:gd name="T8" fmla="*/ 0 w 202"/>
                  <a:gd name="T9" fmla="*/ 14 h 14"/>
                  <a:gd name="T10" fmla="*/ 202 w 202"/>
                  <a:gd name="T11" fmla="*/ 14 h 14"/>
                  <a:gd name="T12" fmla="*/ 202 w 202"/>
                  <a:gd name="T13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14">
                    <a:moveTo>
                      <a:pt x="202" y="9"/>
                    </a:moveTo>
                    <a:cubicBezTo>
                      <a:pt x="202" y="4"/>
                      <a:pt x="197" y="0"/>
                      <a:pt x="19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02" y="14"/>
                      <a:pt x="202" y="14"/>
                      <a:pt x="202" y="14"/>
                    </a:cubicBezTo>
                    <a:lnTo>
                      <a:pt x="202" y="9"/>
                    </a:lnTo>
                    <a:close/>
                  </a:path>
                </a:pathLst>
              </a:cu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2" name="Gruppieren 910">
              <a:extLst>
                <a:ext uri="{FF2B5EF4-FFF2-40B4-BE49-F238E27FC236}">
                  <a16:creationId xmlns:a16="http://schemas.microsoft.com/office/drawing/2014/main" id="{31F27DCB-D97E-484F-9441-5D1C933F555E}"/>
                </a:ext>
              </a:extLst>
            </p:cNvPr>
            <p:cNvGrpSpPr/>
            <p:nvPr/>
          </p:nvGrpSpPr>
          <p:grpSpPr bwMode="gray">
            <a:xfrm>
              <a:off x="9202985" y="1831102"/>
              <a:ext cx="619125" cy="1128528"/>
              <a:chOff x="9202985" y="1831102"/>
              <a:chExt cx="619125" cy="1128528"/>
            </a:xfrm>
            <a:grpFill/>
          </p:grpSpPr>
          <p:sp>
            <p:nvSpPr>
              <p:cNvPr id="183" name="Abgerundetes Rechteck 911">
                <a:extLst>
                  <a:ext uri="{FF2B5EF4-FFF2-40B4-BE49-F238E27FC236}">
                    <a16:creationId xmlns:a16="http://schemas.microsoft.com/office/drawing/2014/main" id="{44D48579-F0DA-40F3-B9AB-6622EC8CCD80}"/>
                  </a:ext>
                </a:extLst>
              </p:cNvPr>
              <p:cNvSpPr/>
              <p:nvPr/>
            </p:nvSpPr>
            <p:spPr bwMode="gray">
              <a:xfrm>
                <a:off x="9202985" y="1831102"/>
                <a:ext cx="619125" cy="1128528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59E1BAD7-4299-4334-BB8F-A3CECA212A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1908705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6031C0F2-DD3A-4125-B5C1-E52C21FAC1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10396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2F06DAF7-AD72-48CE-B4F7-C90FC2EE49D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23096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44F56B4B-9770-4944-A4D8-84BD83325C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13413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86E6A151-6C20-4EC1-9D51-32CB7C39F7A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037293"/>
                <a:ext cx="95250" cy="26988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D5FA383-0A20-4C75-A44B-4DF479C6A1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1935693"/>
                <a:ext cx="534988" cy="79375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4B98C931-334F-40E2-8488-13A0373AE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300818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D0B15C4C-6397-439F-9139-417261F4EDE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427818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5303842-D418-4B64-BF06-9F81A9C541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330980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C7836DE-FE2F-4D3F-A53B-6DEA44887D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49449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C2A58E6-426F-424E-BDA1-40F8F769A6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62149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F98AFE6-8F66-42F7-9D60-274C8A044E6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52465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1D64477E-57DA-499F-A3E9-40D2964E90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15156" y="2691343"/>
                <a:ext cx="595313" cy="18573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239903F7-4F39-4A1B-BC08-4D8D15868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83468" y="2818343"/>
                <a:ext cx="95250" cy="28575"/>
              </a:xfrm>
              <a:prstGeom prst="rect">
                <a:avLst/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0A4EFE9E-627C-44FA-9A35-7E3DA25996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243731" y="2721505"/>
                <a:ext cx="534988" cy="76200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95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</p:grpSp>
      <p:sp>
        <p:nvSpPr>
          <p:cNvPr id="23" name="TextBox 179">
            <a:extLst>
              <a:ext uri="{FF2B5EF4-FFF2-40B4-BE49-F238E27FC236}">
                <a16:creationId xmlns:a16="http://schemas.microsoft.com/office/drawing/2014/main" id="{408BECCE-877F-4106-8CD3-EA5A7448D33E}"/>
              </a:ext>
            </a:extLst>
          </p:cNvPr>
          <p:cNvSpPr txBox="1">
            <a:spLocks/>
          </p:cNvSpPr>
          <p:nvPr/>
        </p:nvSpPr>
        <p:spPr bwMode="gray">
          <a:xfrm>
            <a:off x="3420967" y="2299604"/>
            <a:ext cx="841479" cy="2216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olme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19302A9-1EAB-44D0-9A8C-B8BA254A1FF4}"/>
              </a:ext>
            </a:extLst>
          </p:cNvPr>
          <p:cNvCxnSpPr/>
          <p:nvPr/>
        </p:nvCxnSpPr>
        <p:spPr bwMode="gray">
          <a:xfrm>
            <a:off x="1500722" y="2967086"/>
            <a:ext cx="791550" cy="36118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5D31BB3-E7D4-49B3-AEA7-B234B176C68E}"/>
              </a:ext>
            </a:extLst>
          </p:cNvPr>
          <p:cNvCxnSpPr/>
          <p:nvPr/>
        </p:nvCxnSpPr>
        <p:spPr bwMode="gray">
          <a:xfrm>
            <a:off x="2127156" y="2978265"/>
            <a:ext cx="314796" cy="29961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0A3CEBE-1BE0-470F-92DB-31D74BC42461}"/>
              </a:ext>
            </a:extLst>
          </p:cNvPr>
          <p:cNvCxnSpPr/>
          <p:nvPr/>
        </p:nvCxnSpPr>
        <p:spPr bwMode="gray">
          <a:xfrm flipH="1">
            <a:off x="2589236" y="3002297"/>
            <a:ext cx="52850" cy="2893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B18F9A-52CA-4DBD-ADFF-862B4FECC0FC}"/>
              </a:ext>
            </a:extLst>
          </p:cNvPr>
          <p:cNvCxnSpPr/>
          <p:nvPr/>
        </p:nvCxnSpPr>
        <p:spPr bwMode="gray">
          <a:xfrm flipH="1">
            <a:off x="3660151" y="3032068"/>
            <a:ext cx="57380" cy="58465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D3A9AF-B414-41F3-98B9-3F23CF1707B9}"/>
              </a:ext>
            </a:extLst>
          </p:cNvPr>
          <p:cNvCxnSpPr/>
          <p:nvPr/>
        </p:nvCxnSpPr>
        <p:spPr bwMode="gray">
          <a:xfrm flipH="1">
            <a:off x="1632728" y="3548514"/>
            <a:ext cx="754386" cy="425864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F943F0-AF0A-4E4A-B68C-C6D31D1ECCD4}"/>
              </a:ext>
            </a:extLst>
          </p:cNvPr>
          <p:cNvCxnSpPr/>
          <p:nvPr/>
        </p:nvCxnSpPr>
        <p:spPr bwMode="gray">
          <a:xfrm>
            <a:off x="2633484" y="3567840"/>
            <a:ext cx="577678" cy="37947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B2E3063-4C91-4F5A-AFC8-DF9C6DCB02FE}"/>
              </a:ext>
            </a:extLst>
          </p:cNvPr>
          <p:cNvCxnSpPr/>
          <p:nvPr/>
        </p:nvCxnSpPr>
        <p:spPr bwMode="gray">
          <a:xfrm>
            <a:off x="1653933" y="4051100"/>
            <a:ext cx="1506173" cy="2334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72C8E0F-29A8-4DB5-A5DE-011EB8D3185E}"/>
              </a:ext>
            </a:extLst>
          </p:cNvPr>
          <p:cNvCxnSpPr/>
          <p:nvPr/>
        </p:nvCxnSpPr>
        <p:spPr bwMode="gray">
          <a:xfrm flipV="1">
            <a:off x="2633484" y="4187057"/>
            <a:ext cx="571950" cy="451576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945F2F8-D599-4F60-A753-DAE1AB0C06C8}"/>
              </a:ext>
            </a:extLst>
          </p:cNvPr>
          <p:cNvCxnSpPr/>
          <p:nvPr/>
        </p:nvCxnSpPr>
        <p:spPr bwMode="gray">
          <a:xfrm flipV="1">
            <a:off x="3211162" y="4319402"/>
            <a:ext cx="102783" cy="268401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C550AD-1E26-4E15-9D9D-DB64E5CDB215}"/>
              </a:ext>
            </a:extLst>
          </p:cNvPr>
          <p:cNvCxnSpPr/>
          <p:nvPr/>
        </p:nvCxnSpPr>
        <p:spPr bwMode="gray">
          <a:xfrm flipH="1" flipV="1">
            <a:off x="1517602" y="4314669"/>
            <a:ext cx="214330" cy="25592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79">
            <a:extLst>
              <a:ext uri="{FF2B5EF4-FFF2-40B4-BE49-F238E27FC236}">
                <a16:creationId xmlns:a16="http://schemas.microsoft.com/office/drawing/2014/main" id="{99709D34-AD93-49B2-8356-C74C011A224C}"/>
              </a:ext>
            </a:extLst>
          </p:cNvPr>
          <p:cNvSpPr txBox="1"/>
          <p:nvPr/>
        </p:nvSpPr>
        <p:spPr bwMode="gray">
          <a:xfrm>
            <a:off x="2627787" y="4768789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AS</a:t>
            </a:r>
          </a:p>
        </p:txBody>
      </p:sp>
      <p:sp>
        <p:nvSpPr>
          <p:cNvPr id="35" name="TextBox 179">
            <a:extLst>
              <a:ext uri="{FF2B5EF4-FFF2-40B4-BE49-F238E27FC236}">
                <a16:creationId xmlns:a16="http://schemas.microsoft.com/office/drawing/2014/main" id="{0CE05C00-EAF0-42F8-9758-BD26C1DE8593}"/>
              </a:ext>
            </a:extLst>
          </p:cNvPr>
          <p:cNvSpPr txBox="1"/>
          <p:nvPr/>
        </p:nvSpPr>
        <p:spPr bwMode="gray">
          <a:xfrm>
            <a:off x="3361993" y="4754551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ileserver</a:t>
            </a:r>
          </a:p>
        </p:txBody>
      </p:sp>
      <p:sp>
        <p:nvSpPr>
          <p:cNvPr id="36" name="TextBox 179">
            <a:extLst>
              <a:ext uri="{FF2B5EF4-FFF2-40B4-BE49-F238E27FC236}">
                <a16:creationId xmlns:a16="http://schemas.microsoft.com/office/drawing/2014/main" id="{DD6F869B-4C4E-490E-BCC7-3A2F961C4265}"/>
              </a:ext>
            </a:extLst>
          </p:cNvPr>
          <p:cNvSpPr txBox="1"/>
          <p:nvPr/>
        </p:nvSpPr>
        <p:spPr bwMode="gray">
          <a:xfrm>
            <a:off x="1202932" y="4762300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GUS</a:t>
            </a:r>
          </a:p>
        </p:txBody>
      </p:sp>
      <p:sp>
        <p:nvSpPr>
          <p:cNvPr id="37" name="TextBox 179">
            <a:extLst>
              <a:ext uri="{FF2B5EF4-FFF2-40B4-BE49-F238E27FC236}">
                <a16:creationId xmlns:a16="http://schemas.microsoft.com/office/drawing/2014/main" id="{115917A3-F8B5-4C86-B38A-A646A98E9971}"/>
              </a:ext>
            </a:extLst>
          </p:cNvPr>
          <p:cNvSpPr txBox="1"/>
          <p:nvPr/>
        </p:nvSpPr>
        <p:spPr bwMode="gray">
          <a:xfrm>
            <a:off x="1099850" y="3505646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Appl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</p:txBody>
      </p:sp>
      <p:sp>
        <p:nvSpPr>
          <p:cNvPr id="38" name="TextBox 179">
            <a:extLst>
              <a:ext uri="{FF2B5EF4-FFF2-40B4-BE49-F238E27FC236}">
                <a16:creationId xmlns:a16="http://schemas.microsoft.com/office/drawing/2014/main" id="{9944332D-638D-4574-A2AD-76ABCAD5E4C6}"/>
              </a:ext>
            </a:extLst>
          </p:cNvPr>
          <p:cNvSpPr txBox="1"/>
          <p:nvPr/>
        </p:nvSpPr>
        <p:spPr bwMode="gray">
          <a:xfrm>
            <a:off x="3512461" y="373086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th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EPG</a:t>
            </a:r>
          </a:p>
        </p:txBody>
      </p:sp>
      <p:sp>
        <p:nvSpPr>
          <p:cNvPr id="39" name="TextBox 179">
            <a:extLst>
              <a:ext uri="{FF2B5EF4-FFF2-40B4-BE49-F238E27FC236}">
                <a16:creationId xmlns:a16="http://schemas.microsoft.com/office/drawing/2014/main" id="{5CB61C07-8803-4F43-8D15-C878A5EC9B82}"/>
              </a:ext>
            </a:extLst>
          </p:cNvPr>
          <p:cNvSpPr txBox="1"/>
          <p:nvPr/>
        </p:nvSpPr>
        <p:spPr bwMode="gray">
          <a:xfrm>
            <a:off x="2633484" y="3410907"/>
            <a:ext cx="516679" cy="221690"/>
          </a:xfrm>
          <a:prstGeom prst="rect">
            <a:avLst/>
          </a:prstGeom>
          <a:solidFill>
            <a:schemeClr val="bg1">
              <a:lumMod val="95000"/>
              <a:alpha val="39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PC Web Serv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AB0EBD-FC68-47BC-BCDE-00708884834E}"/>
              </a:ext>
            </a:extLst>
          </p:cNvPr>
          <p:cNvGrpSpPr/>
          <p:nvPr/>
        </p:nvGrpSpPr>
        <p:grpSpPr>
          <a:xfrm>
            <a:off x="3026010" y="2673036"/>
            <a:ext cx="200754" cy="251135"/>
            <a:chOff x="2502880" y="2960980"/>
            <a:chExt cx="187583" cy="234659"/>
          </a:xfrm>
          <a:solidFill>
            <a:schemeClr val="bg1">
              <a:lumMod val="95000"/>
              <a:alpha val="39000"/>
            </a:schemeClr>
          </a:solidFill>
        </p:grpSpPr>
        <p:grpSp>
          <p:nvGrpSpPr>
            <p:cNvPr id="92" name="Gruppieren 907">
              <a:extLst>
                <a:ext uri="{FF2B5EF4-FFF2-40B4-BE49-F238E27FC236}">
                  <a16:creationId xmlns:a16="http://schemas.microsoft.com/office/drawing/2014/main" id="{BEEC7DCF-0E88-4223-BF12-1ABE955E3A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502880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115" name="Abgerundetes Rechteck 908">
                <a:extLst>
                  <a:ext uri="{FF2B5EF4-FFF2-40B4-BE49-F238E27FC236}">
                    <a16:creationId xmlns:a16="http://schemas.microsoft.com/office/drawing/2014/main" id="{56871B60-2A80-41C9-8B67-01D261B9B30D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16" name="Gruppieren 909">
                <a:extLst>
                  <a:ext uri="{FF2B5EF4-FFF2-40B4-BE49-F238E27FC236}">
                    <a16:creationId xmlns:a16="http://schemas.microsoft.com/office/drawing/2014/main" id="{0AE7E91D-DE19-4D35-A0F1-F5A2113FBEE8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34" name="Freeform 912">
                  <a:extLst>
                    <a:ext uri="{FF2B5EF4-FFF2-40B4-BE49-F238E27FC236}">
                      <a16:creationId xmlns:a16="http://schemas.microsoft.com/office/drawing/2014/main" id="{7B662F96-F3A9-4841-AC68-D6C38224E6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5" name="Freeform 913">
                  <a:extLst>
                    <a:ext uri="{FF2B5EF4-FFF2-40B4-BE49-F238E27FC236}">
                      <a16:creationId xmlns:a16="http://schemas.microsoft.com/office/drawing/2014/main" id="{B02273CB-4277-4761-BE60-2ED3EE184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17" name="Gruppieren 910">
                <a:extLst>
                  <a:ext uri="{FF2B5EF4-FFF2-40B4-BE49-F238E27FC236}">
                    <a16:creationId xmlns:a16="http://schemas.microsoft.com/office/drawing/2014/main" id="{6E715F7C-0177-4EC0-8494-01F0803A9568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118" name="Abgerundetes Rechteck 911">
                  <a:extLst>
                    <a:ext uri="{FF2B5EF4-FFF2-40B4-BE49-F238E27FC236}">
                      <a16:creationId xmlns:a16="http://schemas.microsoft.com/office/drawing/2014/main" id="{34590D70-EE6A-42D8-AAAB-4193A44588BF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AE50CA02-5A99-4E1B-BB1C-3D1EF053A9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E701A9EA-3A66-4579-A872-ECB6E9D9A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67B90788-9928-4F7A-A306-974BE00200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F8F54D9-49A4-4FC9-8510-026902A743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AB70A77D-2024-4B32-97A6-9998E125B4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08DD050C-04DE-4749-BA59-703A1F6166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96F87BC-91BF-42AD-BD30-71DCE5553C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F9CCE71D-90A0-4129-8E23-0D9ACE368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E45BB45A-A965-4461-8BF3-2427E34DFA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8" name="Rectangle 127">
                  <a:extLst>
                    <a:ext uri="{FF2B5EF4-FFF2-40B4-BE49-F238E27FC236}">
                      <a16:creationId xmlns:a16="http://schemas.microsoft.com/office/drawing/2014/main" id="{91AAE5F0-BA9F-4259-B39C-F6C0F4227E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BDCAC196-1B90-4FBC-9BE6-AA57A5580A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94598471-BAD7-407A-BAE4-05401CA94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93A6457C-D2C6-44FE-AB37-DFAEF94439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F1690D64-BEA6-4AA8-AC05-86AB89CF0F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33" name="Rectangle 132">
                  <a:extLst>
                    <a:ext uri="{FF2B5EF4-FFF2-40B4-BE49-F238E27FC236}">
                      <a16:creationId xmlns:a16="http://schemas.microsoft.com/office/drawing/2014/main" id="{1C482038-49F4-44F5-BCFB-C66567E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93" name="Gruppieren 907">
              <a:extLst>
                <a:ext uri="{FF2B5EF4-FFF2-40B4-BE49-F238E27FC236}">
                  <a16:creationId xmlns:a16="http://schemas.microsoft.com/office/drawing/2014/main" id="{2D742563-2A07-40D7-B998-DB702B3FD5B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602006" y="2960980"/>
              <a:ext cx="88457" cy="234659"/>
              <a:chOff x="9147423" y="1790700"/>
              <a:chExt cx="725488" cy="1924580"/>
            </a:xfrm>
            <a:grpFill/>
          </p:grpSpPr>
          <p:sp>
            <p:nvSpPr>
              <p:cNvPr id="94" name="Abgerundetes Rechteck 908">
                <a:extLst>
                  <a:ext uri="{FF2B5EF4-FFF2-40B4-BE49-F238E27FC236}">
                    <a16:creationId xmlns:a16="http://schemas.microsoft.com/office/drawing/2014/main" id="{7749BD14-692C-4FE1-B204-CB26CDA66E41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grpFill/>
              <a:ln>
                <a:solidFill>
                  <a:schemeClr val="bg1">
                    <a:lumMod val="95000"/>
                  </a:schemeClr>
                </a:solidFill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95" name="Gruppieren 909">
                <a:extLst>
                  <a:ext uri="{FF2B5EF4-FFF2-40B4-BE49-F238E27FC236}">
                    <a16:creationId xmlns:a16="http://schemas.microsoft.com/office/drawing/2014/main" id="{795CA00F-DF54-4021-94BD-5EF86EBC881F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  <a:grpFill/>
            </p:grpSpPr>
            <p:sp>
              <p:nvSpPr>
                <p:cNvPr id="113" name="Freeform 891">
                  <a:extLst>
                    <a:ext uri="{FF2B5EF4-FFF2-40B4-BE49-F238E27FC236}">
                      <a16:creationId xmlns:a16="http://schemas.microsoft.com/office/drawing/2014/main" id="{BD43A453-5378-4988-8F05-90EABC4F3C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4" name="Freeform 892">
                  <a:extLst>
                    <a:ext uri="{FF2B5EF4-FFF2-40B4-BE49-F238E27FC236}">
                      <a16:creationId xmlns:a16="http://schemas.microsoft.com/office/drawing/2014/main" id="{C7A2776F-2C87-447B-9101-7DFAEC9F4B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96" name="Gruppieren 910">
                <a:extLst>
                  <a:ext uri="{FF2B5EF4-FFF2-40B4-BE49-F238E27FC236}">
                    <a16:creationId xmlns:a16="http://schemas.microsoft.com/office/drawing/2014/main" id="{F24AC082-7E46-44FA-88C0-97C074CE6381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  <a:grpFill/>
            </p:grpSpPr>
            <p:sp>
              <p:nvSpPr>
                <p:cNvPr id="97" name="Abgerundetes Rechteck 911">
                  <a:extLst>
                    <a:ext uri="{FF2B5EF4-FFF2-40B4-BE49-F238E27FC236}">
                      <a16:creationId xmlns:a16="http://schemas.microsoft.com/office/drawing/2014/main" id="{85535ED3-61EB-4C87-97D3-7CEF93E2FC9E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2173BCE3-4FDC-4C33-B45C-071DB5FEE1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95D6B551-F10C-4DFB-A9BA-788DBB43E9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C1BE7907-2A32-4B97-AF59-4EB802FE7F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BC4FCD9D-FD6A-45EE-9090-AA7A077D0E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F9FC242C-065A-4CEB-A859-EF8264F26E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46D82EA-C4FA-409B-BFC0-69D8A6A2EB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3EFCB747-B7D8-4363-BB3D-035A1C1544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F4067F62-F1A0-46D2-8722-AD920E2E72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49C0F0E4-1627-40D9-BA04-6D90EAFC0A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9BC955B6-B573-4B8D-86DF-8412CD9261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A72213D2-7304-4A88-B388-E328CAD1BE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F7EFA03C-E2C7-4D0B-B2D7-B884F953D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F7336ED-3150-4706-82B8-59F3DCC4F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21B023D4-7440-4A5C-B083-B7A0C5393C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894B1B8B-BA23-4CCB-85DD-2AABEDBADC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95D1C6-20B9-4408-8B83-103C8C7CF7D4}"/>
              </a:ext>
            </a:extLst>
          </p:cNvPr>
          <p:cNvSpPr/>
          <p:nvPr/>
        </p:nvSpPr>
        <p:spPr bwMode="gray">
          <a:xfrm>
            <a:off x="2933748" y="2474700"/>
            <a:ext cx="385276" cy="654229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42" name="TextBox 179">
            <a:extLst>
              <a:ext uri="{FF2B5EF4-FFF2-40B4-BE49-F238E27FC236}">
                <a16:creationId xmlns:a16="http://schemas.microsoft.com/office/drawing/2014/main" id="{B5D8FFB3-E6A3-42FB-A328-4EF1E0D455B8}"/>
              </a:ext>
            </a:extLst>
          </p:cNvPr>
          <p:cNvSpPr txBox="1">
            <a:spLocks/>
          </p:cNvSpPr>
          <p:nvPr/>
        </p:nvSpPr>
        <p:spPr bwMode="gray">
          <a:xfrm>
            <a:off x="2926415" y="2299604"/>
            <a:ext cx="443847" cy="1571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hoDD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AC0A2C5-4B94-40F9-88E2-D3C10215517A}"/>
              </a:ext>
            </a:extLst>
          </p:cNvPr>
          <p:cNvCxnSpPr/>
          <p:nvPr/>
        </p:nvCxnSpPr>
        <p:spPr bwMode="gray">
          <a:xfrm>
            <a:off x="3200573" y="3024800"/>
            <a:ext cx="334742" cy="595920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: Top Corners Snipped 363">
            <a:extLst>
              <a:ext uri="{FF2B5EF4-FFF2-40B4-BE49-F238E27FC236}">
                <a16:creationId xmlns:a16="http://schemas.microsoft.com/office/drawing/2014/main" id="{B83EC4C5-B661-4674-8BE6-256C108497F2}"/>
              </a:ext>
            </a:extLst>
          </p:cNvPr>
          <p:cNvSpPr/>
          <p:nvPr/>
        </p:nvSpPr>
        <p:spPr bwMode="gray">
          <a:xfrm>
            <a:off x="4078999" y="1767405"/>
            <a:ext cx="777171" cy="3413560"/>
          </a:xfrm>
          <a:custGeom>
            <a:avLst/>
            <a:gdLst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0 w 2224809"/>
              <a:gd name="connsiteY6" fmla="*/ 3412731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25875 w 2224809"/>
              <a:gd name="connsiteY5" fmla="*/ 3438606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535424"/>
              <a:gd name="connsiteX1" fmla="*/ 1459119 w 2224809"/>
              <a:gd name="connsiteY1" fmla="*/ 0 h 3535424"/>
              <a:gd name="connsiteX2" fmla="*/ 2224809 w 2224809"/>
              <a:gd name="connsiteY2" fmla="*/ 765690 h 3535424"/>
              <a:gd name="connsiteX3" fmla="*/ 2224809 w 2224809"/>
              <a:gd name="connsiteY3" fmla="*/ 3412731 h 3535424"/>
              <a:gd name="connsiteX4" fmla="*/ 2198934 w 2224809"/>
              <a:gd name="connsiteY4" fmla="*/ 3438606 h 3535424"/>
              <a:gd name="connsiteX5" fmla="*/ 1015578 w 2224809"/>
              <a:gd name="connsiteY5" fmla="*/ 3535424 h 3535424"/>
              <a:gd name="connsiteX6" fmla="*/ 10758 w 2224809"/>
              <a:gd name="connsiteY6" fmla="*/ 2261662 h 3535424"/>
              <a:gd name="connsiteX7" fmla="*/ 0 w 2224809"/>
              <a:gd name="connsiteY7" fmla="*/ 765690 h 3535424"/>
              <a:gd name="connsiteX8" fmla="*/ 765690 w 2224809"/>
              <a:gd name="connsiteY8" fmla="*/ 0 h 3535424"/>
              <a:gd name="connsiteX0" fmla="*/ 765690 w 2224809"/>
              <a:gd name="connsiteY0" fmla="*/ 0 h 3438606"/>
              <a:gd name="connsiteX1" fmla="*/ 1459119 w 2224809"/>
              <a:gd name="connsiteY1" fmla="*/ 0 h 3438606"/>
              <a:gd name="connsiteX2" fmla="*/ 2224809 w 2224809"/>
              <a:gd name="connsiteY2" fmla="*/ 765690 h 3438606"/>
              <a:gd name="connsiteX3" fmla="*/ 2224809 w 2224809"/>
              <a:gd name="connsiteY3" fmla="*/ 3412731 h 3438606"/>
              <a:gd name="connsiteX4" fmla="*/ 2198934 w 2224809"/>
              <a:gd name="connsiteY4" fmla="*/ 3438606 h 3438606"/>
              <a:gd name="connsiteX5" fmla="*/ 789668 w 2224809"/>
              <a:gd name="connsiteY5" fmla="*/ 3427848 h 3438606"/>
              <a:gd name="connsiteX6" fmla="*/ 10758 w 2224809"/>
              <a:gd name="connsiteY6" fmla="*/ 2261662 h 3438606"/>
              <a:gd name="connsiteX7" fmla="*/ 0 w 2224809"/>
              <a:gd name="connsiteY7" fmla="*/ 765690 h 3438606"/>
              <a:gd name="connsiteX8" fmla="*/ 765690 w 2224809"/>
              <a:gd name="connsiteY8" fmla="*/ 0 h 3438606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2224809 w 2224809"/>
              <a:gd name="connsiteY2" fmla="*/ 765690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459119 w 2224809"/>
              <a:gd name="connsiteY1" fmla="*/ 0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1050328 w 2224809"/>
              <a:gd name="connsiteY1" fmla="*/ 161365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1192074 w 2224809"/>
              <a:gd name="connsiteY2" fmla="*/ 91629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2224809"/>
              <a:gd name="connsiteY0" fmla="*/ 0 h 3427848"/>
              <a:gd name="connsiteX1" fmla="*/ 813660 w 2224809"/>
              <a:gd name="connsiteY1" fmla="*/ 193638 h 3427848"/>
              <a:gd name="connsiteX2" fmla="*/ 826314 w 2224809"/>
              <a:gd name="connsiteY2" fmla="*/ 1056147 h 3427848"/>
              <a:gd name="connsiteX3" fmla="*/ 2224809 w 2224809"/>
              <a:gd name="connsiteY3" fmla="*/ 3412731 h 3427848"/>
              <a:gd name="connsiteX4" fmla="*/ 1359837 w 2224809"/>
              <a:gd name="connsiteY4" fmla="*/ 3417090 h 3427848"/>
              <a:gd name="connsiteX5" fmla="*/ 789668 w 2224809"/>
              <a:gd name="connsiteY5" fmla="*/ 3427848 h 3427848"/>
              <a:gd name="connsiteX6" fmla="*/ 10758 w 2224809"/>
              <a:gd name="connsiteY6" fmla="*/ 2261662 h 3427848"/>
              <a:gd name="connsiteX7" fmla="*/ 0 w 2224809"/>
              <a:gd name="connsiteY7" fmla="*/ 765690 h 3427848"/>
              <a:gd name="connsiteX8" fmla="*/ 765690 w 2224809"/>
              <a:gd name="connsiteY8" fmla="*/ 0 h 3427848"/>
              <a:gd name="connsiteX0" fmla="*/ 765690 w 1359837"/>
              <a:gd name="connsiteY0" fmla="*/ 0 h 3427848"/>
              <a:gd name="connsiteX1" fmla="*/ 813660 w 1359837"/>
              <a:gd name="connsiteY1" fmla="*/ 193638 h 3427848"/>
              <a:gd name="connsiteX2" fmla="*/ 826314 w 1359837"/>
              <a:gd name="connsiteY2" fmla="*/ 1056147 h 3427848"/>
              <a:gd name="connsiteX3" fmla="*/ 858587 w 1359837"/>
              <a:gd name="connsiteY3" fmla="*/ 3122275 h 3427848"/>
              <a:gd name="connsiteX4" fmla="*/ 1359837 w 1359837"/>
              <a:gd name="connsiteY4" fmla="*/ 3417090 h 3427848"/>
              <a:gd name="connsiteX5" fmla="*/ 789668 w 1359837"/>
              <a:gd name="connsiteY5" fmla="*/ 3427848 h 3427848"/>
              <a:gd name="connsiteX6" fmla="*/ 10758 w 1359837"/>
              <a:gd name="connsiteY6" fmla="*/ 2261662 h 3427848"/>
              <a:gd name="connsiteX7" fmla="*/ 0 w 1359837"/>
              <a:gd name="connsiteY7" fmla="*/ 765690 h 3427848"/>
              <a:gd name="connsiteX8" fmla="*/ 765690 w 1359837"/>
              <a:gd name="connsiteY8" fmla="*/ 0 h 3427848"/>
              <a:gd name="connsiteX0" fmla="*/ 765690 w 864986"/>
              <a:gd name="connsiteY0" fmla="*/ 0 h 3438605"/>
              <a:gd name="connsiteX1" fmla="*/ 813660 w 864986"/>
              <a:gd name="connsiteY1" fmla="*/ 193638 h 3438605"/>
              <a:gd name="connsiteX2" fmla="*/ 826314 w 864986"/>
              <a:gd name="connsiteY2" fmla="*/ 1056147 h 3438605"/>
              <a:gd name="connsiteX3" fmla="*/ 858587 w 864986"/>
              <a:gd name="connsiteY3" fmla="*/ 3122275 h 3438605"/>
              <a:gd name="connsiteX4" fmla="*/ 864986 w 864986"/>
              <a:gd name="connsiteY4" fmla="*/ 3438605 h 3438605"/>
              <a:gd name="connsiteX5" fmla="*/ 789668 w 864986"/>
              <a:gd name="connsiteY5" fmla="*/ 3427848 h 3438605"/>
              <a:gd name="connsiteX6" fmla="*/ 10758 w 864986"/>
              <a:gd name="connsiteY6" fmla="*/ 2261662 h 3438605"/>
              <a:gd name="connsiteX7" fmla="*/ 0 w 864986"/>
              <a:gd name="connsiteY7" fmla="*/ 765690 h 3438605"/>
              <a:gd name="connsiteX8" fmla="*/ 765690 w 864986"/>
              <a:gd name="connsiteY8" fmla="*/ 0 h 3438605"/>
              <a:gd name="connsiteX0" fmla="*/ 776447 w 875743"/>
              <a:gd name="connsiteY0" fmla="*/ 0 h 3438605"/>
              <a:gd name="connsiteX1" fmla="*/ 824417 w 875743"/>
              <a:gd name="connsiteY1" fmla="*/ 193638 h 3438605"/>
              <a:gd name="connsiteX2" fmla="*/ 837071 w 875743"/>
              <a:gd name="connsiteY2" fmla="*/ 1056147 h 3438605"/>
              <a:gd name="connsiteX3" fmla="*/ 869344 w 875743"/>
              <a:gd name="connsiteY3" fmla="*/ 3122275 h 3438605"/>
              <a:gd name="connsiteX4" fmla="*/ 875743 w 875743"/>
              <a:gd name="connsiteY4" fmla="*/ 3438605 h 3438605"/>
              <a:gd name="connsiteX5" fmla="*/ 800425 w 875743"/>
              <a:gd name="connsiteY5" fmla="*/ 3427848 h 3438605"/>
              <a:gd name="connsiteX6" fmla="*/ 0 w 875743"/>
              <a:gd name="connsiteY6" fmla="*/ 1390293 h 3438605"/>
              <a:gd name="connsiteX7" fmla="*/ 10757 w 875743"/>
              <a:gd name="connsiteY7" fmla="*/ 765690 h 3438605"/>
              <a:gd name="connsiteX8" fmla="*/ 776447 w 875743"/>
              <a:gd name="connsiteY8" fmla="*/ 0 h 3438605"/>
              <a:gd name="connsiteX0" fmla="*/ 795277 w 894573"/>
              <a:gd name="connsiteY0" fmla="*/ 0 h 3438605"/>
              <a:gd name="connsiteX1" fmla="*/ 843247 w 894573"/>
              <a:gd name="connsiteY1" fmla="*/ 193638 h 3438605"/>
              <a:gd name="connsiteX2" fmla="*/ 855901 w 894573"/>
              <a:gd name="connsiteY2" fmla="*/ 1056147 h 3438605"/>
              <a:gd name="connsiteX3" fmla="*/ 888174 w 894573"/>
              <a:gd name="connsiteY3" fmla="*/ 3122275 h 3438605"/>
              <a:gd name="connsiteX4" fmla="*/ 894573 w 894573"/>
              <a:gd name="connsiteY4" fmla="*/ 3438605 h 3438605"/>
              <a:gd name="connsiteX5" fmla="*/ 819255 w 894573"/>
              <a:gd name="connsiteY5" fmla="*/ 3427848 h 3438605"/>
              <a:gd name="connsiteX6" fmla="*/ 18830 w 894573"/>
              <a:gd name="connsiteY6" fmla="*/ 1390293 h 3438605"/>
              <a:gd name="connsiteX7" fmla="*/ 0 w 894573"/>
              <a:gd name="connsiteY7" fmla="*/ 718065 h 3438605"/>
              <a:gd name="connsiteX8" fmla="*/ 795277 w 894573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856796 w 895468"/>
              <a:gd name="connsiteY2" fmla="*/ 1056147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844142 w 895468"/>
              <a:gd name="connsiteY1" fmla="*/ 193638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96172 w 895468"/>
              <a:gd name="connsiteY0" fmla="*/ 0 h 3438605"/>
              <a:gd name="connsiteX1" fmla="*/ 784968 w 895468"/>
              <a:gd name="connsiteY1" fmla="*/ 222213 h 3438605"/>
              <a:gd name="connsiteX2" fmla="*/ 782829 w 895468"/>
              <a:gd name="connsiteY2" fmla="*/ 1065672 h 3438605"/>
              <a:gd name="connsiteX3" fmla="*/ 889069 w 895468"/>
              <a:gd name="connsiteY3" fmla="*/ 3122275 h 3438605"/>
              <a:gd name="connsiteX4" fmla="*/ 895468 w 895468"/>
              <a:gd name="connsiteY4" fmla="*/ 3438605 h 3438605"/>
              <a:gd name="connsiteX5" fmla="*/ 820150 w 895468"/>
              <a:gd name="connsiteY5" fmla="*/ 3427848 h 3438605"/>
              <a:gd name="connsiteX6" fmla="*/ 0 w 895468"/>
              <a:gd name="connsiteY6" fmla="*/ 1371243 h 3438605"/>
              <a:gd name="connsiteX7" fmla="*/ 895 w 895468"/>
              <a:gd name="connsiteY7" fmla="*/ 718065 h 3438605"/>
              <a:gd name="connsiteX8" fmla="*/ 796172 w 895468"/>
              <a:gd name="connsiteY8" fmla="*/ 0 h 3438605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820150 w 895468"/>
              <a:gd name="connsiteY5" fmla="*/ 3418323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95468"/>
              <a:gd name="connsiteY0" fmla="*/ 0 h 3429080"/>
              <a:gd name="connsiteX1" fmla="*/ 784968 w 895468"/>
              <a:gd name="connsiteY1" fmla="*/ 212688 h 3429080"/>
              <a:gd name="connsiteX2" fmla="*/ 782829 w 895468"/>
              <a:gd name="connsiteY2" fmla="*/ 1056147 h 3429080"/>
              <a:gd name="connsiteX3" fmla="*/ 889069 w 895468"/>
              <a:gd name="connsiteY3" fmla="*/ 3112750 h 3429080"/>
              <a:gd name="connsiteX4" fmla="*/ 895468 w 895468"/>
              <a:gd name="connsiteY4" fmla="*/ 3429080 h 3429080"/>
              <a:gd name="connsiteX5" fmla="*/ 775769 w 895468"/>
              <a:gd name="connsiteY5" fmla="*/ 3413560 h 3429080"/>
              <a:gd name="connsiteX6" fmla="*/ 0 w 895468"/>
              <a:gd name="connsiteY6" fmla="*/ 1361718 h 3429080"/>
              <a:gd name="connsiteX7" fmla="*/ 895 w 895468"/>
              <a:gd name="connsiteY7" fmla="*/ 708540 h 3429080"/>
              <a:gd name="connsiteX8" fmla="*/ 771517 w 895468"/>
              <a:gd name="connsiteY8" fmla="*/ 0 h 3429080"/>
              <a:gd name="connsiteX0" fmla="*/ 771517 w 889069"/>
              <a:gd name="connsiteY0" fmla="*/ 0 h 3413560"/>
              <a:gd name="connsiteX1" fmla="*/ 784968 w 889069"/>
              <a:gd name="connsiteY1" fmla="*/ 212688 h 3413560"/>
              <a:gd name="connsiteX2" fmla="*/ 782829 w 889069"/>
              <a:gd name="connsiteY2" fmla="*/ 1056147 h 3413560"/>
              <a:gd name="connsiteX3" fmla="*/ 889069 w 889069"/>
              <a:gd name="connsiteY3" fmla="*/ 3112750 h 3413560"/>
              <a:gd name="connsiteX4" fmla="*/ 791913 w 889069"/>
              <a:gd name="connsiteY4" fmla="*/ 3410030 h 3413560"/>
              <a:gd name="connsiteX5" fmla="*/ 775769 w 889069"/>
              <a:gd name="connsiteY5" fmla="*/ 3413560 h 3413560"/>
              <a:gd name="connsiteX6" fmla="*/ 0 w 889069"/>
              <a:gd name="connsiteY6" fmla="*/ 1361718 h 3413560"/>
              <a:gd name="connsiteX7" fmla="*/ 895 w 889069"/>
              <a:gd name="connsiteY7" fmla="*/ 708540 h 3413560"/>
              <a:gd name="connsiteX8" fmla="*/ 771517 w 889069"/>
              <a:gd name="connsiteY8" fmla="*/ 0 h 3413560"/>
              <a:gd name="connsiteX0" fmla="*/ 771517 w 791913"/>
              <a:gd name="connsiteY0" fmla="*/ 0 h 3413560"/>
              <a:gd name="connsiteX1" fmla="*/ 784968 w 791913"/>
              <a:gd name="connsiteY1" fmla="*/ 212688 h 3413560"/>
              <a:gd name="connsiteX2" fmla="*/ 782829 w 791913"/>
              <a:gd name="connsiteY2" fmla="*/ 1056147 h 3413560"/>
              <a:gd name="connsiteX3" fmla="*/ 790446 w 791913"/>
              <a:gd name="connsiteY3" fmla="*/ 3088937 h 3413560"/>
              <a:gd name="connsiteX4" fmla="*/ 791913 w 791913"/>
              <a:gd name="connsiteY4" fmla="*/ 3410030 h 3413560"/>
              <a:gd name="connsiteX5" fmla="*/ 775769 w 791913"/>
              <a:gd name="connsiteY5" fmla="*/ 3413560 h 3413560"/>
              <a:gd name="connsiteX6" fmla="*/ 0 w 791913"/>
              <a:gd name="connsiteY6" fmla="*/ 1361718 h 3413560"/>
              <a:gd name="connsiteX7" fmla="*/ 895 w 791913"/>
              <a:gd name="connsiteY7" fmla="*/ 708540 h 3413560"/>
              <a:gd name="connsiteX8" fmla="*/ 771517 w 791913"/>
              <a:gd name="connsiteY8" fmla="*/ 0 h 34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1913" h="3413560">
                <a:moveTo>
                  <a:pt x="771517" y="0"/>
                </a:moveTo>
                <a:lnTo>
                  <a:pt x="784968" y="212688"/>
                </a:lnTo>
                <a:lnTo>
                  <a:pt x="782829" y="1056147"/>
                </a:lnTo>
                <a:lnTo>
                  <a:pt x="790446" y="3088937"/>
                </a:lnTo>
                <a:lnTo>
                  <a:pt x="791913" y="3410030"/>
                </a:lnTo>
                <a:lnTo>
                  <a:pt x="775769" y="3413560"/>
                </a:lnTo>
                <a:lnTo>
                  <a:pt x="0" y="1361718"/>
                </a:lnTo>
                <a:cubicBezTo>
                  <a:pt x="298" y="1143992"/>
                  <a:pt x="597" y="926266"/>
                  <a:pt x="895" y="708540"/>
                </a:cubicBezTo>
                <a:lnTo>
                  <a:pt x="771517" y="0"/>
                </a:lnTo>
                <a:close/>
              </a:path>
            </a:pathLst>
          </a:custGeom>
          <a:pattFill prst="pct5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B4C474-5E86-4BB7-8B56-55F06BD89B63}"/>
              </a:ext>
            </a:extLst>
          </p:cNvPr>
          <p:cNvSpPr/>
          <p:nvPr/>
        </p:nvSpPr>
        <p:spPr bwMode="gray">
          <a:xfrm>
            <a:off x="3412339" y="2473748"/>
            <a:ext cx="671242" cy="6519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C52FC8-F5D0-44A7-BB42-9F77AD4FF51D}"/>
              </a:ext>
            </a:extLst>
          </p:cNvPr>
          <p:cNvGrpSpPr/>
          <p:nvPr/>
        </p:nvGrpSpPr>
        <p:grpSpPr>
          <a:xfrm>
            <a:off x="3647584" y="2680273"/>
            <a:ext cx="200752" cy="251135"/>
            <a:chOff x="3448947" y="2970769"/>
            <a:chExt cx="187582" cy="234659"/>
          </a:xfrm>
        </p:grpSpPr>
        <p:grpSp>
          <p:nvGrpSpPr>
            <p:cNvPr id="136" name="Gruppieren 907">
              <a:extLst>
                <a:ext uri="{FF2B5EF4-FFF2-40B4-BE49-F238E27FC236}">
                  <a16:creationId xmlns:a16="http://schemas.microsoft.com/office/drawing/2014/main" id="{DBBF5FA3-0BA7-4A14-AC11-9AF8E8BD39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448947" y="2970769"/>
              <a:ext cx="88457" cy="234659"/>
              <a:chOff x="9147423" y="1790700"/>
              <a:chExt cx="725488" cy="1924580"/>
            </a:xfrm>
          </p:grpSpPr>
          <p:sp>
            <p:nvSpPr>
              <p:cNvPr id="159" name="Abgerundetes Rechteck 908">
                <a:extLst>
                  <a:ext uri="{FF2B5EF4-FFF2-40B4-BE49-F238E27FC236}">
                    <a16:creationId xmlns:a16="http://schemas.microsoft.com/office/drawing/2014/main" id="{14BB09BA-EAA6-4C72-B221-0950FC4FB6DE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60" name="Gruppieren 909">
                <a:extLst>
                  <a:ext uri="{FF2B5EF4-FFF2-40B4-BE49-F238E27FC236}">
                    <a16:creationId xmlns:a16="http://schemas.microsoft.com/office/drawing/2014/main" id="{80AB31F1-2021-4181-BA74-399E2BFBDF8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78" name="Freeform 849">
                  <a:extLst>
                    <a:ext uri="{FF2B5EF4-FFF2-40B4-BE49-F238E27FC236}">
                      <a16:creationId xmlns:a16="http://schemas.microsoft.com/office/drawing/2014/main" id="{617DC6B9-6942-4EE2-9A63-48FACEB7D8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9" name="Freeform 850">
                  <a:extLst>
                    <a:ext uri="{FF2B5EF4-FFF2-40B4-BE49-F238E27FC236}">
                      <a16:creationId xmlns:a16="http://schemas.microsoft.com/office/drawing/2014/main" id="{0CCF2E5D-6610-44F3-83A2-CB539C1361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61" name="Gruppieren 910">
                <a:extLst>
                  <a:ext uri="{FF2B5EF4-FFF2-40B4-BE49-F238E27FC236}">
                    <a16:creationId xmlns:a16="http://schemas.microsoft.com/office/drawing/2014/main" id="{489D2CC8-9BAF-49AF-A7B1-E88FC51134D0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62" name="Abgerundetes Rechteck 911">
                  <a:extLst>
                    <a:ext uri="{FF2B5EF4-FFF2-40B4-BE49-F238E27FC236}">
                      <a16:creationId xmlns:a16="http://schemas.microsoft.com/office/drawing/2014/main" id="{363FE1EC-3194-4613-BB5A-1BF98559918D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EEFE7B7B-F4F6-4A4C-90C7-D68840C9AC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D6D805E-54C2-4C97-AADA-E9B0F58FB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D21DD822-33E6-466C-9815-BD32B87A43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6D8B3619-11FD-4BB7-B0B7-7969CF07C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54A01531-0955-4016-AF9C-94B5A29CFF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9ADE7672-D8FA-44B5-BB27-2674212198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259ECD59-BE15-4914-B789-34329741A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20BB36F9-B6E8-4F30-89D0-1DB5EAE23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62456BCB-8F28-447E-90F9-D8AC848DC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41E9DBEA-9895-43D8-BC5F-8C5BA51D8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CDCAD6DC-62D5-439F-9891-D07CFD3529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AB0D67AD-5666-48E5-B91C-DC9E28CB5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78D6A7A4-BC84-40CF-893E-4F9505D274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3EEC402-F397-4009-8473-5240CCC353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5F6B419-5F5D-4FDC-8EB1-0DF10ED46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  <p:grpSp>
          <p:nvGrpSpPr>
            <p:cNvPr id="137" name="Gruppieren 907">
              <a:extLst>
                <a:ext uri="{FF2B5EF4-FFF2-40B4-BE49-F238E27FC236}">
                  <a16:creationId xmlns:a16="http://schemas.microsoft.com/office/drawing/2014/main" id="{13D138E2-B392-45D9-A24B-43AFF9831A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48072" y="2970769"/>
              <a:ext cx="88457" cy="234659"/>
              <a:chOff x="9147423" y="1790700"/>
              <a:chExt cx="725488" cy="1924580"/>
            </a:xfrm>
          </p:grpSpPr>
          <p:sp>
            <p:nvSpPr>
              <p:cNvPr id="138" name="Abgerundetes Rechteck 908">
                <a:extLst>
                  <a:ext uri="{FF2B5EF4-FFF2-40B4-BE49-F238E27FC236}">
                    <a16:creationId xmlns:a16="http://schemas.microsoft.com/office/drawing/2014/main" id="{AE463138-5739-496D-81C3-D002B94719DC}"/>
                  </a:ext>
                </a:extLst>
              </p:cNvPr>
              <p:cNvSpPr/>
              <p:nvPr/>
            </p:nvSpPr>
            <p:spPr bwMode="gray">
              <a:xfrm>
                <a:off x="9147423" y="1790700"/>
                <a:ext cx="725488" cy="1924580"/>
              </a:xfrm>
              <a:prstGeom prst="roundRect">
                <a:avLst>
                  <a:gd name="adj" fmla="val 6820"/>
                </a:avLst>
              </a:prstGeom>
              <a:solidFill>
                <a:srgbClr val="C6C6C6"/>
              </a:solidFill>
              <a:ln>
                <a:noFill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  <p:grpSp>
            <p:nvGrpSpPr>
              <p:cNvPr id="139" name="Gruppieren 909">
                <a:extLst>
                  <a:ext uri="{FF2B5EF4-FFF2-40B4-BE49-F238E27FC236}">
                    <a16:creationId xmlns:a16="http://schemas.microsoft.com/office/drawing/2014/main" id="{724D2B23-A098-470A-A77B-18CB02461DAB}"/>
                  </a:ext>
                </a:extLst>
              </p:cNvPr>
              <p:cNvGrpSpPr/>
              <p:nvPr/>
            </p:nvGrpSpPr>
            <p:grpSpPr bwMode="gray">
              <a:xfrm>
                <a:off x="9202985" y="3524780"/>
                <a:ext cx="619125" cy="98426"/>
                <a:chOff x="9202985" y="3100387"/>
                <a:chExt cx="619125" cy="98426"/>
              </a:xfrm>
            </p:grpSpPr>
            <p:sp>
              <p:nvSpPr>
                <p:cNvPr id="157" name="Freeform 828">
                  <a:extLst>
                    <a:ext uri="{FF2B5EF4-FFF2-40B4-BE49-F238E27FC236}">
                      <a16:creationId xmlns:a16="http://schemas.microsoft.com/office/drawing/2014/main" id="{5669E217-1AFA-4467-BFC8-386CABE160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49600"/>
                  <a:ext cx="619125" cy="49213"/>
                </a:xfrm>
                <a:custGeom>
                  <a:avLst/>
                  <a:gdLst>
                    <a:gd name="T0" fmla="*/ 0 w 202"/>
                    <a:gd name="T1" fmla="*/ 0 h 15"/>
                    <a:gd name="T2" fmla="*/ 0 w 202"/>
                    <a:gd name="T3" fmla="*/ 6 h 15"/>
                    <a:gd name="T4" fmla="*/ 11 w 202"/>
                    <a:gd name="T5" fmla="*/ 15 h 15"/>
                    <a:gd name="T6" fmla="*/ 191 w 202"/>
                    <a:gd name="T7" fmla="*/ 15 h 15"/>
                    <a:gd name="T8" fmla="*/ 202 w 202"/>
                    <a:gd name="T9" fmla="*/ 6 h 15"/>
                    <a:gd name="T10" fmla="*/ 202 w 202"/>
                    <a:gd name="T11" fmla="*/ 0 h 15"/>
                    <a:gd name="T12" fmla="*/ 0 w 202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5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11"/>
                        <a:pt x="5" y="15"/>
                        <a:pt x="11" y="15"/>
                      </a:cubicBezTo>
                      <a:cubicBezTo>
                        <a:pt x="191" y="15"/>
                        <a:pt x="191" y="15"/>
                        <a:pt x="191" y="15"/>
                      </a:cubicBezTo>
                      <a:cubicBezTo>
                        <a:pt x="197" y="15"/>
                        <a:pt x="202" y="11"/>
                        <a:pt x="202" y="6"/>
                      </a:cubicBezTo>
                      <a:cubicBezTo>
                        <a:pt x="202" y="0"/>
                        <a:pt x="202" y="0"/>
                        <a:pt x="20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8" name="Freeform 829">
                  <a:extLst>
                    <a:ext uri="{FF2B5EF4-FFF2-40B4-BE49-F238E27FC236}">
                      <a16:creationId xmlns:a16="http://schemas.microsoft.com/office/drawing/2014/main" id="{FDDA1138-EE40-4932-801B-3505A99686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02985" y="3100387"/>
                  <a:ext cx="619125" cy="49213"/>
                </a:xfrm>
                <a:custGeom>
                  <a:avLst/>
                  <a:gdLst>
                    <a:gd name="T0" fmla="*/ 202 w 202"/>
                    <a:gd name="T1" fmla="*/ 9 h 14"/>
                    <a:gd name="T2" fmla="*/ 191 w 202"/>
                    <a:gd name="T3" fmla="*/ 0 h 14"/>
                    <a:gd name="T4" fmla="*/ 11 w 202"/>
                    <a:gd name="T5" fmla="*/ 0 h 14"/>
                    <a:gd name="T6" fmla="*/ 0 w 202"/>
                    <a:gd name="T7" fmla="*/ 9 h 14"/>
                    <a:gd name="T8" fmla="*/ 0 w 202"/>
                    <a:gd name="T9" fmla="*/ 14 h 14"/>
                    <a:gd name="T10" fmla="*/ 202 w 202"/>
                    <a:gd name="T11" fmla="*/ 14 h 14"/>
                    <a:gd name="T12" fmla="*/ 202 w 202"/>
                    <a:gd name="T13" fmla="*/ 9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2" h="14">
                      <a:moveTo>
                        <a:pt x="202" y="9"/>
                      </a:moveTo>
                      <a:cubicBezTo>
                        <a:pt x="202" y="4"/>
                        <a:pt x="197" y="0"/>
                        <a:pt x="19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9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02" y="14"/>
                        <a:pt x="202" y="14"/>
                        <a:pt x="202" y="14"/>
                      </a:cubicBezTo>
                      <a:lnTo>
                        <a:pt x="202" y="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grpSp>
            <p:nvGrpSpPr>
              <p:cNvPr id="140" name="Gruppieren 910">
                <a:extLst>
                  <a:ext uri="{FF2B5EF4-FFF2-40B4-BE49-F238E27FC236}">
                    <a16:creationId xmlns:a16="http://schemas.microsoft.com/office/drawing/2014/main" id="{27280F92-46B0-4B0A-86D0-D2BC842C9F0B}"/>
                  </a:ext>
                </a:extLst>
              </p:cNvPr>
              <p:cNvGrpSpPr/>
              <p:nvPr/>
            </p:nvGrpSpPr>
            <p:grpSpPr bwMode="gray">
              <a:xfrm>
                <a:off x="9202985" y="1831102"/>
                <a:ext cx="619125" cy="1128528"/>
                <a:chOff x="9202985" y="1831102"/>
                <a:chExt cx="619125" cy="1128528"/>
              </a:xfrm>
            </p:grpSpPr>
            <p:sp>
              <p:nvSpPr>
                <p:cNvPr id="141" name="Abgerundetes Rechteck 911">
                  <a:extLst>
                    <a:ext uri="{FF2B5EF4-FFF2-40B4-BE49-F238E27FC236}">
                      <a16:creationId xmlns:a16="http://schemas.microsoft.com/office/drawing/2014/main" id="{2B455008-B9BA-4162-89A6-37ED628D6365}"/>
                    </a:ext>
                  </a:extLst>
                </p:cNvPr>
                <p:cNvSpPr/>
                <p:nvPr/>
              </p:nvSpPr>
              <p:spPr bwMode="gray">
                <a:xfrm>
                  <a:off x="9202985" y="1831102"/>
                  <a:ext cx="619125" cy="1128528"/>
                </a:xfrm>
                <a:prstGeom prst="roundRect">
                  <a:avLst>
                    <a:gd name="adj" fmla="val 682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A0CB229C-6ADB-44DE-AB7B-B87AD4F4DD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1908705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99B92B75-D257-47B8-AA67-C6CE76FAB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10396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DD85DC6F-0CED-4373-8986-30D823C208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230968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2A6584DA-1724-42D8-B362-749849A8CF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13413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6" name="Rectangle 145">
                  <a:extLst>
                    <a:ext uri="{FF2B5EF4-FFF2-40B4-BE49-F238E27FC236}">
                      <a16:creationId xmlns:a16="http://schemas.microsoft.com/office/drawing/2014/main" id="{904190A9-7109-42B8-B794-C7589F6883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037293"/>
                  <a:ext cx="95250" cy="2698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BC09492-DA0C-406B-8A94-51964E4F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1935693"/>
                  <a:ext cx="534988" cy="79375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4D1EB64F-3A85-41B7-AD81-0BFF80097C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300818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C9B6D151-5AC9-4E20-A1ED-32EAD78BAC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427818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B2084F1F-D139-425D-AD5C-7AEF34E17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330980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924A7C37-124A-4A0C-9050-6D405458A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49449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7413B115-9516-4EA1-A9FE-CB6C0D80BF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621493"/>
                  <a:ext cx="95250" cy="285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3AAE0CC1-11A8-4FD8-BA8D-CA73C6D345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52465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C61818E7-BED0-4F6B-8087-F281DAC379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15156" y="2691343"/>
                  <a:ext cx="595313" cy="185738"/>
                </a:xfrm>
                <a:prstGeom prst="rect">
                  <a:avLst/>
                </a:prstGeom>
                <a:solidFill>
                  <a:srgbClr val="0061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D15932E2-10E4-4EF5-870A-540FB29575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683468" y="2818343"/>
                  <a:ext cx="95250" cy="28575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BAA4DD20-6AED-4135-A24A-AD94A46CA8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9243731" y="2721505"/>
                  <a:ext cx="534988" cy="76200"/>
                </a:xfrm>
                <a:prstGeom prst="rect">
                  <a:avLst/>
                </a:prstGeom>
                <a:solidFill>
                  <a:srgbClr val="0091D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</p:grpSp>
      </p:grpSp>
      <p:sp>
        <p:nvSpPr>
          <p:cNvPr id="381" name="Oval 380">
            <a:extLst>
              <a:ext uri="{FF2B5EF4-FFF2-40B4-BE49-F238E27FC236}">
                <a16:creationId xmlns:a16="http://schemas.microsoft.com/office/drawing/2014/main" id="{7DC4EEF1-204D-402D-B785-CDBCACCEBD4F}"/>
              </a:ext>
            </a:extLst>
          </p:cNvPr>
          <p:cNvSpPr>
            <a:spLocks/>
          </p:cNvSpPr>
          <p:nvPr/>
        </p:nvSpPr>
        <p:spPr bwMode="gray">
          <a:xfrm rot="19567730">
            <a:off x="7614513" y="2939251"/>
            <a:ext cx="1301276" cy="1301276"/>
          </a:xfrm>
          <a:prstGeom prst="ellipse">
            <a:avLst/>
          </a:prstGeom>
          <a:noFill/>
          <a:ln w="22225" cap="flat" cmpd="sng" algn="ctr">
            <a:solidFill>
              <a:srgbClr val="75787B"/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2" name="Flowchart: Process 381">
            <a:extLst>
              <a:ext uri="{FF2B5EF4-FFF2-40B4-BE49-F238E27FC236}">
                <a16:creationId xmlns:a16="http://schemas.microsoft.com/office/drawing/2014/main" id="{38FFCDA8-F48A-49EF-AAFE-AE084AE6FAC1}"/>
              </a:ext>
            </a:extLst>
          </p:cNvPr>
          <p:cNvSpPr/>
          <p:nvPr/>
        </p:nvSpPr>
        <p:spPr bwMode="gray">
          <a:xfrm rot="19567730">
            <a:off x="7991610" y="3005941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3" name="Flowchart: Process 382">
            <a:extLst>
              <a:ext uri="{FF2B5EF4-FFF2-40B4-BE49-F238E27FC236}">
                <a16:creationId xmlns:a16="http://schemas.microsoft.com/office/drawing/2014/main" id="{BA485D0D-A8E6-4FE5-9546-4DB3BC0BECB3}"/>
              </a:ext>
            </a:extLst>
          </p:cNvPr>
          <p:cNvSpPr/>
          <p:nvPr/>
        </p:nvSpPr>
        <p:spPr bwMode="gray">
          <a:xfrm rot="5197735">
            <a:off x="8185036" y="2937724"/>
            <a:ext cx="124498" cy="1414604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31EBFD0-CF6F-404D-BF78-39FD17EBEA3D}"/>
              </a:ext>
            </a:extLst>
          </p:cNvPr>
          <p:cNvSpPr>
            <a:spLocks/>
          </p:cNvSpPr>
          <p:nvPr/>
        </p:nvSpPr>
        <p:spPr bwMode="gray">
          <a:xfrm>
            <a:off x="7833151" y="3157889"/>
            <a:ext cx="864000" cy="864000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9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366" name="myP_Gear">
            <a:extLst>
              <a:ext uri="{FF2B5EF4-FFF2-40B4-BE49-F238E27FC236}">
                <a16:creationId xmlns:a16="http://schemas.microsoft.com/office/drawing/2014/main" id="{ADD1861F-955A-47C0-A199-B30FAF33822F}"/>
              </a:ext>
            </a:extLst>
          </p:cNvPr>
          <p:cNvGrpSpPr>
            <a:grpSpLocks noChangeAspect="1"/>
          </p:cNvGrpSpPr>
          <p:nvPr/>
        </p:nvGrpSpPr>
        <p:grpSpPr>
          <a:xfrm>
            <a:off x="8041311" y="3323153"/>
            <a:ext cx="468000" cy="307159"/>
            <a:chOff x="7369175" y="1997075"/>
            <a:chExt cx="1995487" cy="1309687"/>
          </a:xfrm>
          <a:solidFill>
            <a:schemeClr val="accent6"/>
          </a:solidFill>
        </p:grpSpPr>
        <p:sp>
          <p:nvSpPr>
            <p:cNvPr id="368" name="Freeform 11">
              <a:extLst>
                <a:ext uri="{FF2B5EF4-FFF2-40B4-BE49-F238E27FC236}">
                  <a16:creationId xmlns:a16="http://schemas.microsoft.com/office/drawing/2014/main" id="{C8072A68-91F5-426B-A9BF-6AAFE181A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4575" y="2273300"/>
              <a:ext cx="700087" cy="701675"/>
            </a:xfrm>
            <a:custGeom>
              <a:avLst/>
              <a:gdLst>
                <a:gd name="T0" fmla="*/ 68 w 468"/>
                <a:gd name="T1" fmla="*/ 117 h 468"/>
                <a:gd name="T2" fmla="*/ 94 w 468"/>
                <a:gd name="T3" fmla="*/ 83 h 468"/>
                <a:gd name="T4" fmla="*/ 120 w 468"/>
                <a:gd name="T5" fmla="*/ 28 h 468"/>
                <a:gd name="T6" fmla="*/ 142 w 468"/>
                <a:gd name="T7" fmla="*/ 18 h 468"/>
                <a:gd name="T8" fmla="*/ 195 w 468"/>
                <a:gd name="T9" fmla="*/ 29 h 468"/>
                <a:gd name="T10" fmla="*/ 224 w 468"/>
                <a:gd name="T11" fmla="*/ 42 h 468"/>
                <a:gd name="T12" fmla="*/ 241 w 468"/>
                <a:gd name="T13" fmla="*/ 30 h 468"/>
                <a:gd name="T14" fmla="*/ 303 w 468"/>
                <a:gd name="T15" fmla="*/ 9 h 468"/>
                <a:gd name="T16" fmla="*/ 322 w 468"/>
                <a:gd name="T17" fmla="*/ 16 h 468"/>
                <a:gd name="T18" fmla="*/ 352 w 468"/>
                <a:gd name="T19" fmla="*/ 63 h 468"/>
                <a:gd name="T20" fmla="*/ 387 w 468"/>
                <a:gd name="T21" fmla="*/ 94 h 468"/>
                <a:gd name="T22" fmla="*/ 438 w 468"/>
                <a:gd name="T23" fmla="*/ 118 h 468"/>
                <a:gd name="T24" fmla="*/ 451 w 468"/>
                <a:gd name="T25" fmla="*/ 144 h 468"/>
                <a:gd name="T26" fmla="*/ 440 w 468"/>
                <a:gd name="T27" fmla="*/ 195 h 468"/>
                <a:gd name="T28" fmla="*/ 443 w 468"/>
                <a:gd name="T29" fmla="*/ 245 h 468"/>
                <a:gd name="T30" fmla="*/ 461 w 468"/>
                <a:gd name="T31" fmla="*/ 296 h 468"/>
                <a:gd name="T32" fmla="*/ 453 w 468"/>
                <a:gd name="T33" fmla="*/ 321 h 468"/>
                <a:gd name="T34" fmla="*/ 406 w 468"/>
                <a:gd name="T35" fmla="*/ 353 h 468"/>
                <a:gd name="T36" fmla="*/ 397 w 468"/>
                <a:gd name="T37" fmla="*/ 352 h 468"/>
                <a:gd name="T38" fmla="*/ 373 w 468"/>
                <a:gd name="T39" fmla="*/ 380 h 468"/>
                <a:gd name="T40" fmla="*/ 307 w 468"/>
                <a:gd name="T41" fmla="*/ 456 h 468"/>
                <a:gd name="T42" fmla="*/ 271 w 468"/>
                <a:gd name="T43" fmla="*/ 438 h 468"/>
                <a:gd name="T44" fmla="*/ 225 w 468"/>
                <a:gd name="T45" fmla="*/ 441 h 468"/>
                <a:gd name="T46" fmla="*/ 169 w 468"/>
                <a:gd name="T47" fmla="*/ 461 h 468"/>
                <a:gd name="T48" fmla="*/ 142 w 468"/>
                <a:gd name="T49" fmla="*/ 451 h 468"/>
                <a:gd name="T50" fmla="*/ 116 w 468"/>
                <a:gd name="T51" fmla="*/ 410 h 468"/>
                <a:gd name="T52" fmla="*/ 116 w 468"/>
                <a:gd name="T53" fmla="*/ 396 h 468"/>
                <a:gd name="T54" fmla="*/ 89 w 468"/>
                <a:gd name="T55" fmla="*/ 373 h 468"/>
                <a:gd name="T56" fmla="*/ 12 w 468"/>
                <a:gd name="T57" fmla="*/ 303 h 468"/>
                <a:gd name="T58" fmla="*/ 31 w 468"/>
                <a:gd name="T59" fmla="*/ 271 h 468"/>
                <a:gd name="T60" fmla="*/ 27 w 468"/>
                <a:gd name="T61" fmla="*/ 226 h 468"/>
                <a:gd name="T62" fmla="*/ 7 w 468"/>
                <a:gd name="T63" fmla="*/ 172 h 468"/>
                <a:gd name="T64" fmla="*/ 19 w 468"/>
                <a:gd name="T65" fmla="*/ 138 h 468"/>
                <a:gd name="T66" fmla="*/ 68 w 468"/>
                <a:gd name="T67" fmla="*/ 117 h 468"/>
                <a:gd name="T68" fmla="*/ 245 w 468"/>
                <a:gd name="T69" fmla="*/ 381 h 468"/>
                <a:gd name="T70" fmla="*/ 296 w 468"/>
                <a:gd name="T71" fmla="*/ 401 h 468"/>
                <a:gd name="T72" fmla="*/ 319 w 468"/>
                <a:gd name="T73" fmla="*/ 406 h 468"/>
                <a:gd name="T74" fmla="*/ 329 w 468"/>
                <a:gd name="T75" fmla="*/ 384 h 468"/>
                <a:gd name="T76" fmla="*/ 330 w 468"/>
                <a:gd name="T77" fmla="*/ 349 h 468"/>
                <a:gd name="T78" fmla="*/ 396 w 468"/>
                <a:gd name="T79" fmla="*/ 308 h 468"/>
                <a:gd name="T80" fmla="*/ 415 w 468"/>
                <a:gd name="T81" fmla="*/ 296 h 468"/>
                <a:gd name="T82" fmla="*/ 408 w 468"/>
                <a:gd name="T83" fmla="*/ 273 h 468"/>
                <a:gd name="T84" fmla="*/ 400 w 468"/>
                <a:gd name="T85" fmla="*/ 172 h 468"/>
                <a:gd name="T86" fmla="*/ 406 w 468"/>
                <a:gd name="T87" fmla="*/ 150 h 468"/>
                <a:gd name="T88" fmla="*/ 384 w 468"/>
                <a:gd name="T89" fmla="*/ 139 h 468"/>
                <a:gd name="T90" fmla="*/ 308 w 468"/>
                <a:gd name="T91" fmla="*/ 74 h 468"/>
                <a:gd name="T92" fmla="*/ 295 w 468"/>
                <a:gd name="T93" fmla="*/ 52 h 468"/>
                <a:gd name="T94" fmla="*/ 271 w 468"/>
                <a:gd name="T95" fmla="*/ 62 h 468"/>
                <a:gd name="T96" fmla="*/ 173 w 468"/>
                <a:gd name="T97" fmla="*/ 69 h 468"/>
                <a:gd name="T98" fmla="*/ 147 w 468"/>
                <a:gd name="T99" fmla="*/ 63 h 468"/>
                <a:gd name="T100" fmla="*/ 139 w 468"/>
                <a:gd name="T101" fmla="*/ 87 h 468"/>
                <a:gd name="T102" fmla="*/ 129 w 468"/>
                <a:gd name="T103" fmla="*/ 130 h 468"/>
                <a:gd name="T104" fmla="*/ 68 w 468"/>
                <a:gd name="T105" fmla="*/ 161 h 468"/>
                <a:gd name="T106" fmla="*/ 51 w 468"/>
                <a:gd name="T107" fmla="*/ 175 h 468"/>
                <a:gd name="T108" fmla="*/ 57 w 468"/>
                <a:gd name="T109" fmla="*/ 193 h 468"/>
                <a:gd name="T110" fmla="*/ 66 w 468"/>
                <a:gd name="T111" fmla="*/ 298 h 468"/>
                <a:gd name="T112" fmla="*/ 62 w 468"/>
                <a:gd name="T113" fmla="*/ 319 h 468"/>
                <a:gd name="T114" fmla="*/ 83 w 468"/>
                <a:gd name="T115" fmla="*/ 329 h 468"/>
                <a:gd name="T116" fmla="*/ 108 w 468"/>
                <a:gd name="T117" fmla="*/ 328 h 468"/>
                <a:gd name="T118" fmla="*/ 160 w 468"/>
                <a:gd name="T119" fmla="*/ 397 h 468"/>
                <a:gd name="T120" fmla="*/ 174 w 468"/>
                <a:gd name="T121" fmla="*/ 417 h 468"/>
                <a:gd name="T122" fmla="*/ 194 w 468"/>
                <a:gd name="T123" fmla="*/ 408 h 468"/>
                <a:gd name="T124" fmla="*/ 245 w 468"/>
                <a:gd name="T125" fmla="*/ 38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8" h="468">
                  <a:moveTo>
                    <a:pt x="68" y="117"/>
                  </a:moveTo>
                  <a:cubicBezTo>
                    <a:pt x="88" y="118"/>
                    <a:pt x="98" y="107"/>
                    <a:pt x="94" y="83"/>
                  </a:cubicBezTo>
                  <a:cubicBezTo>
                    <a:pt x="89" y="54"/>
                    <a:pt x="94" y="43"/>
                    <a:pt x="120" y="28"/>
                  </a:cubicBezTo>
                  <a:cubicBezTo>
                    <a:pt x="127" y="24"/>
                    <a:pt x="134" y="21"/>
                    <a:pt x="142" y="18"/>
                  </a:cubicBezTo>
                  <a:cubicBezTo>
                    <a:pt x="165" y="8"/>
                    <a:pt x="177" y="11"/>
                    <a:pt x="195" y="29"/>
                  </a:cubicBezTo>
                  <a:cubicBezTo>
                    <a:pt x="203" y="37"/>
                    <a:pt x="210" y="46"/>
                    <a:pt x="224" y="42"/>
                  </a:cubicBezTo>
                  <a:cubicBezTo>
                    <a:pt x="232" y="40"/>
                    <a:pt x="236" y="36"/>
                    <a:pt x="241" y="30"/>
                  </a:cubicBezTo>
                  <a:cubicBezTo>
                    <a:pt x="260" y="4"/>
                    <a:pt x="272" y="0"/>
                    <a:pt x="303" y="9"/>
                  </a:cubicBezTo>
                  <a:cubicBezTo>
                    <a:pt x="309" y="11"/>
                    <a:pt x="315" y="14"/>
                    <a:pt x="322" y="16"/>
                  </a:cubicBezTo>
                  <a:cubicBezTo>
                    <a:pt x="344" y="24"/>
                    <a:pt x="353" y="40"/>
                    <a:pt x="352" y="63"/>
                  </a:cubicBezTo>
                  <a:cubicBezTo>
                    <a:pt x="351" y="90"/>
                    <a:pt x="360" y="98"/>
                    <a:pt x="387" y="94"/>
                  </a:cubicBezTo>
                  <a:cubicBezTo>
                    <a:pt x="412" y="90"/>
                    <a:pt x="425" y="96"/>
                    <a:pt x="438" y="118"/>
                  </a:cubicBezTo>
                  <a:cubicBezTo>
                    <a:pt x="443" y="126"/>
                    <a:pt x="447" y="135"/>
                    <a:pt x="451" y="144"/>
                  </a:cubicBezTo>
                  <a:cubicBezTo>
                    <a:pt x="460" y="163"/>
                    <a:pt x="457" y="181"/>
                    <a:pt x="440" y="195"/>
                  </a:cubicBezTo>
                  <a:cubicBezTo>
                    <a:pt x="418" y="212"/>
                    <a:pt x="421" y="231"/>
                    <a:pt x="443" y="245"/>
                  </a:cubicBezTo>
                  <a:cubicBezTo>
                    <a:pt x="463" y="258"/>
                    <a:pt x="468" y="273"/>
                    <a:pt x="461" y="296"/>
                  </a:cubicBezTo>
                  <a:cubicBezTo>
                    <a:pt x="459" y="305"/>
                    <a:pt x="456" y="313"/>
                    <a:pt x="453" y="321"/>
                  </a:cubicBezTo>
                  <a:cubicBezTo>
                    <a:pt x="443" y="345"/>
                    <a:pt x="432" y="353"/>
                    <a:pt x="406" y="353"/>
                  </a:cubicBezTo>
                  <a:cubicBezTo>
                    <a:pt x="403" y="353"/>
                    <a:pt x="400" y="352"/>
                    <a:pt x="397" y="352"/>
                  </a:cubicBezTo>
                  <a:cubicBezTo>
                    <a:pt x="380" y="353"/>
                    <a:pt x="371" y="363"/>
                    <a:pt x="373" y="380"/>
                  </a:cubicBezTo>
                  <a:cubicBezTo>
                    <a:pt x="378" y="422"/>
                    <a:pt x="350" y="455"/>
                    <a:pt x="307" y="456"/>
                  </a:cubicBezTo>
                  <a:cubicBezTo>
                    <a:pt x="292" y="456"/>
                    <a:pt x="281" y="449"/>
                    <a:pt x="271" y="438"/>
                  </a:cubicBezTo>
                  <a:cubicBezTo>
                    <a:pt x="252" y="418"/>
                    <a:pt x="241" y="419"/>
                    <a:pt x="225" y="441"/>
                  </a:cubicBezTo>
                  <a:cubicBezTo>
                    <a:pt x="209" y="463"/>
                    <a:pt x="195" y="468"/>
                    <a:pt x="169" y="461"/>
                  </a:cubicBezTo>
                  <a:cubicBezTo>
                    <a:pt x="160" y="458"/>
                    <a:pt x="150" y="455"/>
                    <a:pt x="142" y="451"/>
                  </a:cubicBezTo>
                  <a:cubicBezTo>
                    <a:pt x="124" y="443"/>
                    <a:pt x="115" y="430"/>
                    <a:pt x="116" y="410"/>
                  </a:cubicBezTo>
                  <a:cubicBezTo>
                    <a:pt x="116" y="406"/>
                    <a:pt x="116" y="401"/>
                    <a:pt x="116" y="396"/>
                  </a:cubicBezTo>
                  <a:cubicBezTo>
                    <a:pt x="116" y="380"/>
                    <a:pt x="105" y="371"/>
                    <a:pt x="89" y="373"/>
                  </a:cubicBezTo>
                  <a:cubicBezTo>
                    <a:pt x="46" y="380"/>
                    <a:pt x="10" y="347"/>
                    <a:pt x="12" y="303"/>
                  </a:cubicBezTo>
                  <a:cubicBezTo>
                    <a:pt x="13" y="289"/>
                    <a:pt x="21" y="280"/>
                    <a:pt x="31" y="271"/>
                  </a:cubicBezTo>
                  <a:cubicBezTo>
                    <a:pt x="50" y="253"/>
                    <a:pt x="49" y="241"/>
                    <a:pt x="27" y="226"/>
                  </a:cubicBezTo>
                  <a:cubicBezTo>
                    <a:pt x="5" y="211"/>
                    <a:pt x="0" y="198"/>
                    <a:pt x="7" y="172"/>
                  </a:cubicBezTo>
                  <a:cubicBezTo>
                    <a:pt x="10" y="160"/>
                    <a:pt x="14" y="148"/>
                    <a:pt x="19" y="138"/>
                  </a:cubicBezTo>
                  <a:cubicBezTo>
                    <a:pt x="29" y="119"/>
                    <a:pt x="45" y="115"/>
                    <a:pt x="68" y="117"/>
                  </a:cubicBezTo>
                  <a:close/>
                  <a:moveTo>
                    <a:pt x="245" y="381"/>
                  </a:moveTo>
                  <a:cubicBezTo>
                    <a:pt x="267" y="377"/>
                    <a:pt x="283" y="385"/>
                    <a:pt x="296" y="401"/>
                  </a:cubicBezTo>
                  <a:cubicBezTo>
                    <a:pt x="303" y="410"/>
                    <a:pt x="309" y="411"/>
                    <a:pt x="319" y="406"/>
                  </a:cubicBezTo>
                  <a:cubicBezTo>
                    <a:pt x="330" y="401"/>
                    <a:pt x="331" y="394"/>
                    <a:pt x="329" y="384"/>
                  </a:cubicBezTo>
                  <a:cubicBezTo>
                    <a:pt x="326" y="372"/>
                    <a:pt x="322" y="359"/>
                    <a:pt x="330" y="349"/>
                  </a:cubicBezTo>
                  <a:cubicBezTo>
                    <a:pt x="346" y="327"/>
                    <a:pt x="363" y="303"/>
                    <a:pt x="396" y="308"/>
                  </a:cubicBezTo>
                  <a:cubicBezTo>
                    <a:pt x="406" y="310"/>
                    <a:pt x="412" y="307"/>
                    <a:pt x="415" y="296"/>
                  </a:cubicBezTo>
                  <a:cubicBezTo>
                    <a:pt x="418" y="286"/>
                    <a:pt x="417" y="279"/>
                    <a:pt x="408" y="273"/>
                  </a:cubicBezTo>
                  <a:cubicBezTo>
                    <a:pt x="373" y="248"/>
                    <a:pt x="370" y="201"/>
                    <a:pt x="400" y="172"/>
                  </a:cubicBezTo>
                  <a:cubicBezTo>
                    <a:pt x="408" y="166"/>
                    <a:pt x="411" y="160"/>
                    <a:pt x="406" y="150"/>
                  </a:cubicBezTo>
                  <a:cubicBezTo>
                    <a:pt x="401" y="140"/>
                    <a:pt x="396" y="137"/>
                    <a:pt x="384" y="139"/>
                  </a:cubicBezTo>
                  <a:cubicBezTo>
                    <a:pt x="343" y="146"/>
                    <a:pt x="308" y="115"/>
                    <a:pt x="308" y="74"/>
                  </a:cubicBezTo>
                  <a:cubicBezTo>
                    <a:pt x="308" y="64"/>
                    <a:pt x="306" y="56"/>
                    <a:pt x="295" y="52"/>
                  </a:cubicBezTo>
                  <a:cubicBezTo>
                    <a:pt x="283" y="48"/>
                    <a:pt x="278" y="54"/>
                    <a:pt x="271" y="62"/>
                  </a:cubicBezTo>
                  <a:cubicBezTo>
                    <a:pt x="248" y="94"/>
                    <a:pt x="201" y="98"/>
                    <a:pt x="173" y="69"/>
                  </a:cubicBezTo>
                  <a:cubicBezTo>
                    <a:pt x="165" y="61"/>
                    <a:pt x="159" y="57"/>
                    <a:pt x="147" y="63"/>
                  </a:cubicBezTo>
                  <a:cubicBezTo>
                    <a:pt x="135" y="69"/>
                    <a:pt x="137" y="77"/>
                    <a:pt x="139" y="87"/>
                  </a:cubicBezTo>
                  <a:cubicBezTo>
                    <a:pt x="143" y="103"/>
                    <a:pt x="141" y="117"/>
                    <a:pt x="129" y="130"/>
                  </a:cubicBezTo>
                  <a:cubicBezTo>
                    <a:pt x="113" y="150"/>
                    <a:pt x="95" y="165"/>
                    <a:pt x="68" y="161"/>
                  </a:cubicBezTo>
                  <a:cubicBezTo>
                    <a:pt x="57" y="160"/>
                    <a:pt x="54" y="167"/>
                    <a:pt x="51" y="175"/>
                  </a:cubicBezTo>
                  <a:cubicBezTo>
                    <a:pt x="49" y="183"/>
                    <a:pt x="50" y="188"/>
                    <a:pt x="57" y="193"/>
                  </a:cubicBezTo>
                  <a:cubicBezTo>
                    <a:pt x="96" y="221"/>
                    <a:pt x="100" y="264"/>
                    <a:pt x="66" y="298"/>
                  </a:cubicBezTo>
                  <a:cubicBezTo>
                    <a:pt x="59" y="304"/>
                    <a:pt x="58" y="310"/>
                    <a:pt x="62" y="319"/>
                  </a:cubicBezTo>
                  <a:cubicBezTo>
                    <a:pt x="67" y="328"/>
                    <a:pt x="73" y="332"/>
                    <a:pt x="83" y="329"/>
                  </a:cubicBezTo>
                  <a:cubicBezTo>
                    <a:pt x="91" y="328"/>
                    <a:pt x="99" y="326"/>
                    <a:pt x="108" y="328"/>
                  </a:cubicBezTo>
                  <a:cubicBezTo>
                    <a:pt x="140" y="335"/>
                    <a:pt x="160" y="361"/>
                    <a:pt x="160" y="397"/>
                  </a:cubicBezTo>
                  <a:cubicBezTo>
                    <a:pt x="160" y="408"/>
                    <a:pt x="164" y="413"/>
                    <a:pt x="174" y="417"/>
                  </a:cubicBezTo>
                  <a:cubicBezTo>
                    <a:pt x="184" y="420"/>
                    <a:pt x="190" y="416"/>
                    <a:pt x="194" y="408"/>
                  </a:cubicBezTo>
                  <a:cubicBezTo>
                    <a:pt x="206" y="389"/>
                    <a:pt x="223" y="379"/>
                    <a:pt x="245" y="3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9" name="Freeform 12">
              <a:extLst>
                <a:ext uri="{FF2B5EF4-FFF2-40B4-BE49-F238E27FC236}">
                  <a16:creationId xmlns:a16="http://schemas.microsoft.com/office/drawing/2014/main" id="{F4811333-FAAF-4B80-8568-ED13172A7B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175" y="2227263"/>
              <a:ext cx="644525" cy="747712"/>
            </a:xfrm>
            <a:custGeom>
              <a:avLst/>
              <a:gdLst>
                <a:gd name="T0" fmla="*/ 215 w 432"/>
                <a:gd name="T1" fmla="*/ 498 h 498"/>
                <a:gd name="T2" fmla="*/ 134 w 432"/>
                <a:gd name="T3" fmla="*/ 498 h 498"/>
                <a:gd name="T4" fmla="*/ 109 w 432"/>
                <a:gd name="T5" fmla="*/ 475 h 498"/>
                <a:gd name="T6" fmla="*/ 72 w 432"/>
                <a:gd name="T7" fmla="*/ 369 h 498"/>
                <a:gd name="T8" fmla="*/ 29 w 432"/>
                <a:gd name="T9" fmla="*/ 278 h 498"/>
                <a:gd name="T10" fmla="*/ 114 w 432"/>
                <a:gd name="T11" fmla="*/ 43 h 498"/>
                <a:gd name="T12" fmla="*/ 373 w 432"/>
                <a:gd name="T13" fmla="*/ 79 h 498"/>
                <a:gd name="T14" fmla="*/ 407 w 432"/>
                <a:gd name="T15" fmla="*/ 278 h 498"/>
                <a:gd name="T16" fmla="*/ 344 w 432"/>
                <a:gd name="T17" fmla="*/ 396 h 498"/>
                <a:gd name="T18" fmla="*/ 322 w 432"/>
                <a:gd name="T19" fmla="*/ 472 h 498"/>
                <a:gd name="T20" fmla="*/ 296 w 432"/>
                <a:gd name="T21" fmla="*/ 498 h 498"/>
                <a:gd name="T22" fmla="*/ 215 w 432"/>
                <a:gd name="T23" fmla="*/ 498 h 498"/>
                <a:gd name="T24" fmla="*/ 215 w 432"/>
                <a:gd name="T25" fmla="*/ 498 h 498"/>
                <a:gd name="T26" fmla="*/ 214 w 432"/>
                <a:gd name="T27" fmla="*/ 454 h 498"/>
                <a:gd name="T28" fmla="*/ 214 w 432"/>
                <a:gd name="T29" fmla="*/ 454 h 498"/>
                <a:gd name="T30" fmla="*/ 263 w 432"/>
                <a:gd name="T31" fmla="*/ 454 h 498"/>
                <a:gd name="T32" fmla="*/ 280 w 432"/>
                <a:gd name="T33" fmla="*/ 440 h 498"/>
                <a:gd name="T34" fmla="*/ 309 w 432"/>
                <a:gd name="T35" fmla="*/ 367 h 498"/>
                <a:gd name="T36" fmla="*/ 366 w 432"/>
                <a:gd name="T37" fmla="*/ 262 h 498"/>
                <a:gd name="T38" fmla="*/ 316 w 432"/>
                <a:gd name="T39" fmla="*/ 87 h 498"/>
                <a:gd name="T40" fmla="*/ 189 w 432"/>
                <a:gd name="T41" fmla="*/ 63 h 498"/>
                <a:gd name="T42" fmla="*/ 64 w 432"/>
                <a:gd name="T43" fmla="*/ 230 h 498"/>
                <a:gd name="T44" fmla="*/ 102 w 432"/>
                <a:gd name="T45" fmla="*/ 332 h 498"/>
                <a:gd name="T46" fmla="*/ 151 w 432"/>
                <a:gd name="T47" fmla="*/ 445 h 498"/>
                <a:gd name="T48" fmla="*/ 164 w 432"/>
                <a:gd name="T49" fmla="*/ 454 h 498"/>
                <a:gd name="T50" fmla="*/ 214 w 432"/>
                <a:gd name="T51" fmla="*/ 45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2" h="498">
                  <a:moveTo>
                    <a:pt x="215" y="498"/>
                  </a:moveTo>
                  <a:cubicBezTo>
                    <a:pt x="188" y="498"/>
                    <a:pt x="161" y="498"/>
                    <a:pt x="134" y="498"/>
                  </a:cubicBezTo>
                  <a:cubicBezTo>
                    <a:pt x="118" y="498"/>
                    <a:pt x="108" y="491"/>
                    <a:pt x="109" y="475"/>
                  </a:cubicBezTo>
                  <a:cubicBezTo>
                    <a:pt x="109" y="434"/>
                    <a:pt x="90" y="402"/>
                    <a:pt x="72" y="369"/>
                  </a:cubicBezTo>
                  <a:cubicBezTo>
                    <a:pt x="55" y="339"/>
                    <a:pt x="39" y="310"/>
                    <a:pt x="29" y="278"/>
                  </a:cubicBezTo>
                  <a:cubicBezTo>
                    <a:pt x="0" y="185"/>
                    <a:pt x="35" y="89"/>
                    <a:pt x="114" y="43"/>
                  </a:cubicBezTo>
                  <a:cubicBezTo>
                    <a:pt x="188" y="0"/>
                    <a:pt x="313" y="7"/>
                    <a:pt x="373" y="79"/>
                  </a:cubicBezTo>
                  <a:cubicBezTo>
                    <a:pt x="423" y="139"/>
                    <a:pt x="432" y="206"/>
                    <a:pt x="407" y="278"/>
                  </a:cubicBezTo>
                  <a:cubicBezTo>
                    <a:pt x="392" y="320"/>
                    <a:pt x="366" y="357"/>
                    <a:pt x="344" y="396"/>
                  </a:cubicBezTo>
                  <a:cubicBezTo>
                    <a:pt x="331" y="420"/>
                    <a:pt x="321" y="444"/>
                    <a:pt x="322" y="472"/>
                  </a:cubicBezTo>
                  <a:cubicBezTo>
                    <a:pt x="322" y="490"/>
                    <a:pt x="314" y="498"/>
                    <a:pt x="296" y="498"/>
                  </a:cubicBezTo>
                  <a:cubicBezTo>
                    <a:pt x="269" y="498"/>
                    <a:pt x="242" y="498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lose/>
                  <a:moveTo>
                    <a:pt x="214" y="454"/>
                  </a:moveTo>
                  <a:cubicBezTo>
                    <a:pt x="214" y="454"/>
                    <a:pt x="214" y="454"/>
                    <a:pt x="214" y="454"/>
                  </a:cubicBezTo>
                  <a:cubicBezTo>
                    <a:pt x="230" y="454"/>
                    <a:pt x="247" y="454"/>
                    <a:pt x="263" y="454"/>
                  </a:cubicBezTo>
                  <a:cubicBezTo>
                    <a:pt x="273" y="455"/>
                    <a:pt x="279" y="451"/>
                    <a:pt x="280" y="440"/>
                  </a:cubicBezTo>
                  <a:cubicBezTo>
                    <a:pt x="284" y="414"/>
                    <a:pt x="296" y="390"/>
                    <a:pt x="309" y="367"/>
                  </a:cubicBezTo>
                  <a:cubicBezTo>
                    <a:pt x="329" y="333"/>
                    <a:pt x="352" y="300"/>
                    <a:pt x="366" y="262"/>
                  </a:cubicBezTo>
                  <a:cubicBezTo>
                    <a:pt x="390" y="196"/>
                    <a:pt x="369" y="121"/>
                    <a:pt x="316" y="87"/>
                  </a:cubicBezTo>
                  <a:cubicBezTo>
                    <a:pt x="278" y="61"/>
                    <a:pt x="234" y="57"/>
                    <a:pt x="189" y="63"/>
                  </a:cubicBezTo>
                  <a:cubicBezTo>
                    <a:pt x="109" y="75"/>
                    <a:pt x="54" y="149"/>
                    <a:pt x="64" y="230"/>
                  </a:cubicBezTo>
                  <a:cubicBezTo>
                    <a:pt x="69" y="267"/>
                    <a:pt x="84" y="300"/>
                    <a:pt x="102" y="332"/>
                  </a:cubicBezTo>
                  <a:cubicBezTo>
                    <a:pt x="122" y="368"/>
                    <a:pt x="144" y="403"/>
                    <a:pt x="151" y="445"/>
                  </a:cubicBezTo>
                  <a:cubicBezTo>
                    <a:pt x="152" y="453"/>
                    <a:pt x="158" y="454"/>
                    <a:pt x="164" y="454"/>
                  </a:cubicBezTo>
                  <a:cubicBezTo>
                    <a:pt x="181" y="454"/>
                    <a:pt x="197" y="454"/>
                    <a:pt x="214" y="4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0" name="Freeform 13">
              <a:extLst>
                <a:ext uri="{FF2B5EF4-FFF2-40B4-BE49-F238E27FC236}">
                  <a16:creationId xmlns:a16="http://schemas.microsoft.com/office/drawing/2014/main" id="{CDC5C74F-F6BE-4853-8F7E-2EAC138E6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7188" y="2868613"/>
              <a:ext cx="819150" cy="400050"/>
            </a:xfrm>
            <a:custGeom>
              <a:avLst/>
              <a:gdLst>
                <a:gd name="T0" fmla="*/ 547 w 548"/>
                <a:gd name="T1" fmla="*/ 32 h 267"/>
                <a:gd name="T2" fmla="*/ 525 w 548"/>
                <a:gd name="T3" fmla="*/ 152 h 267"/>
                <a:gd name="T4" fmla="*/ 516 w 548"/>
                <a:gd name="T5" fmla="*/ 197 h 267"/>
                <a:gd name="T6" fmla="*/ 479 w 548"/>
                <a:gd name="T7" fmla="*/ 211 h 267"/>
                <a:gd name="T8" fmla="*/ 420 w 548"/>
                <a:gd name="T9" fmla="*/ 205 h 267"/>
                <a:gd name="T10" fmla="*/ 21 w 548"/>
                <a:gd name="T11" fmla="*/ 182 h 267"/>
                <a:gd name="T12" fmla="*/ 8 w 548"/>
                <a:gd name="T13" fmla="*/ 172 h 267"/>
                <a:gd name="T14" fmla="*/ 4 w 548"/>
                <a:gd name="T15" fmla="*/ 148 h 267"/>
                <a:gd name="T16" fmla="*/ 24 w 548"/>
                <a:gd name="T17" fmla="*/ 136 h 267"/>
                <a:gd name="T18" fmla="*/ 43 w 548"/>
                <a:gd name="T19" fmla="*/ 142 h 267"/>
                <a:gd name="T20" fmla="*/ 345 w 548"/>
                <a:gd name="T21" fmla="*/ 119 h 267"/>
                <a:gd name="T22" fmla="*/ 348 w 548"/>
                <a:gd name="T23" fmla="*/ 101 h 267"/>
                <a:gd name="T24" fmla="*/ 356 w 548"/>
                <a:gd name="T25" fmla="*/ 64 h 267"/>
                <a:gd name="T26" fmla="*/ 517 w 548"/>
                <a:gd name="T27" fmla="*/ 6 h 267"/>
                <a:gd name="T28" fmla="*/ 547 w 548"/>
                <a:gd name="T29" fmla="*/ 32 h 267"/>
                <a:gd name="T30" fmla="*/ 270 w 548"/>
                <a:gd name="T31" fmla="*/ 200 h 267"/>
                <a:gd name="T32" fmla="*/ 433 w 548"/>
                <a:gd name="T33" fmla="*/ 148 h 267"/>
                <a:gd name="T34" fmla="*/ 472 w 548"/>
                <a:gd name="T35" fmla="*/ 149 h 267"/>
                <a:gd name="T36" fmla="*/ 482 w 548"/>
                <a:gd name="T37" fmla="*/ 145 h 267"/>
                <a:gd name="T38" fmla="*/ 495 w 548"/>
                <a:gd name="T39" fmla="*/ 70 h 267"/>
                <a:gd name="T40" fmla="*/ 486 w 548"/>
                <a:gd name="T41" fmla="*/ 63 h 267"/>
                <a:gd name="T42" fmla="*/ 418 w 548"/>
                <a:gd name="T43" fmla="*/ 88 h 267"/>
                <a:gd name="T44" fmla="*/ 411 w 548"/>
                <a:gd name="T45" fmla="*/ 100 h 267"/>
                <a:gd name="T46" fmla="*/ 402 w 548"/>
                <a:gd name="T47" fmla="*/ 131 h 267"/>
                <a:gd name="T48" fmla="*/ 360 w 548"/>
                <a:gd name="T49" fmla="*/ 161 h 267"/>
                <a:gd name="T50" fmla="*/ 270 w 548"/>
                <a:gd name="T5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8" h="267">
                  <a:moveTo>
                    <a:pt x="547" y="32"/>
                  </a:moveTo>
                  <a:cubicBezTo>
                    <a:pt x="540" y="71"/>
                    <a:pt x="532" y="112"/>
                    <a:pt x="525" y="152"/>
                  </a:cubicBezTo>
                  <a:cubicBezTo>
                    <a:pt x="522" y="167"/>
                    <a:pt x="519" y="182"/>
                    <a:pt x="516" y="197"/>
                  </a:cubicBezTo>
                  <a:cubicBezTo>
                    <a:pt x="512" y="219"/>
                    <a:pt x="494" y="227"/>
                    <a:pt x="479" y="211"/>
                  </a:cubicBezTo>
                  <a:cubicBezTo>
                    <a:pt x="459" y="192"/>
                    <a:pt x="444" y="194"/>
                    <a:pt x="420" y="205"/>
                  </a:cubicBezTo>
                  <a:cubicBezTo>
                    <a:pt x="283" y="267"/>
                    <a:pt x="150" y="262"/>
                    <a:pt x="21" y="182"/>
                  </a:cubicBezTo>
                  <a:cubicBezTo>
                    <a:pt x="16" y="179"/>
                    <a:pt x="12" y="176"/>
                    <a:pt x="8" y="172"/>
                  </a:cubicBezTo>
                  <a:cubicBezTo>
                    <a:pt x="1" y="165"/>
                    <a:pt x="0" y="157"/>
                    <a:pt x="4" y="148"/>
                  </a:cubicBezTo>
                  <a:cubicBezTo>
                    <a:pt x="8" y="140"/>
                    <a:pt x="15" y="136"/>
                    <a:pt x="24" y="136"/>
                  </a:cubicBezTo>
                  <a:cubicBezTo>
                    <a:pt x="31" y="137"/>
                    <a:pt x="36" y="139"/>
                    <a:pt x="43" y="142"/>
                  </a:cubicBezTo>
                  <a:cubicBezTo>
                    <a:pt x="147" y="183"/>
                    <a:pt x="248" y="175"/>
                    <a:pt x="345" y="119"/>
                  </a:cubicBezTo>
                  <a:cubicBezTo>
                    <a:pt x="354" y="114"/>
                    <a:pt x="358" y="110"/>
                    <a:pt x="348" y="101"/>
                  </a:cubicBezTo>
                  <a:cubicBezTo>
                    <a:pt x="335" y="88"/>
                    <a:pt x="338" y="70"/>
                    <a:pt x="356" y="64"/>
                  </a:cubicBezTo>
                  <a:cubicBezTo>
                    <a:pt x="409" y="44"/>
                    <a:pt x="463" y="25"/>
                    <a:pt x="517" y="6"/>
                  </a:cubicBezTo>
                  <a:cubicBezTo>
                    <a:pt x="535" y="0"/>
                    <a:pt x="548" y="12"/>
                    <a:pt x="547" y="32"/>
                  </a:cubicBezTo>
                  <a:close/>
                  <a:moveTo>
                    <a:pt x="270" y="200"/>
                  </a:moveTo>
                  <a:cubicBezTo>
                    <a:pt x="329" y="196"/>
                    <a:pt x="383" y="179"/>
                    <a:pt x="433" y="148"/>
                  </a:cubicBezTo>
                  <a:cubicBezTo>
                    <a:pt x="447" y="140"/>
                    <a:pt x="459" y="136"/>
                    <a:pt x="472" y="149"/>
                  </a:cubicBezTo>
                  <a:cubicBezTo>
                    <a:pt x="477" y="154"/>
                    <a:pt x="480" y="152"/>
                    <a:pt x="482" y="145"/>
                  </a:cubicBezTo>
                  <a:cubicBezTo>
                    <a:pt x="486" y="120"/>
                    <a:pt x="490" y="95"/>
                    <a:pt x="495" y="70"/>
                  </a:cubicBezTo>
                  <a:cubicBezTo>
                    <a:pt x="497" y="61"/>
                    <a:pt x="493" y="61"/>
                    <a:pt x="486" y="63"/>
                  </a:cubicBezTo>
                  <a:cubicBezTo>
                    <a:pt x="463" y="72"/>
                    <a:pt x="441" y="80"/>
                    <a:pt x="418" y="88"/>
                  </a:cubicBezTo>
                  <a:cubicBezTo>
                    <a:pt x="412" y="90"/>
                    <a:pt x="407" y="92"/>
                    <a:pt x="411" y="100"/>
                  </a:cubicBezTo>
                  <a:cubicBezTo>
                    <a:pt x="419" y="113"/>
                    <a:pt x="413" y="123"/>
                    <a:pt x="402" y="131"/>
                  </a:cubicBezTo>
                  <a:cubicBezTo>
                    <a:pt x="389" y="142"/>
                    <a:pt x="375" y="152"/>
                    <a:pt x="360" y="161"/>
                  </a:cubicBezTo>
                  <a:cubicBezTo>
                    <a:pt x="331" y="177"/>
                    <a:pt x="301" y="190"/>
                    <a:pt x="27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1" name="Freeform 14">
              <a:extLst>
                <a:ext uri="{FF2B5EF4-FFF2-40B4-BE49-F238E27FC236}">
                  <a16:creationId xmlns:a16="http://schemas.microsoft.com/office/drawing/2014/main" id="{2A8E5DAD-F23A-4683-A8EA-B55CD0E65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1997075"/>
              <a:ext cx="833437" cy="341312"/>
            </a:xfrm>
            <a:custGeom>
              <a:avLst/>
              <a:gdLst>
                <a:gd name="T0" fmla="*/ 259 w 557"/>
                <a:gd name="T1" fmla="*/ 0 h 228"/>
                <a:gd name="T2" fmla="*/ 431 w 557"/>
                <a:gd name="T3" fmla="*/ 37 h 228"/>
                <a:gd name="T4" fmla="*/ 459 w 557"/>
                <a:gd name="T5" fmla="*/ 32 h 228"/>
                <a:gd name="T6" fmla="*/ 515 w 557"/>
                <a:gd name="T7" fmla="*/ 47 h 228"/>
                <a:gd name="T8" fmla="*/ 550 w 557"/>
                <a:gd name="T9" fmla="*/ 188 h 228"/>
                <a:gd name="T10" fmla="*/ 518 w 557"/>
                <a:gd name="T11" fmla="*/ 220 h 228"/>
                <a:gd name="T12" fmla="*/ 367 w 557"/>
                <a:gd name="T13" fmla="*/ 178 h 228"/>
                <a:gd name="T14" fmla="*/ 351 w 557"/>
                <a:gd name="T15" fmla="*/ 136 h 228"/>
                <a:gd name="T16" fmla="*/ 346 w 557"/>
                <a:gd name="T17" fmla="*/ 121 h 228"/>
                <a:gd name="T18" fmla="*/ 238 w 557"/>
                <a:gd name="T19" fmla="*/ 87 h 228"/>
                <a:gd name="T20" fmla="*/ 39 w 557"/>
                <a:gd name="T21" fmla="*/ 120 h 228"/>
                <a:gd name="T22" fmla="*/ 9 w 557"/>
                <a:gd name="T23" fmla="*/ 121 h 228"/>
                <a:gd name="T24" fmla="*/ 1 w 557"/>
                <a:gd name="T25" fmla="*/ 100 h 228"/>
                <a:gd name="T26" fmla="*/ 13 w 557"/>
                <a:gd name="T27" fmla="*/ 83 h 228"/>
                <a:gd name="T28" fmla="*/ 259 w 557"/>
                <a:gd name="T29" fmla="*/ 0 h 228"/>
                <a:gd name="T30" fmla="*/ 259 w 557"/>
                <a:gd name="T31" fmla="*/ 44 h 228"/>
                <a:gd name="T32" fmla="*/ 263 w 557"/>
                <a:gd name="T33" fmla="*/ 46 h 228"/>
                <a:gd name="T34" fmla="*/ 275 w 557"/>
                <a:gd name="T35" fmla="*/ 49 h 228"/>
                <a:gd name="T36" fmla="*/ 401 w 557"/>
                <a:gd name="T37" fmla="*/ 104 h 228"/>
                <a:gd name="T38" fmla="*/ 412 w 557"/>
                <a:gd name="T39" fmla="*/ 136 h 228"/>
                <a:gd name="T40" fmla="*/ 416 w 557"/>
                <a:gd name="T41" fmla="*/ 146 h 228"/>
                <a:gd name="T42" fmla="*/ 491 w 557"/>
                <a:gd name="T43" fmla="*/ 167 h 228"/>
                <a:gd name="T44" fmla="*/ 498 w 557"/>
                <a:gd name="T45" fmla="*/ 161 h 228"/>
                <a:gd name="T46" fmla="*/ 479 w 557"/>
                <a:gd name="T47" fmla="*/ 85 h 228"/>
                <a:gd name="T48" fmla="*/ 470 w 557"/>
                <a:gd name="T49" fmla="*/ 82 h 228"/>
                <a:gd name="T50" fmla="*/ 429 w 557"/>
                <a:gd name="T51" fmla="*/ 84 h 228"/>
                <a:gd name="T52" fmla="*/ 259 w 557"/>
                <a:gd name="T53" fmla="*/ 4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7" h="228">
                  <a:moveTo>
                    <a:pt x="259" y="0"/>
                  </a:moveTo>
                  <a:cubicBezTo>
                    <a:pt x="319" y="1"/>
                    <a:pt x="376" y="12"/>
                    <a:pt x="431" y="37"/>
                  </a:cubicBezTo>
                  <a:cubicBezTo>
                    <a:pt x="442" y="42"/>
                    <a:pt x="451" y="42"/>
                    <a:pt x="459" y="32"/>
                  </a:cubicBezTo>
                  <a:cubicBezTo>
                    <a:pt x="480" y="4"/>
                    <a:pt x="505" y="1"/>
                    <a:pt x="515" y="47"/>
                  </a:cubicBezTo>
                  <a:cubicBezTo>
                    <a:pt x="525" y="94"/>
                    <a:pt x="539" y="141"/>
                    <a:pt x="550" y="188"/>
                  </a:cubicBezTo>
                  <a:cubicBezTo>
                    <a:pt x="557" y="215"/>
                    <a:pt x="544" y="228"/>
                    <a:pt x="518" y="220"/>
                  </a:cubicBezTo>
                  <a:cubicBezTo>
                    <a:pt x="468" y="206"/>
                    <a:pt x="418" y="192"/>
                    <a:pt x="367" y="178"/>
                  </a:cubicBezTo>
                  <a:cubicBezTo>
                    <a:pt x="341" y="170"/>
                    <a:pt x="336" y="158"/>
                    <a:pt x="351" y="136"/>
                  </a:cubicBezTo>
                  <a:cubicBezTo>
                    <a:pt x="358" y="127"/>
                    <a:pt x="351" y="124"/>
                    <a:pt x="346" y="121"/>
                  </a:cubicBezTo>
                  <a:cubicBezTo>
                    <a:pt x="312" y="103"/>
                    <a:pt x="276" y="92"/>
                    <a:pt x="238" y="87"/>
                  </a:cubicBezTo>
                  <a:cubicBezTo>
                    <a:pt x="168" y="77"/>
                    <a:pt x="102" y="87"/>
                    <a:pt x="39" y="120"/>
                  </a:cubicBezTo>
                  <a:cubicBezTo>
                    <a:pt x="29" y="125"/>
                    <a:pt x="19" y="129"/>
                    <a:pt x="9" y="121"/>
                  </a:cubicBezTo>
                  <a:cubicBezTo>
                    <a:pt x="2" y="116"/>
                    <a:pt x="0" y="108"/>
                    <a:pt x="1" y="100"/>
                  </a:cubicBezTo>
                  <a:cubicBezTo>
                    <a:pt x="2" y="92"/>
                    <a:pt x="7" y="88"/>
                    <a:pt x="13" y="83"/>
                  </a:cubicBezTo>
                  <a:cubicBezTo>
                    <a:pt x="83" y="29"/>
                    <a:pt x="169" y="0"/>
                    <a:pt x="259" y="0"/>
                  </a:cubicBezTo>
                  <a:close/>
                  <a:moveTo>
                    <a:pt x="259" y="44"/>
                  </a:moveTo>
                  <a:cubicBezTo>
                    <a:pt x="261" y="45"/>
                    <a:pt x="262" y="46"/>
                    <a:pt x="263" y="46"/>
                  </a:cubicBezTo>
                  <a:cubicBezTo>
                    <a:pt x="267" y="47"/>
                    <a:pt x="271" y="48"/>
                    <a:pt x="275" y="49"/>
                  </a:cubicBezTo>
                  <a:cubicBezTo>
                    <a:pt x="320" y="59"/>
                    <a:pt x="362" y="77"/>
                    <a:pt x="401" y="104"/>
                  </a:cubicBezTo>
                  <a:cubicBezTo>
                    <a:pt x="412" y="112"/>
                    <a:pt x="419" y="122"/>
                    <a:pt x="412" y="136"/>
                  </a:cubicBezTo>
                  <a:cubicBezTo>
                    <a:pt x="409" y="142"/>
                    <a:pt x="411" y="144"/>
                    <a:pt x="416" y="146"/>
                  </a:cubicBezTo>
                  <a:cubicBezTo>
                    <a:pt x="441" y="153"/>
                    <a:pt x="466" y="160"/>
                    <a:pt x="491" y="167"/>
                  </a:cubicBezTo>
                  <a:cubicBezTo>
                    <a:pt x="496" y="168"/>
                    <a:pt x="500" y="168"/>
                    <a:pt x="498" y="161"/>
                  </a:cubicBezTo>
                  <a:cubicBezTo>
                    <a:pt x="492" y="136"/>
                    <a:pt x="485" y="111"/>
                    <a:pt x="479" y="85"/>
                  </a:cubicBezTo>
                  <a:cubicBezTo>
                    <a:pt x="478" y="80"/>
                    <a:pt x="475" y="77"/>
                    <a:pt x="470" y="82"/>
                  </a:cubicBezTo>
                  <a:cubicBezTo>
                    <a:pt x="457" y="97"/>
                    <a:pt x="444" y="92"/>
                    <a:pt x="429" y="84"/>
                  </a:cubicBezTo>
                  <a:cubicBezTo>
                    <a:pt x="376" y="57"/>
                    <a:pt x="320" y="45"/>
                    <a:pt x="25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2" name="Freeform 15">
              <a:extLst>
                <a:ext uri="{FF2B5EF4-FFF2-40B4-BE49-F238E27FC236}">
                  <a16:creationId xmlns:a16="http://schemas.microsoft.com/office/drawing/2014/main" id="{91B961E0-A83E-4603-9E8E-398DC787B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0063" y="2382839"/>
              <a:ext cx="554038" cy="523875"/>
            </a:xfrm>
            <a:custGeom>
              <a:avLst/>
              <a:gdLst>
                <a:gd name="T0" fmla="*/ 308 w 370"/>
                <a:gd name="T1" fmla="*/ 73 h 350"/>
                <a:gd name="T2" fmla="*/ 304 w 370"/>
                <a:gd name="T3" fmla="*/ 91 h 350"/>
                <a:gd name="T4" fmla="*/ 320 w 370"/>
                <a:gd name="T5" fmla="*/ 124 h 350"/>
                <a:gd name="T6" fmla="*/ 348 w 370"/>
                <a:gd name="T7" fmla="*/ 223 h 350"/>
                <a:gd name="T8" fmla="*/ 317 w 370"/>
                <a:gd name="T9" fmla="*/ 242 h 350"/>
                <a:gd name="T10" fmla="*/ 293 w 370"/>
                <a:gd name="T11" fmla="*/ 277 h 350"/>
                <a:gd name="T12" fmla="*/ 265 w 370"/>
                <a:gd name="T13" fmla="*/ 331 h 350"/>
                <a:gd name="T14" fmla="*/ 243 w 370"/>
                <a:gd name="T15" fmla="*/ 341 h 350"/>
                <a:gd name="T16" fmla="*/ 193 w 370"/>
                <a:gd name="T17" fmla="*/ 331 h 350"/>
                <a:gd name="T18" fmla="*/ 144 w 370"/>
                <a:gd name="T19" fmla="*/ 328 h 350"/>
                <a:gd name="T20" fmla="*/ 94 w 370"/>
                <a:gd name="T21" fmla="*/ 332 h 350"/>
                <a:gd name="T22" fmla="*/ 65 w 370"/>
                <a:gd name="T23" fmla="*/ 313 h 350"/>
                <a:gd name="T24" fmla="*/ 50 w 370"/>
                <a:gd name="T25" fmla="*/ 265 h 350"/>
                <a:gd name="T26" fmla="*/ 29 w 370"/>
                <a:gd name="T27" fmla="*/ 223 h 350"/>
                <a:gd name="T28" fmla="*/ 0 w 370"/>
                <a:gd name="T29" fmla="*/ 180 h 350"/>
                <a:gd name="T30" fmla="*/ 3 w 370"/>
                <a:gd name="T31" fmla="*/ 142 h 350"/>
                <a:gd name="T32" fmla="*/ 37 w 370"/>
                <a:gd name="T33" fmla="*/ 109 h 350"/>
                <a:gd name="T34" fmla="*/ 63 w 370"/>
                <a:gd name="T35" fmla="*/ 70 h 350"/>
                <a:gd name="T36" fmla="*/ 84 w 370"/>
                <a:gd name="T37" fmla="*/ 25 h 350"/>
                <a:gd name="T38" fmla="*/ 112 w 370"/>
                <a:gd name="T39" fmla="*/ 10 h 350"/>
                <a:gd name="T40" fmla="*/ 164 w 370"/>
                <a:gd name="T41" fmla="*/ 20 h 350"/>
                <a:gd name="T42" fmla="*/ 212 w 370"/>
                <a:gd name="T43" fmla="*/ 23 h 350"/>
                <a:gd name="T44" fmla="*/ 262 w 370"/>
                <a:gd name="T45" fmla="*/ 18 h 350"/>
                <a:gd name="T46" fmla="*/ 294 w 370"/>
                <a:gd name="T47" fmla="*/ 39 h 350"/>
                <a:gd name="T48" fmla="*/ 308 w 370"/>
                <a:gd name="T49" fmla="*/ 73 h 350"/>
                <a:gd name="T50" fmla="*/ 262 w 370"/>
                <a:gd name="T51" fmla="*/ 80 h 350"/>
                <a:gd name="T52" fmla="*/ 251 w 370"/>
                <a:gd name="T53" fmla="*/ 62 h 350"/>
                <a:gd name="T54" fmla="*/ 232 w 370"/>
                <a:gd name="T55" fmla="*/ 63 h 350"/>
                <a:gd name="T56" fmla="*/ 140 w 370"/>
                <a:gd name="T57" fmla="*/ 58 h 350"/>
                <a:gd name="T58" fmla="*/ 118 w 370"/>
                <a:gd name="T59" fmla="*/ 56 h 350"/>
                <a:gd name="T60" fmla="*/ 108 w 370"/>
                <a:gd name="T61" fmla="*/ 75 h 350"/>
                <a:gd name="T62" fmla="*/ 59 w 370"/>
                <a:gd name="T63" fmla="*/ 149 h 350"/>
                <a:gd name="T64" fmla="*/ 44 w 370"/>
                <a:gd name="T65" fmla="*/ 169 h 350"/>
                <a:gd name="T66" fmla="*/ 56 w 370"/>
                <a:gd name="T67" fmla="*/ 186 h 350"/>
                <a:gd name="T68" fmla="*/ 96 w 370"/>
                <a:gd name="T69" fmla="*/ 267 h 350"/>
                <a:gd name="T70" fmla="*/ 104 w 370"/>
                <a:gd name="T71" fmla="*/ 287 h 350"/>
                <a:gd name="T72" fmla="*/ 126 w 370"/>
                <a:gd name="T73" fmla="*/ 287 h 350"/>
                <a:gd name="T74" fmla="*/ 217 w 370"/>
                <a:gd name="T75" fmla="*/ 293 h 350"/>
                <a:gd name="T76" fmla="*/ 237 w 370"/>
                <a:gd name="T77" fmla="*/ 297 h 350"/>
                <a:gd name="T78" fmla="*/ 249 w 370"/>
                <a:gd name="T79" fmla="*/ 278 h 350"/>
                <a:gd name="T80" fmla="*/ 300 w 370"/>
                <a:gd name="T81" fmla="*/ 201 h 350"/>
                <a:gd name="T82" fmla="*/ 313 w 370"/>
                <a:gd name="T83" fmla="*/ 183 h 350"/>
                <a:gd name="T84" fmla="*/ 301 w 370"/>
                <a:gd name="T85" fmla="*/ 165 h 350"/>
                <a:gd name="T86" fmla="*/ 268 w 370"/>
                <a:gd name="T87" fmla="*/ 136 h 350"/>
                <a:gd name="T88" fmla="*/ 262 w 370"/>
                <a:gd name="T89" fmla="*/ 8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0" h="350">
                  <a:moveTo>
                    <a:pt x="308" y="73"/>
                  </a:moveTo>
                  <a:cubicBezTo>
                    <a:pt x="309" y="77"/>
                    <a:pt x="306" y="84"/>
                    <a:pt x="304" y="91"/>
                  </a:cubicBezTo>
                  <a:cubicBezTo>
                    <a:pt x="300" y="106"/>
                    <a:pt x="306" y="118"/>
                    <a:pt x="320" y="124"/>
                  </a:cubicBezTo>
                  <a:cubicBezTo>
                    <a:pt x="357" y="141"/>
                    <a:pt x="370" y="188"/>
                    <a:pt x="348" y="223"/>
                  </a:cubicBezTo>
                  <a:cubicBezTo>
                    <a:pt x="340" y="234"/>
                    <a:pt x="329" y="239"/>
                    <a:pt x="317" y="242"/>
                  </a:cubicBezTo>
                  <a:cubicBezTo>
                    <a:pt x="299" y="246"/>
                    <a:pt x="291" y="258"/>
                    <a:pt x="293" y="277"/>
                  </a:cubicBezTo>
                  <a:cubicBezTo>
                    <a:pt x="297" y="306"/>
                    <a:pt x="291" y="318"/>
                    <a:pt x="265" y="331"/>
                  </a:cubicBezTo>
                  <a:cubicBezTo>
                    <a:pt x="258" y="335"/>
                    <a:pt x="250" y="338"/>
                    <a:pt x="243" y="341"/>
                  </a:cubicBezTo>
                  <a:cubicBezTo>
                    <a:pt x="224" y="350"/>
                    <a:pt x="208" y="346"/>
                    <a:pt x="193" y="331"/>
                  </a:cubicBezTo>
                  <a:cubicBezTo>
                    <a:pt x="176" y="314"/>
                    <a:pt x="163" y="314"/>
                    <a:pt x="144" y="328"/>
                  </a:cubicBezTo>
                  <a:cubicBezTo>
                    <a:pt x="127" y="342"/>
                    <a:pt x="113" y="343"/>
                    <a:pt x="94" y="332"/>
                  </a:cubicBezTo>
                  <a:cubicBezTo>
                    <a:pt x="84" y="327"/>
                    <a:pt x="74" y="320"/>
                    <a:pt x="65" y="313"/>
                  </a:cubicBezTo>
                  <a:cubicBezTo>
                    <a:pt x="50" y="300"/>
                    <a:pt x="45" y="284"/>
                    <a:pt x="50" y="265"/>
                  </a:cubicBezTo>
                  <a:cubicBezTo>
                    <a:pt x="57" y="241"/>
                    <a:pt x="53" y="233"/>
                    <a:pt x="29" y="223"/>
                  </a:cubicBezTo>
                  <a:cubicBezTo>
                    <a:pt x="10" y="215"/>
                    <a:pt x="0" y="201"/>
                    <a:pt x="0" y="180"/>
                  </a:cubicBezTo>
                  <a:cubicBezTo>
                    <a:pt x="0" y="167"/>
                    <a:pt x="1" y="154"/>
                    <a:pt x="3" y="142"/>
                  </a:cubicBezTo>
                  <a:cubicBezTo>
                    <a:pt x="6" y="123"/>
                    <a:pt x="19" y="114"/>
                    <a:pt x="37" y="109"/>
                  </a:cubicBezTo>
                  <a:cubicBezTo>
                    <a:pt x="63" y="102"/>
                    <a:pt x="67" y="97"/>
                    <a:pt x="63" y="70"/>
                  </a:cubicBezTo>
                  <a:cubicBezTo>
                    <a:pt x="60" y="50"/>
                    <a:pt x="67" y="35"/>
                    <a:pt x="84" y="25"/>
                  </a:cubicBezTo>
                  <a:cubicBezTo>
                    <a:pt x="93" y="19"/>
                    <a:pt x="102" y="14"/>
                    <a:pt x="112" y="10"/>
                  </a:cubicBezTo>
                  <a:cubicBezTo>
                    <a:pt x="134" y="0"/>
                    <a:pt x="147" y="3"/>
                    <a:pt x="164" y="20"/>
                  </a:cubicBezTo>
                  <a:cubicBezTo>
                    <a:pt x="183" y="40"/>
                    <a:pt x="190" y="40"/>
                    <a:pt x="212" y="23"/>
                  </a:cubicBezTo>
                  <a:cubicBezTo>
                    <a:pt x="228" y="10"/>
                    <a:pt x="244" y="8"/>
                    <a:pt x="262" y="18"/>
                  </a:cubicBezTo>
                  <a:cubicBezTo>
                    <a:pt x="273" y="25"/>
                    <a:pt x="284" y="31"/>
                    <a:pt x="294" y="39"/>
                  </a:cubicBezTo>
                  <a:cubicBezTo>
                    <a:pt x="303" y="47"/>
                    <a:pt x="308" y="58"/>
                    <a:pt x="308" y="73"/>
                  </a:cubicBezTo>
                  <a:close/>
                  <a:moveTo>
                    <a:pt x="262" y="80"/>
                  </a:moveTo>
                  <a:cubicBezTo>
                    <a:pt x="264" y="69"/>
                    <a:pt x="256" y="66"/>
                    <a:pt x="251" y="62"/>
                  </a:cubicBezTo>
                  <a:cubicBezTo>
                    <a:pt x="244" y="57"/>
                    <a:pt x="238" y="59"/>
                    <a:pt x="232" y="63"/>
                  </a:cubicBezTo>
                  <a:cubicBezTo>
                    <a:pt x="201" y="86"/>
                    <a:pt x="168" y="85"/>
                    <a:pt x="140" y="58"/>
                  </a:cubicBezTo>
                  <a:cubicBezTo>
                    <a:pt x="133" y="51"/>
                    <a:pt x="126" y="52"/>
                    <a:pt x="118" y="56"/>
                  </a:cubicBezTo>
                  <a:cubicBezTo>
                    <a:pt x="110" y="60"/>
                    <a:pt x="107" y="65"/>
                    <a:pt x="108" y="75"/>
                  </a:cubicBezTo>
                  <a:cubicBezTo>
                    <a:pt x="113" y="110"/>
                    <a:pt x="94" y="140"/>
                    <a:pt x="59" y="149"/>
                  </a:cubicBezTo>
                  <a:cubicBezTo>
                    <a:pt x="48" y="152"/>
                    <a:pt x="46" y="160"/>
                    <a:pt x="44" y="169"/>
                  </a:cubicBezTo>
                  <a:cubicBezTo>
                    <a:pt x="43" y="179"/>
                    <a:pt x="48" y="182"/>
                    <a:pt x="56" y="186"/>
                  </a:cubicBezTo>
                  <a:cubicBezTo>
                    <a:pt x="89" y="200"/>
                    <a:pt x="105" y="232"/>
                    <a:pt x="96" y="267"/>
                  </a:cubicBezTo>
                  <a:cubicBezTo>
                    <a:pt x="93" y="277"/>
                    <a:pt x="97" y="282"/>
                    <a:pt x="104" y="287"/>
                  </a:cubicBezTo>
                  <a:cubicBezTo>
                    <a:pt x="112" y="293"/>
                    <a:pt x="118" y="293"/>
                    <a:pt x="126" y="287"/>
                  </a:cubicBezTo>
                  <a:cubicBezTo>
                    <a:pt x="156" y="266"/>
                    <a:pt x="190" y="268"/>
                    <a:pt x="217" y="293"/>
                  </a:cubicBezTo>
                  <a:cubicBezTo>
                    <a:pt x="223" y="299"/>
                    <a:pt x="229" y="301"/>
                    <a:pt x="237" y="297"/>
                  </a:cubicBezTo>
                  <a:cubicBezTo>
                    <a:pt x="245" y="292"/>
                    <a:pt x="250" y="288"/>
                    <a:pt x="249" y="278"/>
                  </a:cubicBezTo>
                  <a:cubicBezTo>
                    <a:pt x="245" y="241"/>
                    <a:pt x="264" y="211"/>
                    <a:pt x="300" y="201"/>
                  </a:cubicBezTo>
                  <a:cubicBezTo>
                    <a:pt x="309" y="198"/>
                    <a:pt x="312" y="192"/>
                    <a:pt x="313" y="183"/>
                  </a:cubicBezTo>
                  <a:cubicBezTo>
                    <a:pt x="313" y="174"/>
                    <a:pt x="311" y="168"/>
                    <a:pt x="301" y="165"/>
                  </a:cubicBezTo>
                  <a:cubicBezTo>
                    <a:pt x="285" y="161"/>
                    <a:pt x="276" y="150"/>
                    <a:pt x="268" y="136"/>
                  </a:cubicBezTo>
                  <a:cubicBezTo>
                    <a:pt x="257" y="117"/>
                    <a:pt x="254" y="98"/>
                    <a:pt x="262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3" name="Freeform 16">
              <a:extLst>
                <a:ext uri="{FF2B5EF4-FFF2-40B4-BE49-F238E27FC236}">
                  <a16:creationId xmlns:a16="http://schemas.microsoft.com/office/drawing/2014/main" id="{4E1DB371-7EF5-4980-A417-B27942F8C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27375"/>
              <a:ext cx="309562" cy="69850"/>
            </a:xfrm>
            <a:custGeom>
              <a:avLst/>
              <a:gdLst>
                <a:gd name="T0" fmla="*/ 104 w 207"/>
                <a:gd name="T1" fmla="*/ 47 h 47"/>
                <a:gd name="T2" fmla="*/ 32 w 207"/>
                <a:gd name="T3" fmla="*/ 47 h 47"/>
                <a:gd name="T4" fmla="*/ 14 w 207"/>
                <a:gd name="T5" fmla="*/ 44 h 47"/>
                <a:gd name="T6" fmla="*/ 2 w 207"/>
                <a:gd name="T7" fmla="*/ 20 h 47"/>
                <a:gd name="T8" fmla="*/ 20 w 207"/>
                <a:gd name="T9" fmla="*/ 3 h 47"/>
                <a:gd name="T10" fmla="*/ 184 w 207"/>
                <a:gd name="T11" fmla="*/ 1 h 47"/>
                <a:gd name="T12" fmla="*/ 207 w 207"/>
                <a:gd name="T13" fmla="*/ 23 h 47"/>
                <a:gd name="T14" fmla="*/ 183 w 207"/>
                <a:gd name="T15" fmla="*/ 46 h 47"/>
                <a:gd name="T16" fmla="*/ 104 w 207"/>
                <a:gd name="T17" fmla="*/ 46 h 47"/>
                <a:gd name="T18" fmla="*/ 104 w 207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7">
                  <a:moveTo>
                    <a:pt x="104" y="47"/>
                  </a:moveTo>
                  <a:cubicBezTo>
                    <a:pt x="80" y="47"/>
                    <a:pt x="56" y="47"/>
                    <a:pt x="32" y="47"/>
                  </a:cubicBezTo>
                  <a:cubicBezTo>
                    <a:pt x="26" y="47"/>
                    <a:pt x="20" y="47"/>
                    <a:pt x="14" y="44"/>
                  </a:cubicBezTo>
                  <a:cubicBezTo>
                    <a:pt x="5" y="39"/>
                    <a:pt x="0" y="31"/>
                    <a:pt x="2" y="20"/>
                  </a:cubicBezTo>
                  <a:cubicBezTo>
                    <a:pt x="3" y="10"/>
                    <a:pt x="10" y="4"/>
                    <a:pt x="20" y="3"/>
                  </a:cubicBezTo>
                  <a:cubicBezTo>
                    <a:pt x="75" y="2"/>
                    <a:pt x="129" y="0"/>
                    <a:pt x="184" y="1"/>
                  </a:cubicBezTo>
                  <a:cubicBezTo>
                    <a:pt x="198" y="2"/>
                    <a:pt x="207" y="12"/>
                    <a:pt x="207" y="23"/>
                  </a:cubicBezTo>
                  <a:cubicBezTo>
                    <a:pt x="207" y="36"/>
                    <a:pt x="198" y="45"/>
                    <a:pt x="183" y="46"/>
                  </a:cubicBezTo>
                  <a:cubicBezTo>
                    <a:pt x="156" y="47"/>
                    <a:pt x="130" y="46"/>
                    <a:pt x="104" y="46"/>
                  </a:cubicBezTo>
                  <a:cubicBezTo>
                    <a:pt x="104" y="46"/>
                    <a:pt x="104" y="46"/>
                    <a:pt x="104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4" name="Freeform 17">
              <a:extLst>
                <a:ext uri="{FF2B5EF4-FFF2-40B4-BE49-F238E27FC236}">
                  <a16:creationId xmlns:a16="http://schemas.microsoft.com/office/drawing/2014/main" id="{1419F436-567C-452D-B217-78C4FEB4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450" y="3022600"/>
              <a:ext cx="307975" cy="65087"/>
            </a:xfrm>
            <a:custGeom>
              <a:avLst/>
              <a:gdLst>
                <a:gd name="T0" fmla="*/ 103 w 206"/>
                <a:gd name="T1" fmla="*/ 44 h 44"/>
                <a:gd name="T2" fmla="*/ 27 w 206"/>
                <a:gd name="T3" fmla="*/ 44 h 44"/>
                <a:gd name="T4" fmla="*/ 0 w 206"/>
                <a:gd name="T5" fmla="*/ 22 h 44"/>
                <a:gd name="T6" fmla="*/ 27 w 206"/>
                <a:gd name="T7" fmla="*/ 0 h 44"/>
                <a:gd name="T8" fmla="*/ 179 w 206"/>
                <a:gd name="T9" fmla="*/ 0 h 44"/>
                <a:gd name="T10" fmla="*/ 205 w 206"/>
                <a:gd name="T11" fmla="*/ 21 h 44"/>
                <a:gd name="T12" fmla="*/ 179 w 206"/>
                <a:gd name="T13" fmla="*/ 44 h 44"/>
                <a:gd name="T14" fmla="*/ 103 w 206"/>
                <a:gd name="T15" fmla="*/ 44 h 44"/>
                <a:gd name="T16" fmla="*/ 103 w 20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4">
                  <a:moveTo>
                    <a:pt x="103" y="44"/>
                  </a:moveTo>
                  <a:cubicBezTo>
                    <a:pt x="78" y="44"/>
                    <a:pt x="52" y="44"/>
                    <a:pt x="27" y="44"/>
                  </a:cubicBezTo>
                  <a:cubicBezTo>
                    <a:pt x="9" y="44"/>
                    <a:pt x="0" y="36"/>
                    <a:pt x="0" y="22"/>
                  </a:cubicBezTo>
                  <a:cubicBezTo>
                    <a:pt x="1" y="8"/>
                    <a:pt x="10" y="1"/>
                    <a:pt x="27" y="0"/>
                  </a:cubicBezTo>
                  <a:cubicBezTo>
                    <a:pt x="78" y="0"/>
                    <a:pt x="129" y="0"/>
                    <a:pt x="179" y="0"/>
                  </a:cubicBezTo>
                  <a:cubicBezTo>
                    <a:pt x="196" y="0"/>
                    <a:pt x="205" y="8"/>
                    <a:pt x="205" y="21"/>
                  </a:cubicBezTo>
                  <a:cubicBezTo>
                    <a:pt x="206" y="35"/>
                    <a:pt x="196" y="44"/>
                    <a:pt x="179" y="44"/>
                  </a:cubicBezTo>
                  <a:cubicBezTo>
                    <a:pt x="154" y="44"/>
                    <a:pt x="128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5" name="Freeform 18">
              <a:extLst>
                <a:ext uri="{FF2B5EF4-FFF2-40B4-BE49-F238E27FC236}">
                  <a16:creationId xmlns:a16="http://schemas.microsoft.com/office/drawing/2014/main" id="{76F8AEA5-2484-4D9C-A417-55CEC754F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3241675"/>
              <a:ext cx="207962" cy="65087"/>
            </a:xfrm>
            <a:custGeom>
              <a:avLst/>
              <a:gdLst>
                <a:gd name="T0" fmla="*/ 70 w 139"/>
                <a:gd name="T1" fmla="*/ 0 h 44"/>
                <a:gd name="T2" fmla="*/ 114 w 139"/>
                <a:gd name="T3" fmla="*/ 0 h 44"/>
                <a:gd name="T4" fmla="*/ 139 w 139"/>
                <a:gd name="T5" fmla="*/ 21 h 44"/>
                <a:gd name="T6" fmla="*/ 116 w 139"/>
                <a:gd name="T7" fmla="*/ 43 h 44"/>
                <a:gd name="T8" fmla="*/ 22 w 139"/>
                <a:gd name="T9" fmla="*/ 43 h 44"/>
                <a:gd name="T10" fmla="*/ 1 w 139"/>
                <a:gd name="T11" fmla="*/ 20 h 44"/>
                <a:gd name="T12" fmla="*/ 23 w 139"/>
                <a:gd name="T13" fmla="*/ 0 h 44"/>
                <a:gd name="T14" fmla="*/ 70 w 139"/>
                <a:gd name="T15" fmla="*/ 0 h 44"/>
                <a:gd name="T16" fmla="*/ 70 w 139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4">
                  <a:moveTo>
                    <a:pt x="70" y="0"/>
                  </a:moveTo>
                  <a:cubicBezTo>
                    <a:pt x="85" y="0"/>
                    <a:pt x="100" y="0"/>
                    <a:pt x="114" y="0"/>
                  </a:cubicBezTo>
                  <a:cubicBezTo>
                    <a:pt x="130" y="0"/>
                    <a:pt x="139" y="8"/>
                    <a:pt x="139" y="21"/>
                  </a:cubicBezTo>
                  <a:cubicBezTo>
                    <a:pt x="139" y="33"/>
                    <a:pt x="130" y="43"/>
                    <a:pt x="116" y="43"/>
                  </a:cubicBezTo>
                  <a:cubicBezTo>
                    <a:pt x="85" y="44"/>
                    <a:pt x="54" y="44"/>
                    <a:pt x="22" y="43"/>
                  </a:cubicBezTo>
                  <a:cubicBezTo>
                    <a:pt x="9" y="43"/>
                    <a:pt x="0" y="32"/>
                    <a:pt x="1" y="20"/>
                  </a:cubicBezTo>
                  <a:cubicBezTo>
                    <a:pt x="2" y="7"/>
                    <a:pt x="10" y="0"/>
                    <a:pt x="23" y="0"/>
                  </a:cubicBezTo>
                  <a:cubicBezTo>
                    <a:pt x="39" y="0"/>
                    <a:pt x="5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6" name="Freeform 19">
              <a:extLst>
                <a:ext uri="{FF2B5EF4-FFF2-40B4-BE49-F238E27FC236}">
                  <a16:creationId xmlns:a16="http://schemas.microsoft.com/office/drawing/2014/main" id="{376162B9-247B-4966-947C-EA9BA9DB5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1900" y="2459038"/>
              <a:ext cx="325437" cy="330200"/>
            </a:xfrm>
            <a:custGeom>
              <a:avLst/>
              <a:gdLst>
                <a:gd name="T0" fmla="*/ 218 w 218"/>
                <a:gd name="T1" fmla="*/ 108 h 220"/>
                <a:gd name="T2" fmla="*/ 109 w 218"/>
                <a:gd name="T3" fmla="*/ 219 h 220"/>
                <a:gd name="T4" fmla="*/ 0 w 218"/>
                <a:gd name="T5" fmla="*/ 111 h 220"/>
                <a:gd name="T6" fmla="*/ 108 w 218"/>
                <a:gd name="T7" fmla="*/ 0 h 220"/>
                <a:gd name="T8" fmla="*/ 218 w 218"/>
                <a:gd name="T9" fmla="*/ 108 h 220"/>
                <a:gd name="T10" fmla="*/ 110 w 218"/>
                <a:gd name="T11" fmla="*/ 45 h 220"/>
                <a:gd name="T12" fmla="*/ 44 w 218"/>
                <a:gd name="T13" fmla="*/ 109 h 220"/>
                <a:gd name="T14" fmla="*/ 108 w 218"/>
                <a:gd name="T15" fmla="*/ 175 h 220"/>
                <a:gd name="T16" fmla="*/ 174 w 218"/>
                <a:gd name="T17" fmla="*/ 111 h 220"/>
                <a:gd name="T18" fmla="*/ 110 w 218"/>
                <a:gd name="T19" fmla="*/ 4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20">
                  <a:moveTo>
                    <a:pt x="218" y="108"/>
                  </a:moveTo>
                  <a:cubicBezTo>
                    <a:pt x="218" y="170"/>
                    <a:pt x="171" y="218"/>
                    <a:pt x="109" y="219"/>
                  </a:cubicBezTo>
                  <a:cubicBezTo>
                    <a:pt x="50" y="220"/>
                    <a:pt x="1" y="171"/>
                    <a:pt x="0" y="111"/>
                  </a:cubicBezTo>
                  <a:cubicBezTo>
                    <a:pt x="0" y="51"/>
                    <a:pt x="49" y="0"/>
                    <a:pt x="108" y="0"/>
                  </a:cubicBezTo>
                  <a:cubicBezTo>
                    <a:pt x="169" y="0"/>
                    <a:pt x="217" y="47"/>
                    <a:pt x="218" y="108"/>
                  </a:cubicBezTo>
                  <a:close/>
                  <a:moveTo>
                    <a:pt x="110" y="45"/>
                  </a:moveTo>
                  <a:cubicBezTo>
                    <a:pt x="74" y="45"/>
                    <a:pt x="44" y="73"/>
                    <a:pt x="44" y="109"/>
                  </a:cubicBezTo>
                  <a:cubicBezTo>
                    <a:pt x="44" y="145"/>
                    <a:pt x="71" y="174"/>
                    <a:pt x="108" y="175"/>
                  </a:cubicBezTo>
                  <a:cubicBezTo>
                    <a:pt x="143" y="176"/>
                    <a:pt x="173" y="147"/>
                    <a:pt x="174" y="111"/>
                  </a:cubicBezTo>
                  <a:cubicBezTo>
                    <a:pt x="174" y="73"/>
                    <a:pt x="147" y="46"/>
                    <a:pt x="110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7" name="Freeform 20">
              <a:extLst>
                <a:ext uri="{FF2B5EF4-FFF2-40B4-BE49-F238E27FC236}">
                  <a16:creationId xmlns:a16="http://schemas.microsoft.com/office/drawing/2014/main" id="{F10802F6-2CDA-4F9D-A454-FC81371AE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2359025"/>
              <a:ext cx="165100" cy="350837"/>
            </a:xfrm>
            <a:custGeom>
              <a:avLst/>
              <a:gdLst>
                <a:gd name="T0" fmla="*/ 0 w 110"/>
                <a:gd name="T1" fmla="*/ 121 h 235"/>
                <a:gd name="T2" fmla="*/ 69 w 110"/>
                <a:gd name="T3" fmla="*/ 9 h 235"/>
                <a:gd name="T4" fmla="*/ 104 w 110"/>
                <a:gd name="T5" fmla="*/ 16 h 235"/>
                <a:gd name="T6" fmla="*/ 90 w 110"/>
                <a:gd name="T7" fmla="*/ 48 h 235"/>
                <a:gd name="T8" fmla="*/ 67 w 110"/>
                <a:gd name="T9" fmla="*/ 191 h 235"/>
                <a:gd name="T10" fmla="*/ 71 w 110"/>
                <a:gd name="T11" fmla="*/ 224 h 235"/>
                <a:gd name="T12" fmla="*/ 36 w 110"/>
                <a:gd name="T13" fmla="*/ 224 h 235"/>
                <a:gd name="T14" fmla="*/ 0 w 110"/>
                <a:gd name="T15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235">
                  <a:moveTo>
                    <a:pt x="0" y="121"/>
                  </a:moveTo>
                  <a:cubicBezTo>
                    <a:pt x="2" y="79"/>
                    <a:pt x="22" y="37"/>
                    <a:pt x="69" y="9"/>
                  </a:cubicBezTo>
                  <a:cubicBezTo>
                    <a:pt x="84" y="0"/>
                    <a:pt x="98" y="4"/>
                    <a:pt x="104" y="16"/>
                  </a:cubicBezTo>
                  <a:cubicBezTo>
                    <a:pt x="110" y="27"/>
                    <a:pt x="105" y="39"/>
                    <a:pt x="90" y="48"/>
                  </a:cubicBezTo>
                  <a:cubicBezTo>
                    <a:pt x="41" y="75"/>
                    <a:pt x="30" y="144"/>
                    <a:pt x="67" y="191"/>
                  </a:cubicBezTo>
                  <a:cubicBezTo>
                    <a:pt x="75" y="202"/>
                    <a:pt x="80" y="212"/>
                    <a:pt x="71" y="224"/>
                  </a:cubicBezTo>
                  <a:cubicBezTo>
                    <a:pt x="61" y="235"/>
                    <a:pt x="48" y="235"/>
                    <a:pt x="36" y="224"/>
                  </a:cubicBezTo>
                  <a:cubicBezTo>
                    <a:pt x="15" y="202"/>
                    <a:pt x="0" y="165"/>
                    <a:pt x="0" y="1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8" name="Freeform 21">
              <a:extLst>
                <a:ext uri="{FF2B5EF4-FFF2-40B4-BE49-F238E27FC236}">
                  <a16:creationId xmlns:a16="http://schemas.microsoft.com/office/drawing/2014/main" id="{6911EA98-B3B2-4B3E-AD44-B6DC6A498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28888"/>
              <a:ext cx="236537" cy="234950"/>
            </a:xfrm>
            <a:custGeom>
              <a:avLst/>
              <a:gdLst>
                <a:gd name="T0" fmla="*/ 0 w 158"/>
                <a:gd name="T1" fmla="*/ 79 h 157"/>
                <a:gd name="T2" fmla="*/ 77 w 158"/>
                <a:gd name="T3" fmla="*/ 0 h 157"/>
                <a:gd name="T4" fmla="*/ 158 w 158"/>
                <a:gd name="T5" fmla="*/ 77 h 157"/>
                <a:gd name="T6" fmla="*/ 79 w 158"/>
                <a:gd name="T7" fmla="*/ 157 h 157"/>
                <a:gd name="T8" fmla="*/ 0 w 158"/>
                <a:gd name="T9" fmla="*/ 79 h 157"/>
                <a:gd name="T10" fmla="*/ 79 w 158"/>
                <a:gd name="T11" fmla="*/ 44 h 157"/>
                <a:gd name="T12" fmla="*/ 44 w 158"/>
                <a:gd name="T13" fmla="*/ 77 h 157"/>
                <a:gd name="T14" fmla="*/ 79 w 158"/>
                <a:gd name="T15" fmla="*/ 113 h 157"/>
                <a:gd name="T16" fmla="*/ 113 w 158"/>
                <a:gd name="T17" fmla="*/ 78 h 157"/>
                <a:gd name="T18" fmla="*/ 79 w 158"/>
                <a:gd name="T19" fmla="*/ 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7">
                  <a:moveTo>
                    <a:pt x="0" y="79"/>
                  </a:moveTo>
                  <a:cubicBezTo>
                    <a:pt x="0" y="35"/>
                    <a:pt x="34" y="1"/>
                    <a:pt x="77" y="0"/>
                  </a:cubicBezTo>
                  <a:cubicBezTo>
                    <a:pt x="122" y="0"/>
                    <a:pt x="158" y="34"/>
                    <a:pt x="158" y="77"/>
                  </a:cubicBezTo>
                  <a:cubicBezTo>
                    <a:pt x="158" y="121"/>
                    <a:pt x="123" y="157"/>
                    <a:pt x="79" y="157"/>
                  </a:cubicBezTo>
                  <a:cubicBezTo>
                    <a:pt x="37" y="157"/>
                    <a:pt x="0" y="121"/>
                    <a:pt x="0" y="79"/>
                  </a:cubicBezTo>
                  <a:close/>
                  <a:moveTo>
                    <a:pt x="79" y="44"/>
                  </a:moveTo>
                  <a:cubicBezTo>
                    <a:pt x="60" y="44"/>
                    <a:pt x="45" y="58"/>
                    <a:pt x="44" y="77"/>
                  </a:cubicBezTo>
                  <a:cubicBezTo>
                    <a:pt x="44" y="95"/>
                    <a:pt x="60" y="113"/>
                    <a:pt x="79" y="113"/>
                  </a:cubicBezTo>
                  <a:cubicBezTo>
                    <a:pt x="98" y="113"/>
                    <a:pt x="113" y="98"/>
                    <a:pt x="113" y="78"/>
                  </a:cubicBezTo>
                  <a:cubicBezTo>
                    <a:pt x="113" y="58"/>
                    <a:pt x="99" y="44"/>
                    <a:pt x="79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7898684" y="3721216"/>
            <a:ext cx="750205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ification</a:t>
            </a:r>
            <a:endParaRPr lang="en-US" sz="900" b="1">
              <a:solidFill>
                <a:schemeClr val="tx2"/>
              </a:solidFill>
              <a:latin typeface="Arial"/>
              <a:ea typeface="Arial Unicode MS"/>
              <a:cs typeface="Arial"/>
            </a:endParaRP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>
                <a:solidFill>
                  <a:schemeClr val="tx2"/>
                </a:solidFill>
                <a:latin typeface="Arial"/>
                <a:ea typeface="Arial Unicode MS"/>
                <a:cs typeface="Arial"/>
              </a:rPr>
              <a:t>Model</a:t>
            </a:r>
            <a:endParaRPr kumimoji="0" lang="en-US" sz="9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752FC1DA-4C19-4013-9DF2-81DC1022D71A}"/>
              </a:ext>
            </a:extLst>
          </p:cNvPr>
          <p:cNvSpPr/>
          <p:nvPr/>
        </p:nvSpPr>
        <p:spPr bwMode="gray">
          <a:xfrm>
            <a:off x="5628272" y="2544929"/>
            <a:ext cx="3223588" cy="1243922"/>
          </a:xfrm>
          <a:custGeom>
            <a:avLst/>
            <a:gdLst>
              <a:gd name="connsiteX0" fmla="*/ 0 w 3223588"/>
              <a:gd name="connsiteY0" fmla="*/ 0 h 1243922"/>
              <a:gd name="connsiteX1" fmla="*/ 3223588 w 3223588"/>
              <a:gd name="connsiteY1" fmla="*/ 0 h 1243922"/>
              <a:gd name="connsiteX2" fmla="*/ 3223588 w 3223588"/>
              <a:gd name="connsiteY2" fmla="*/ 698915 h 1243922"/>
              <a:gd name="connsiteX3" fmla="*/ 3204799 w 3223588"/>
              <a:gd name="connsiteY3" fmla="*/ 663748 h 1243922"/>
              <a:gd name="connsiteX4" fmla="*/ 2255667 w 3223588"/>
              <a:gd name="connsiteY4" fmla="*/ 477040 h 1243922"/>
              <a:gd name="connsiteX5" fmla="*/ 1965204 w 3223588"/>
              <a:gd name="connsiteY5" fmla="*/ 1175154 h 1243922"/>
              <a:gd name="connsiteX6" fmla="*/ 1985738 w 3223588"/>
              <a:gd name="connsiteY6" fmla="*/ 1243922 h 1243922"/>
              <a:gd name="connsiteX7" fmla="*/ 0 w 3223588"/>
              <a:gd name="connsiteY7" fmla="*/ 1243922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23588" h="1243922">
                <a:moveTo>
                  <a:pt x="0" y="0"/>
                </a:moveTo>
                <a:lnTo>
                  <a:pt x="3223588" y="0"/>
                </a:lnTo>
                <a:lnTo>
                  <a:pt x="3223588" y="698915"/>
                </a:lnTo>
                <a:lnTo>
                  <a:pt x="3204799" y="663748"/>
                </a:lnTo>
                <a:cubicBezTo>
                  <a:pt x="2994262" y="350094"/>
                  <a:pt x="2569321" y="266502"/>
                  <a:pt x="2255667" y="477040"/>
                </a:cubicBezTo>
                <a:cubicBezTo>
                  <a:pt x="2020427" y="634943"/>
                  <a:pt x="1914596" y="913448"/>
                  <a:pt x="1965204" y="1175154"/>
                </a:cubicBezTo>
                <a:lnTo>
                  <a:pt x="1985738" y="1243922"/>
                </a:lnTo>
                <a:lnTo>
                  <a:pt x="0" y="124392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2" name="Freeform: Shape 391">
            <a:extLst>
              <a:ext uri="{FF2B5EF4-FFF2-40B4-BE49-F238E27FC236}">
                <a16:creationId xmlns:a16="http://schemas.microsoft.com/office/drawing/2014/main" id="{46D7C816-303C-44CE-922F-50BDB4035657}"/>
              </a:ext>
            </a:extLst>
          </p:cNvPr>
          <p:cNvSpPr/>
          <p:nvPr/>
        </p:nvSpPr>
        <p:spPr bwMode="gray">
          <a:xfrm>
            <a:off x="6246211" y="3807838"/>
            <a:ext cx="1652472" cy="853522"/>
          </a:xfrm>
          <a:custGeom>
            <a:avLst/>
            <a:gdLst>
              <a:gd name="connsiteX0" fmla="*/ 0 w 1652472"/>
              <a:gd name="connsiteY0" fmla="*/ 0 h 853522"/>
              <a:gd name="connsiteX1" fmla="*/ 1373469 w 1652472"/>
              <a:gd name="connsiteY1" fmla="*/ 0 h 853522"/>
              <a:gd name="connsiteX2" fmla="*/ 1385730 w 1652472"/>
              <a:gd name="connsiteY2" fmla="*/ 41062 h 853522"/>
              <a:gd name="connsiteX3" fmla="*/ 1451020 w 1652472"/>
              <a:gd name="connsiteY3" fmla="*/ 163263 h 853522"/>
              <a:gd name="connsiteX4" fmla="*/ 1644035 w 1652472"/>
              <a:gd name="connsiteY4" fmla="*/ 354366 h 853522"/>
              <a:gd name="connsiteX5" fmla="*/ 1652472 w 1652472"/>
              <a:gd name="connsiteY5" fmla="*/ 358784 h 853522"/>
              <a:gd name="connsiteX6" fmla="*/ 1652472 w 1652472"/>
              <a:gd name="connsiteY6" fmla="*/ 853522 h 853522"/>
              <a:gd name="connsiteX7" fmla="*/ 0 w 1652472"/>
              <a:gd name="connsiteY7" fmla="*/ 853522 h 85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472" h="853522">
                <a:moveTo>
                  <a:pt x="0" y="0"/>
                </a:moveTo>
                <a:lnTo>
                  <a:pt x="1373469" y="0"/>
                </a:lnTo>
                <a:lnTo>
                  <a:pt x="1385730" y="41062"/>
                </a:lnTo>
                <a:cubicBezTo>
                  <a:pt x="1402981" y="83111"/>
                  <a:pt x="1424703" y="124056"/>
                  <a:pt x="1451020" y="163263"/>
                </a:cubicBezTo>
                <a:cubicBezTo>
                  <a:pt x="1503654" y="241677"/>
                  <a:pt x="1569689" y="305711"/>
                  <a:pt x="1644035" y="354366"/>
                </a:cubicBezTo>
                <a:lnTo>
                  <a:pt x="1652472" y="358784"/>
                </a:lnTo>
                <a:lnTo>
                  <a:pt x="1652472" y="853522"/>
                </a:lnTo>
                <a:lnTo>
                  <a:pt x="0" y="853522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29F8AE9E-5F8A-48B7-99FC-48283AEB4DE3}"/>
              </a:ext>
            </a:extLst>
          </p:cNvPr>
          <p:cNvSpPr/>
          <p:nvPr/>
        </p:nvSpPr>
        <p:spPr bwMode="gray">
          <a:xfrm>
            <a:off x="8193839" y="3643197"/>
            <a:ext cx="2090252" cy="1243922"/>
          </a:xfrm>
          <a:custGeom>
            <a:avLst/>
            <a:gdLst>
              <a:gd name="connsiteX0" fmla="*/ 750243 w 2090252"/>
              <a:gd name="connsiteY0" fmla="*/ 0 h 1243922"/>
              <a:gd name="connsiteX1" fmla="*/ 2090252 w 2090252"/>
              <a:gd name="connsiteY1" fmla="*/ 0 h 1243922"/>
              <a:gd name="connsiteX2" fmla="*/ 2090252 w 2090252"/>
              <a:gd name="connsiteY2" fmla="*/ 1243922 h 1243922"/>
              <a:gd name="connsiteX3" fmla="*/ 0 w 2090252"/>
              <a:gd name="connsiteY3" fmla="*/ 1243922 h 1243922"/>
              <a:gd name="connsiteX4" fmla="*/ 0 w 2090252"/>
              <a:gd name="connsiteY4" fmla="*/ 623841 h 1243922"/>
              <a:gd name="connsiteX5" fmla="*/ 69890 w 2090252"/>
              <a:gd name="connsiteY5" fmla="*/ 630760 h 1243922"/>
              <a:gd name="connsiteX6" fmla="*/ 452524 w 2090252"/>
              <a:gd name="connsiteY6" fmla="*/ 514612 h 1243922"/>
              <a:gd name="connsiteX7" fmla="*/ 742450 w 2090252"/>
              <a:gd name="connsiteY7" fmla="*/ 78715 h 124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0252" h="1243922">
                <a:moveTo>
                  <a:pt x="750243" y="0"/>
                </a:moveTo>
                <a:lnTo>
                  <a:pt x="2090252" y="0"/>
                </a:lnTo>
                <a:lnTo>
                  <a:pt x="2090252" y="1243922"/>
                </a:lnTo>
                <a:lnTo>
                  <a:pt x="0" y="1243922"/>
                </a:lnTo>
                <a:lnTo>
                  <a:pt x="0" y="623841"/>
                </a:lnTo>
                <a:lnTo>
                  <a:pt x="69890" y="630760"/>
                </a:lnTo>
                <a:cubicBezTo>
                  <a:pt x="201634" y="631154"/>
                  <a:pt x="334904" y="593564"/>
                  <a:pt x="452524" y="514612"/>
                </a:cubicBezTo>
                <a:cubicBezTo>
                  <a:pt x="609351" y="409344"/>
                  <a:pt x="708663" y="250474"/>
                  <a:pt x="742450" y="78715"/>
                </a:cubicBez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2" name="Freeform: Shape 401">
            <a:extLst>
              <a:ext uri="{FF2B5EF4-FFF2-40B4-BE49-F238E27FC236}">
                <a16:creationId xmlns:a16="http://schemas.microsoft.com/office/drawing/2014/main" id="{D45B3FE9-1E70-4A86-BEF9-3593EB8AF8A2}"/>
              </a:ext>
            </a:extLst>
          </p:cNvPr>
          <p:cNvSpPr/>
          <p:nvPr/>
        </p:nvSpPr>
        <p:spPr bwMode="gray">
          <a:xfrm>
            <a:off x="5628272" y="4140498"/>
            <a:ext cx="5988352" cy="918502"/>
          </a:xfrm>
          <a:custGeom>
            <a:avLst/>
            <a:gdLst>
              <a:gd name="connsiteX0" fmla="*/ 2657276 w 5988352"/>
              <a:gd name="connsiteY0" fmla="*/ 131940 h 918502"/>
              <a:gd name="connsiteX1" fmla="*/ 2635457 w 5988352"/>
              <a:gd name="connsiteY1" fmla="*/ 133459 h 918502"/>
              <a:gd name="connsiteX2" fmla="*/ 2629454 w 5988352"/>
              <a:gd name="connsiteY2" fmla="*/ 132865 h 918502"/>
              <a:gd name="connsiteX3" fmla="*/ 2753646 w 5988352"/>
              <a:gd name="connsiteY3" fmla="*/ 122335 h 918502"/>
              <a:gd name="connsiteX4" fmla="*/ 2734283 w 5988352"/>
              <a:gd name="connsiteY4" fmla="*/ 126580 h 918502"/>
              <a:gd name="connsiteX5" fmla="*/ 2720005 w 5988352"/>
              <a:gd name="connsiteY5" fmla="*/ 127574 h 918502"/>
              <a:gd name="connsiteX6" fmla="*/ 2845473 w 5988352"/>
              <a:gd name="connsiteY6" fmla="*/ 100024 h 918502"/>
              <a:gd name="connsiteX7" fmla="*/ 2832071 w 5988352"/>
              <a:gd name="connsiteY7" fmla="*/ 105140 h 918502"/>
              <a:gd name="connsiteX8" fmla="*/ 2812247 w 5988352"/>
              <a:gd name="connsiteY8" fmla="*/ 109486 h 918502"/>
              <a:gd name="connsiteX9" fmla="*/ 2933821 w 5988352"/>
              <a:gd name="connsiteY9" fmla="*/ 65076 h 918502"/>
              <a:gd name="connsiteX10" fmla="*/ 2927210 w 5988352"/>
              <a:gd name="connsiteY10" fmla="*/ 68823 h 918502"/>
              <a:gd name="connsiteX11" fmla="*/ 2905735 w 5988352"/>
              <a:gd name="connsiteY11" fmla="*/ 77020 h 918502"/>
              <a:gd name="connsiteX12" fmla="*/ 0 w 5988352"/>
              <a:gd name="connsiteY12" fmla="*/ 0 h 918502"/>
              <a:gd name="connsiteX13" fmla="*/ 617939 w 5988352"/>
              <a:gd name="connsiteY13" fmla="*/ 0 h 918502"/>
              <a:gd name="connsiteX14" fmla="*/ 617939 w 5988352"/>
              <a:gd name="connsiteY14" fmla="*/ 520862 h 918502"/>
              <a:gd name="connsiteX15" fmla="*/ 2270411 w 5988352"/>
              <a:gd name="connsiteY15" fmla="*/ 520862 h 918502"/>
              <a:gd name="connsiteX16" fmla="*/ 2270411 w 5988352"/>
              <a:gd name="connsiteY16" fmla="*/ 26124 h 918502"/>
              <a:gd name="connsiteX17" fmla="*/ 2263596 w 5988352"/>
              <a:gd name="connsiteY17" fmla="*/ 22555 h 918502"/>
              <a:gd name="connsiteX18" fmla="*/ 2379090 w 5988352"/>
              <a:gd name="connsiteY18" fmla="*/ 83028 h 918502"/>
              <a:gd name="connsiteX19" fmla="*/ 2537203 w 5988352"/>
              <a:gd name="connsiteY19" fmla="*/ 126095 h 918502"/>
              <a:gd name="connsiteX20" fmla="*/ 2565567 w 5988352"/>
              <a:gd name="connsiteY20" fmla="*/ 128563 h 918502"/>
              <a:gd name="connsiteX21" fmla="*/ 2565567 w 5988352"/>
              <a:gd name="connsiteY21" fmla="*/ 746621 h 918502"/>
              <a:gd name="connsiteX22" fmla="*/ 4655819 w 5988352"/>
              <a:gd name="connsiteY22" fmla="*/ 746621 h 918502"/>
              <a:gd name="connsiteX23" fmla="*/ 4655819 w 5988352"/>
              <a:gd name="connsiteY23" fmla="*/ 0 h 918502"/>
              <a:gd name="connsiteX24" fmla="*/ 5988352 w 5988352"/>
              <a:gd name="connsiteY24" fmla="*/ 0 h 918502"/>
              <a:gd name="connsiteX25" fmla="*/ 5988352 w 5988352"/>
              <a:gd name="connsiteY25" fmla="*/ 918502 h 918502"/>
              <a:gd name="connsiteX26" fmla="*/ 0 w 5988352"/>
              <a:gd name="connsiteY26" fmla="*/ 918502 h 91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88352" h="918502">
                <a:moveTo>
                  <a:pt x="2657276" y="131940"/>
                </a:moveTo>
                <a:lnTo>
                  <a:pt x="2635457" y="133459"/>
                </a:lnTo>
                <a:lnTo>
                  <a:pt x="2629454" y="132865"/>
                </a:lnTo>
                <a:close/>
                <a:moveTo>
                  <a:pt x="2753646" y="122335"/>
                </a:moveTo>
                <a:lnTo>
                  <a:pt x="2734283" y="126580"/>
                </a:lnTo>
                <a:lnTo>
                  <a:pt x="2720005" y="127574"/>
                </a:lnTo>
                <a:close/>
                <a:moveTo>
                  <a:pt x="2845473" y="100024"/>
                </a:moveTo>
                <a:lnTo>
                  <a:pt x="2832071" y="105140"/>
                </a:lnTo>
                <a:lnTo>
                  <a:pt x="2812247" y="109486"/>
                </a:lnTo>
                <a:close/>
                <a:moveTo>
                  <a:pt x="2933821" y="65076"/>
                </a:moveTo>
                <a:lnTo>
                  <a:pt x="2927210" y="68823"/>
                </a:lnTo>
                <a:lnTo>
                  <a:pt x="2905735" y="77020"/>
                </a:lnTo>
                <a:close/>
                <a:moveTo>
                  <a:pt x="0" y="0"/>
                </a:moveTo>
                <a:lnTo>
                  <a:pt x="617939" y="0"/>
                </a:lnTo>
                <a:lnTo>
                  <a:pt x="617939" y="520862"/>
                </a:lnTo>
                <a:lnTo>
                  <a:pt x="2270411" y="520862"/>
                </a:lnTo>
                <a:lnTo>
                  <a:pt x="2270411" y="26124"/>
                </a:lnTo>
                <a:lnTo>
                  <a:pt x="2263596" y="22555"/>
                </a:lnTo>
                <a:lnTo>
                  <a:pt x="2379090" y="83028"/>
                </a:lnTo>
                <a:cubicBezTo>
                  <a:pt x="2429956" y="103669"/>
                  <a:pt x="2483074" y="118105"/>
                  <a:pt x="2537203" y="126095"/>
                </a:cubicBezTo>
                <a:lnTo>
                  <a:pt x="2565567" y="128563"/>
                </a:lnTo>
                <a:lnTo>
                  <a:pt x="2565567" y="746621"/>
                </a:lnTo>
                <a:lnTo>
                  <a:pt x="4655819" y="746621"/>
                </a:lnTo>
                <a:lnTo>
                  <a:pt x="4655819" y="0"/>
                </a:lnTo>
                <a:lnTo>
                  <a:pt x="5988352" y="0"/>
                </a:lnTo>
                <a:lnTo>
                  <a:pt x="5988352" y="918502"/>
                </a:lnTo>
                <a:lnTo>
                  <a:pt x="0" y="91850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4" name="Freeform: Shape 403">
            <a:extLst>
              <a:ext uri="{FF2B5EF4-FFF2-40B4-BE49-F238E27FC236}">
                <a16:creationId xmlns:a16="http://schemas.microsoft.com/office/drawing/2014/main" id="{460B3AA4-CC09-446E-8C13-6BF2772144D3}"/>
              </a:ext>
            </a:extLst>
          </p:cNvPr>
          <p:cNvSpPr/>
          <p:nvPr/>
        </p:nvSpPr>
        <p:spPr bwMode="gray">
          <a:xfrm>
            <a:off x="5019825" y="2544021"/>
            <a:ext cx="1246049" cy="2513171"/>
          </a:xfrm>
          <a:custGeom>
            <a:avLst/>
            <a:gdLst>
              <a:gd name="connsiteX0" fmla="*/ 0 w 1246049"/>
              <a:gd name="connsiteY0" fmla="*/ 0 h 2481262"/>
              <a:gd name="connsiteX1" fmla="*/ 608447 w 1246049"/>
              <a:gd name="connsiteY1" fmla="*/ 0 h 2481262"/>
              <a:gd name="connsiteX2" fmla="*/ 608447 w 1246049"/>
              <a:gd name="connsiteY2" fmla="*/ 1227711 h 2481262"/>
              <a:gd name="connsiteX3" fmla="*/ 1246049 w 1246049"/>
              <a:gd name="connsiteY3" fmla="*/ 1227711 h 2481262"/>
              <a:gd name="connsiteX4" fmla="*/ 1246049 w 1246049"/>
              <a:gd name="connsiteY4" fmla="*/ 1246698 h 2481262"/>
              <a:gd name="connsiteX5" fmla="*/ 1226386 w 1246049"/>
              <a:gd name="connsiteY5" fmla="*/ 1246698 h 2481262"/>
              <a:gd name="connsiteX6" fmla="*/ 1226386 w 1246049"/>
              <a:gd name="connsiteY6" fmla="*/ 1579358 h 2481262"/>
              <a:gd name="connsiteX7" fmla="*/ 608447 w 1246049"/>
              <a:gd name="connsiteY7" fmla="*/ 1579358 h 2481262"/>
              <a:gd name="connsiteX8" fmla="*/ 608447 w 1246049"/>
              <a:gd name="connsiteY8" fmla="*/ 2481262 h 2481262"/>
              <a:gd name="connsiteX9" fmla="*/ 0 w 1246049"/>
              <a:gd name="connsiteY9" fmla="*/ 2481262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6049" h="2481262">
                <a:moveTo>
                  <a:pt x="0" y="0"/>
                </a:moveTo>
                <a:lnTo>
                  <a:pt x="608447" y="0"/>
                </a:lnTo>
                <a:lnTo>
                  <a:pt x="608447" y="1227711"/>
                </a:lnTo>
                <a:lnTo>
                  <a:pt x="1246049" y="1227711"/>
                </a:lnTo>
                <a:lnTo>
                  <a:pt x="1246049" y="1246698"/>
                </a:lnTo>
                <a:lnTo>
                  <a:pt x="1226386" y="1246698"/>
                </a:lnTo>
                <a:lnTo>
                  <a:pt x="1226386" y="1579358"/>
                </a:lnTo>
                <a:lnTo>
                  <a:pt x="608447" y="1579358"/>
                </a:lnTo>
                <a:lnTo>
                  <a:pt x="608447" y="2481262"/>
                </a:lnTo>
                <a:lnTo>
                  <a:pt x="0" y="2481262"/>
                </a:lnTo>
                <a:close/>
              </a:path>
            </a:pathLst>
          </a:custGeom>
          <a:solidFill>
            <a:schemeClr val="accent3">
              <a:lumMod val="10000"/>
              <a:lumOff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7" name="Freeform: Shape 406">
            <a:extLst>
              <a:ext uri="{FF2B5EF4-FFF2-40B4-BE49-F238E27FC236}">
                <a16:creationId xmlns:a16="http://schemas.microsoft.com/office/drawing/2014/main" id="{4E05ACF2-3E18-44AB-B06F-CB6B4CEC3412}"/>
              </a:ext>
            </a:extLst>
          </p:cNvPr>
          <p:cNvSpPr/>
          <p:nvPr/>
        </p:nvSpPr>
        <p:spPr bwMode="gray">
          <a:xfrm>
            <a:off x="8729493" y="1895363"/>
            <a:ext cx="2887131" cy="2245135"/>
          </a:xfrm>
          <a:custGeom>
            <a:avLst/>
            <a:gdLst>
              <a:gd name="connsiteX0" fmla="*/ 118347 w 2887131"/>
              <a:gd name="connsiteY0" fmla="*/ 2049620 h 2245135"/>
              <a:gd name="connsiteX1" fmla="*/ 107973 w 2887131"/>
              <a:gd name="connsiteY1" fmla="*/ 2069432 h 2245135"/>
              <a:gd name="connsiteX2" fmla="*/ 99664 w 2887131"/>
              <a:gd name="connsiteY2" fmla="*/ 2079735 h 2245135"/>
              <a:gd name="connsiteX3" fmla="*/ 173083 w 2887131"/>
              <a:gd name="connsiteY3" fmla="*/ 1939613 h 2245135"/>
              <a:gd name="connsiteX4" fmla="*/ 169295 w 2887131"/>
              <a:gd name="connsiteY4" fmla="*/ 1952316 h 2245135"/>
              <a:gd name="connsiteX5" fmla="*/ 159166 w 2887131"/>
              <a:gd name="connsiteY5" fmla="*/ 1971661 h 2245135"/>
              <a:gd name="connsiteX6" fmla="*/ 128618 w 2887131"/>
              <a:gd name="connsiteY6" fmla="*/ 1360180 h 2245135"/>
              <a:gd name="connsiteX7" fmla="*/ 168868 w 2887131"/>
              <a:gd name="connsiteY7" fmla="*/ 1435515 h 2245135"/>
              <a:gd name="connsiteX8" fmla="*/ 176222 w 2887131"/>
              <a:gd name="connsiteY8" fmla="*/ 1458101 h 2245135"/>
              <a:gd name="connsiteX9" fmla="*/ 175612 w 2887131"/>
              <a:gd name="connsiteY9" fmla="*/ 1458101 h 2245135"/>
              <a:gd name="connsiteX10" fmla="*/ 168868 w 2887131"/>
              <a:gd name="connsiteY10" fmla="*/ 1435515 h 2245135"/>
              <a:gd name="connsiteX11" fmla="*/ 24461 w 2887131"/>
              <a:gd name="connsiteY11" fmla="*/ 1217772 h 2245135"/>
              <a:gd name="connsiteX12" fmla="*/ 24466 w 2887131"/>
              <a:gd name="connsiteY12" fmla="*/ 1217777 h 2245135"/>
              <a:gd name="connsiteX13" fmla="*/ 103578 w 2887131"/>
              <a:gd name="connsiteY13" fmla="*/ 1313314 h 2245135"/>
              <a:gd name="connsiteX14" fmla="*/ 15213 w 2887131"/>
              <a:gd name="connsiteY14" fmla="*/ 1206603 h 2245135"/>
              <a:gd name="connsiteX15" fmla="*/ 24464 w 2887131"/>
              <a:gd name="connsiteY15" fmla="*/ 1217775 h 2245135"/>
              <a:gd name="connsiteX16" fmla="*/ 24461 w 2887131"/>
              <a:gd name="connsiteY16" fmla="*/ 1217772 h 2245135"/>
              <a:gd name="connsiteX17" fmla="*/ 6272 w 2887131"/>
              <a:gd name="connsiteY17" fmla="*/ 1199393 h 2245135"/>
              <a:gd name="connsiteX18" fmla="*/ 15213 w 2887131"/>
              <a:gd name="connsiteY18" fmla="*/ 1206603 h 2245135"/>
              <a:gd name="connsiteX19" fmla="*/ 6273 w 2887131"/>
              <a:gd name="connsiteY19" fmla="*/ 1199394 h 2245135"/>
              <a:gd name="connsiteX20" fmla="*/ 0 w 2887131"/>
              <a:gd name="connsiteY20" fmla="*/ 1194335 h 2245135"/>
              <a:gd name="connsiteX21" fmla="*/ 6271 w 2887131"/>
              <a:gd name="connsiteY21" fmla="*/ 1199392 h 2245135"/>
              <a:gd name="connsiteX22" fmla="*/ 6270 w 2887131"/>
              <a:gd name="connsiteY22" fmla="*/ 1199392 h 2245135"/>
              <a:gd name="connsiteX23" fmla="*/ 1538598 w 2887131"/>
              <a:gd name="connsiteY23" fmla="*/ 0 h 2245135"/>
              <a:gd name="connsiteX24" fmla="*/ 2887131 w 2887131"/>
              <a:gd name="connsiteY24" fmla="*/ 0 h 2245135"/>
              <a:gd name="connsiteX25" fmla="*/ 2887131 w 2887131"/>
              <a:gd name="connsiteY25" fmla="*/ 2245135 h 2245135"/>
              <a:gd name="connsiteX26" fmla="*/ 1554598 w 2887131"/>
              <a:gd name="connsiteY26" fmla="*/ 2245135 h 2245135"/>
              <a:gd name="connsiteX27" fmla="*/ 1554598 w 2887131"/>
              <a:gd name="connsiteY27" fmla="*/ 1747834 h 2245135"/>
              <a:gd name="connsiteX28" fmla="*/ 216498 w 2887131"/>
              <a:gd name="connsiteY28" fmla="*/ 1747834 h 2245135"/>
              <a:gd name="connsiteX29" fmla="*/ 218838 w 2887131"/>
              <a:gd name="connsiteY29" fmla="*/ 1728843 h 2245135"/>
              <a:gd name="connsiteX30" fmla="*/ 200191 w 2887131"/>
              <a:gd name="connsiteY30" fmla="*/ 1531716 h 2245135"/>
              <a:gd name="connsiteX31" fmla="*/ 176222 w 2887131"/>
              <a:gd name="connsiteY31" fmla="*/ 1458101 h 2245135"/>
              <a:gd name="connsiteX32" fmla="*/ 1538598 w 2887131"/>
              <a:gd name="connsiteY32" fmla="*/ 1458101 h 224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87131" h="2245135">
                <a:moveTo>
                  <a:pt x="118347" y="2049620"/>
                </a:moveTo>
                <a:lnTo>
                  <a:pt x="107973" y="2069432"/>
                </a:lnTo>
                <a:lnTo>
                  <a:pt x="99664" y="2079735"/>
                </a:lnTo>
                <a:close/>
                <a:moveTo>
                  <a:pt x="173083" y="1939613"/>
                </a:moveTo>
                <a:lnTo>
                  <a:pt x="169295" y="1952316"/>
                </a:lnTo>
                <a:lnTo>
                  <a:pt x="159166" y="1971661"/>
                </a:lnTo>
                <a:close/>
                <a:moveTo>
                  <a:pt x="128618" y="1360180"/>
                </a:moveTo>
                <a:lnTo>
                  <a:pt x="168868" y="1435515"/>
                </a:lnTo>
                <a:lnTo>
                  <a:pt x="176222" y="1458101"/>
                </a:lnTo>
                <a:lnTo>
                  <a:pt x="175612" y="1458101"/>
                </a:lnTo>
                <a:lnTo>
                  <a:pt x="168868" y="1435515"/>
                </a:lnTo>
                <a:close/>
                <a:moveTo>
                  <a:pt x="24461" y="1217772"/>
                </a:moveTo>
                <a:lnTo>
                  <a:pt x="24466" y="1217777"/>
                </a:lnTo>
                <a:lnTo>
                  <a:pt x="103578" y="1313314"/>
                </a:lnTo>
                <a:close/>
                <a:moveTo>
                  <a:pt x="15213" y="1206603"/>
                </a:moveTo>
                <a:lnTo>
                  <a:pt x="24464" y="1217775"/>
                </a:lnTo>
                <a:lnTo>
                  <a:pt x="24461" y="1217772"/>
                </a:lnTo>
                <a:close/>
                <a:moveTo>
                  <a:pt x="6272" y="1199393"/>
                </a:moveTo>
                <a:lnTo>
                  <a:pt x="15213" y="1206603"/>
                </a:lnTo>
                <a:lnTo>
                  <a:pt x="6273" y="1199394"/>
                </a:lnTo>
                <a:close/>
                <a:moveTo>
                  <a:pt x="0" y="1194335"/>
                </a:moveTo>
                <a:lnTo>
                  <a:pt x="6271" y="1199392"/>
                </a:lnTo>
                <a:lnTo>
                  <a:pt x="6270" y="1199392"/>
                </a:lnTo>
                <a:close/>
                <a:moveTo>
                  <a:pt x="1538598" y="0"/>
                </a:moveTo>
                <a:lnTo>
                  <a:pt x="2887131" y="0"/>
                </a:lnTo>
                <a:lnTo>
                  <a:pt x="2887131" y="2245135"/>
                </a:lnTo>
                <a:lnTo>
                  <a:pt x="1554598" y="2245135"/>
                </a:lnTo>
                <a:lnTo>
                  <a:pt x="1554598" y="1747834"/>
                </a:lnTo>
                <a:lnTo>
                  <a:pt x="216498" y="1747834"/>
                </a:lnTo>
                <a:lnTo>
                  <a:pt x="218838" y="1728843"/>
                </a:lnTo>
                <a:cubicBezTo>
                  <a:pt x="222189" y="1663158"/>
                  <a:pt x="216114" y="1596733"/>
                  <a:pt x="200191" y="1531716"/>
                </a:cubicBezTo>
                <a:lnTo>
                  <a:pt x="176222" y="1458101"/>
                </a:lnTo>
                <a:lnTo>
                  <a:pt x="1538598" y="145810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9E62869D-6BAD-49C5-AB9B-3898E1044009}"/>
              </a:ext>
            </a:extLst>
          </p:cNvPr>
          <p:cNvSpPr>
            <a:spLocks noChangeAspect="1"/>
          </p:cNvSpPr>
          <p:nvPr/>
        </p:nvSpPr>
        <p:spPr bwMode="gray">
          <a:xfrm>
            <a:off x="7759312" y="3139889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FEF2853-BD2C-4F66-A827-9F3A70E17A21}"/>
              </a:ext>
            </a:extLst>
          </p:cNvPr>
          <p:cNvSpPr>
            <a:spLocks noChangeAspect="1"/>
          </p:cNvSpPr>
          <p:nvPr/>
        </p:nvSpPr>
        <p:spPr bwMode="gray">
          <a:xfrm>
            <a:off x="7672301" y="32646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FD3000A9-52BB-4F24-A2F7-DF30C8763CCB}"/>
              </a:ext>
            </a:extLst>
          </p:cNvPr>
          <p:cNvSpPr>
            <a:spLocks noChangeAspect="1"/>
          </p:cNvSpPr>
          <p:nvPr/>
        </p:nvSpPr>
        <p:spPr bwMode="gray">
          <a:xfrm>
            <a:off x="7597055" y="3571241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22FFF5C-8571-4CFD-81A4-7B18B2AC66AB}"/>
              </a:ext>
            </a:extLst>
          </p:cNvPr>
          <p:cNvSpPr>
            <a:spLocks noChangeAspect="1"/>
          </p:cNvSpPr>
          <p:nvPr/>
        </p:nvSpPr>
        <p:spPr bwMode="gray">
          <a:xfrm>
            <a:off x="7615178" y="3718852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55C60B76-5103-42DC-83D7-36B18DAC247F}"/>
              </a:ext>
            </a:extLst>
          </p:cNvPr>
          <p:cNvSpPr>
            <a:spLocks noChangeAspect="1"/>
          </p:cNvSpPr>
          <p:nvPr/>
        </p:nvSpPr>
        <p:spPr bwMode="gray">
          <a:xfrm>
            <a:off x="8891698" y="3670777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58AD9DD5-9FF5-49B7-910B-EC9F75F19A6F}"/>
              </a:ext>
            </a:extLst>
          </p:cNvPr>
          <p:cNvSpPr>
            <a:spLocks noChangeAspect="1"/>
          </p:cNvSpPr>
          <p:nvPr/>
        </p:nvSpPr>
        <p:spPr bwMode="gray">
          <a:xfrm>
            <a:off x="8892496" y="351551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0A83D9C8-6D23-41C8-812A-6D6664EBA787}"/>
              </a:ext>
            </a:extLst>
          </p:cNvPr>
          <p:cNvSpPr>
            <a:spLocks noChangeAspect="1"/>
          </p:cNvSpPr>
          <p:nvPr/>
        </p:nvSpPr>
        <p:spPr bwMode="gray">
          <a:xfrm>
            <a:off x="8309120" y="4221406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2B44649A-B4E0-4013-A2D8-ADEE9FC2D0A6}"/>
              </a:ext>
            </a:extLst>
          </p:cNvPr>
          <p:cNvSpPr>
            <a:spLocks noChangeAspect="1"/>
          </p:cNvSpPr>
          <p:nvPr/>
        </p:nvSpPr>
        <p:spPr bwMode="gray">
          <a:xfrm>
            <a:off x="8460401" y="4186043"/>
            <a:ext cx="36000" cy="3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DDD1F26-F9D8-4D9E-BA37-1B15C600929D}"/>
              </a:ext>
            </a:extLst>
          </p:cNvPr>
          <p:cNvSpPr>
            <a:spLocks/>
          </p:cNvSpPr>
          <p:nvPr/>
        </p:nvSpPr>
        <p:spPr>
          <a:xfrm>
            <a:off x="6136029" y="462334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torage Layer</a:t>
            </a: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E81565A6-186A-4412-9E42-5AE5F73B4AE2}"/>
              </a:ext>
            </a:extLst>
          </p:cNvPr>
          <p:cNvSpPr>
            <a:spLocks/>
          </p:cNvSpPr>
          <p:nvPr/>
        </p:nvSpPr>
        <p:spPr>
          <a:xfrm>
            <a:off x="10079291" y="278101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Monitoring &amp; Orchestration </a:t>
            </a:r>
            <a:br>
              <a:rPr lang="en-US" sz="1100" b="1">
                <a:solidFill>
                  <a:schemeClr val="tx1"/>
                </a:solidFill>
              </a:rPr>
            </a:br>
            <a:r>
              <a:rPr lang="en-US" sz="1100" b="1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933118-328F-4F44-817D-02F486C92D5B}"/>
              </a:ext>
            </a:extLst>
          </p:cNvPr>
          <p:cNvSpPr>
            <a:spLocks/>
          </p:cNvSpPr>
          <p:nvPr/>
        </p:nvSpPr>
        <p:spPr>
          <a:xfrm>
            <a:off x="5817487" y="2959269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ining Layer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B7C80E8D-2FB3-4967-8033-EA8E43D6FAC2}"/>
              </a:ext>
            </a:extLst>
          </p:cNvPr>
          <p:cNvSpPr>
            <a:spLocks/>
          </p:cNvSpPr>
          <p:nvPr/>
        </p:nvSpPr>
        <p:spPr>
          <a:xfrm>
            <a:off x="8451679" y="406344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Transformation Layer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D717D091-6865-4C22-8723-5F43538442B3}"/>
              </a:ext>
            </a:extLst>
          </p:cNvPr>
          <p:cNvSpPr>
            <a:spLocks/>
          </p:cNvSpPr>
          <p:nvPr/>
        </p:nvSpPr>
        <p:spPr>
          <a:xfrm>
            <a:off x="6090467" y="3987551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Serving Layer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D319A06A-6DFE-4874-93D8-D67F460A2E63}"/>
              </a:ext>
            </a:extLst>
          </p:cNvPr>
          <p:cNvSpPr>
            <a:spLocks/>
          </p:cNvSpPr>
          <p:nvPr/>
        </p:nvSpPr>
        <p:spPr>
          <a:xfrm>
            <a:off x="4656431" y="3709485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Ingestion Layer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7F4E4005-D4CD-4C6E-9D53-DA2CFB1751D0}"/>
              </a:ext>
            </a:extLst>
          </p:cNvPr>
          <p:cNvSpPr/>
          <p:nvPr/>
        </p:nvSpPr>
        <p:spPr bwMode="gray">
          <a:xfrm rot="5400000" flipV="1">
            <a:off x="5337234" y="1380696"/>
            <a:ext cx="1019598" cy="89267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79" name="Isosceles Triangle 378">
            <a:extLst>
              <a:ext uri="{FF2B5EF4-FFF2-40B4-BE49-F238E27FC236}">
                <a16:creationId xmlns:a16="http://schemas.microsoft.com/office/drawing/2014/main" id="{EAD75343-B01A-4189-AFE6-9DB4CF95081D}"/>
              </a:ext>
            </a:extLst>
          </p:cNvPr>
          <p:cNvSpPr/>
          <p:nvPr/>
        </p:nvSpPr>
        <p:spPr bwMode="gray">
          <a:xfrm rot="10800000" flipV="1">
            <a:off x="1342986" y="1955523"/>
            <a:ext cx="8967416" cy="3378745"/>
          </a:xfrm>
          <a:prstGeom prst="triangle">
            <a:avLst>
              <a:gd name="adj" fmla="val 27758"/>
            </a:avLst>
          </a:prstGeom>
          <a:gradFill>
            <a:gsLst>
              <a:gs pos="98760">
                <a:schemeClr val="bg1">
                  <a:lumMod val="85000"/>
                </a:schemeClr>
              </a:gs>
              <a:gs pos="0">
                <a:schemeClr val="bg1"/>
              </a:gs>
              <a:gs pos="64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610D3607-F537-4148-896C-8BE2C66B5956}"/>
              </a:ext>
            </a:extLst>
          </p:cNvPr>
          <p:cNvSpPr>
            <a:spLocks/>
          </p:cNvSpPr>
          <p:nvPr/>
        </p:nvSpPr>
        <p:spPr>
          <a:xfrm>
            <a:off x="1632728" y="5361402"/>
            <a:ext cx="8514571" cy="10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The entire architecture is </a:t>
            </a:r>
            <a:r>
              <a:rPr lang="en-US" sz="1200" b="1">
                <a:solidFill>
                  <a:schemeClr val="tx1"/>
                </a:solidFill>
              </a:rPr>
              <a:t>defined, configured and created </a:t>
            </a:r>
            <a:r>
              <a:rPr lang="en-US" sz="1200">
                <a:solidFill>
                  <a:schemeClr val="tx1"/>
                </a:solidFill>
              </a:rPr>
              <a:t>by the </a:t>
            </a:r>
            <a:r>
              <a:rPr lang="en-US" sz="1400" b="1">
                <a:solidFill>
                  <a:schemeClr val="tx1"/>
                </a:solidFill>
              </a:rPr>
              <a:t>Configuration Layer </a:t>
            </a:r>
            <a:r>
              <a:rPr lang="en-US" sz="1200">
                <a:solidFill>
                  <a:schemeClr val="tx1"/>
                </a:solidFill>
              </a:rPr>
              <a:t>via </a:t>
            </a:r>
            <a:r>
              <a:rPr lang="en-US" sz="1400" b="1">
                <a:solidFill>
                  <a:schemeClr val="tx1"/>
                </a:solidFill>
              </a:rPr>
              <a:t>Infrastructure as Code (</a:t>
            </a:r>
            <a:r>
              <a:rPr lang="en-US" sz="1400" b="1" err="1">
                <a:solidFill>
                  <a:schemeClr val="tx1"/>
                </a:solidFill>
              </a:rPr>
              <a:t>IaC</a:t>
            </a:r>
            <a:r>
              <a:rPr lang="en-US" sz="1400" b="1">
                <a:solidFill>
                  <a:schemeClr val="tx1"/>
                </a:solidFill>
              </a:rPr>
              <a:t>). </a:t>
            </a:r>
            <a:r>
              <a:rPr lang="en-US" sz="1200">
                <a:solidFill>
                  <a:schemeClr val="tx1"/>
                </a:solidFill>
              </a:rPr>
              <a:t>This allows us to install the entire infrastructure via simple scripts.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405" name="Freeform: Shape 404">
            <a:extLst>
              <a:ext uri="{FF2B5EF4-FFF2-40B4-BE49-F238E27FC236}">
                <a16:creationId xmlns:a16="http://schemas.microsoft.com/office/drawing/2014/main" id="{6D6A43E9-171A-4B5F-B5C6-AF90CD441EA7}"/>
              </a:ext>
            </a:extLst>
          </p:cNvPr>
          <p:cNvSpPr>
            <a:spLocks/>
          </p:cNvSpPr>
          <p:nvPr/>
        </p:nvSpPr>
        <p:spPr bwMode="gray">
          <a:xfrm>
            <a:off x="5019825" y="1895363"/>
            <a:ext cx="5248266" cy="1458101"/>
          </a:xfrm>
          <a:custGeom>
            <a:avLst/>
            <a:gdLst>
              <a:gd name="connsiteX0" fmla="*/ 2666767 w 5248266"/>
              <a:gd name="connsiteY0" fmla="*/ 1331547 h 1458101"/>
              <a:gd name="connsiteX1" fmla="*/ 2611695 w 5248266"/>
              <a:gd name="connsiteY1" fmla="*/ 1436727 h 1458101"/>
              <a:gd name="connsiteX2" fmla="*/ 2655489 w 5248266"/>
              <a:gd name="connsiteY2" fmla="*/ 1347880 h 1458101"/>
              <a:gd name="connsiteX3" fmla="*/ 2743034 w 5248266"/>
              <a:gd name="connsiteY3" fmla="*/ 1232791 h 1458101"/>
              <a:gd name="connsiteX4" fmla="*/ 2686852 w 5248266"/>
              <a:gd name="connsiteY4" fmla="*/ 1302458 h 1458101"/>
              <a:gd name="connsiteX5" fmla="*/ 2712371 w 5248266"/>
              <a:gd name="connsiteY5" fmla="*/ 1265499 h 1458101"/>
              <a:gd name="connsiteX6" fmla="*/ 2864108 w 5248266"/>
              <a:gd name="connsiteY6" fmla="*/ 1126611 h 1458101"/>
              <a:gd name="connsiteX7" fmla="*/ 2767839 w 5248266"/>
              <a:gd name="connsiteY7" fmla="*/ 1206330 h 1458101"/>
              <a:gd name="connsiteX8" fmla="*/ 2782018 w 5248266"/>
              <a:gd name="connsiteY8" fmla="*/ 1191205 h 1458101"/>
              <a:gd name="connsiteX9" fmla="*/ 3246749 w 5248266"/>
              <a:gd name="connsiteY9" fmla="*/ 1010458 h 1458101"/>
              <a:gd name="connsiteX10" fmla="*/ 3813246 w 5248266"/>
              <a:gd name="connsiteY10" fmla="*/ 1313314 h 1458101"/>
              <a:gd name="connsiteX11" fmla="*/ 3246749 w 5248266"/>
              <a:gd name="connsiteY11" fmla="*/ 1010458 h 1458101"/>
              <a:gd name="connsiteX12" fmla="*/ 0 w 5248266"/>
              <a:gd name="connsiteY12" fmla="*/ 0 h 1458101"/>
              <a:gd name="connsiteX13" fmla="*/ 5248266 w 5248266"/>
              <a:gd name="connsiteY13" fmla="*/ 0 h 1458101"/>
              <a:gd name="connsiteX14" fmla="*/ 5248266 w 5248266"/>
              <a:gd name="connsiteY14" fmla="*/ 1458101 h 1458101"/>
              <a:gd name="connsiteX15" fmla="*/ 3885280 w 5248266"/>
              <a:gd name="connsiteY15" fmla="*/ 1458101 h 1458101"/>
              <a:gd name="connsiteX16" fmla="*/ 3878536 w 5248266"/>
              <a:gd name="connsiteY16" fmla="*/ 1435515 h 1458101"/>
              <a:gd name="connsiteX17" fmla="*/ 3832035 w 5248266"/>
              <a:gd name="connsiteY17" fmla="*/ 1348481 h 1458101"/>
              <a:gd name="connsiteX18" fmla="*/ 3832035 w 5248266"/>
              <a:gd name="connsiteY18" fmla="*/ 649566 h 1458101"/>
              <a:gd name="connsiteX19" fmla="*/ 608447 w 5248266"/>
              <a:gd name="connsiteY19" fmla="*/ 649566 h 1458101"/>
              <a:gd name="connsiteX20" fmla="*/ 608447 w 5248266"/>
              <a:gd name="connsiteY20" fmla="*/ 648658 h 1458101"/>
              <a:gd name="connsiteX21" fmla="*/ 0 w 5248266"/>
              <a:gd name="connsiteY21" fmla="*/ 648658 h 1458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48266" h="1458101">
                <a:moveTo>
                  <a:pt x="2666767" y="1331547"/>
                </a:moveTo>
                <a:lnTo>
                  <a:pt x="2611695" y="1436727"/>
                </a:lnTo>
                <a:lnTo>
                  <a:pt x="2655489" y="1347880"/>
                </a:lnTo>
                <a:close/>
                <a:moveTo>
                  <a:pt x="2743034" y="1232791"/>
                </a:moveTo>
                <a:lnTo>
                  <a:pt x="2686852" y="1302458"/>
                </a:lnTo>
                <a:lnTo>
                  <a:pt x="2712371" y="1265499"/>
                </a:lnTo>
                <a:close/>
                <a:moveTo>
                  <a:pt x="2864108" y="1126611"/>
                </a:moveTo>
                <a:lnTo>
                  <a:pt x="2767839" y="1206330"/>
                </a:lnTo>
                <a:lnTo>
                  <a:pt x="2782018" y="1191205"/>
                </a:lnTo>
                <a:close/>
                <a:moveTo>
                  <a:pt x="3246749" y="1010458"/>
                </a:moveTo>
                <a:cubicBezTo>
                  <a:pt x="3466323" y="1011115"/>
                  <a:pt x="3681660" y="1117280"/>
                  <a:pt x="3813246" y="1313314"/>
                </a:cubicBezTo>
                <a:cubicBezTo>
                  <a:pt x="3681660" y="1117281"/>
                  <a:pt x="3466323" y="1011115"/>
                  <a:pt x="3246749" y="1010458"/>
                </a:cubicBezTo>
                <a:close/>
                <a:moveTo>
                  <a:pt x="0" y="0"/>
                </a:moveTo>
                <a:lnTo>
                  <a:pt x="5248266" y="0"/>
                </a:lnTo>
                <a:lnTo>
                  <a:pt x="5248266" y="1458101"/>
                </a:lnTo>
                <a:lnTo>
                  <a:pt x="3885280" y="1458101"/>
                </a:lnTo>
                <a:lnTo>
                  <a:pt x="3878536" y="1435515"/>
                </a:lnTo>
                <a:lnTo>
                  <a:pt x="3832035" y="1348481"/>
                </a:lnTo>
                <a:lnTo>
                  <a:pt x="3832035" y="649566"/>
                </a:lnTo>
                <a:lnTo>
                  <a:pt x="608447" y="649566"/>
                </a:lnTo>
                <a:lnTo>
                  <a:pt x="608447" y="648658"/>
                </a:lnTo>
                <a:lnTo>
                  <a:pt x="0" y="64865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14B04545-E8B6-4EB0-81FF-0ED0C695DA7A}"/>
              </a:ext>
            </a:extLst>
          </p:cNvPr>
          <p:cNvSpPr>
            <a:spLocks/>
          </p:cNvSpPr>
          <p:nvPr/>
        </p:nvSpPr>
        <p:spPr>
          <a:xfrm>
            <a:off x="6832397" y="1943567"/>
            <a:ext cx="1864754" cy="460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1"/>
                </a:solidFill>
              </a:rPr>
              <a:t>Configuration &amp; </a:t>
            </a:r>
            <a:r>
              <a:rPr lang="en-US" sz="1100" b="1" err="1">
                <a:solidFill>
                  <a:schemeClr val="tx1"/>
                </a:solidFill>
              </a:rPr>
              <a:t>IaC</a:t>
            </a:r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398" name="Title 2">
            <a:extLst>
              <a:ext uri="{FF2B5EF4-FFF2-40B4-BE49-F238E27FC236}">
                <a16:creationId xmlns:a16="http://schemas.microsoft.com/office/drawing/2014/main" id="{12BEC56E-328A-48C0-AF8A-797E5D9B1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 vert="horz"/>
          <a:lstStyle/>
          <a:p>
            <a:r>
              <a:rPr lang="en-US"/>
              <a:t>AI Infrastructure Framework: Deep Dive</a:t>
            </a:r>
          </a:p>
        </p:txBody>
      </p:sp>
      <p:sp>
        <p:nvSpPr>
          <p:cNvPr id="400" name="Subtitle 1">
            <a:extLst>
              <a:ext uri="{FF2B5EF4-FFF2-40B4-BE49-F238E27FC236}">
                <a16:creationId xmlns:a16="http://schemas.microsoft.com/office/drawing/2014/main" id="{CC8C448D-ED24-48D5-91B3-A50306462C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/>
              <a:t>While the Classification model is a central part of Holmes, it requires dedicated infrastructure to actually fulfill the value promise of Data Science and Machine Learning in production</a:t>
            </a:r>
          </a:p>
          <a:p>
            <a:endParaRPr lang="en-US"/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98F9967C-18AB-4EE4-AF3D-65C369EBFB8B}"/>
              </a:ext>
            </a:extLst>
          </p:cNvPr>
          <p:cNvSpPr/>
          <p:nvPr/>
        </p:nvSpPr>
        <p:spPr bwMode="gray">
          <a:xfrm>
            <a:off x="1403450" y="5342152"/>
            <a:ext cx="1692508" cy="2672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BASE FUNCTIONALITY</a:t>
            </a:r>
            <a:endParaRPr lang="en-US" sz="1050" b="1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52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scuss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4414" y="2444854"/>
            <a:ext cx="1847775" cy="64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27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Holmes Steering Committee /// 2021-08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0" name="Picture Placeholder 19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9114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>
            <a:extLst>
              <a:ext uri="{FF2B5EF4-FFF2-40B4-BE49-F238E27FC236}">
                <a16:creationId xmlns:a16="http://schemas.microsoft.com/office/drawing/2014/main" id="{2FE41CDF-44BD-D742-B250-ACB134D777AC}"/>
              </a:ext>
            </a:extLst>
          </p:cNvPr>
          <p:cNvSpPr>
            <a:spLocks/>
          </p:cNvSpPr>
          <p:nvPr/>
        </p:nvSpPr>
        <p:spPr bwMode="gray">
          <a:xfrm>
            <a:off x="-24027" y="1800293"/>
            <a:ext cx="5215115" cy="1474631"/>
          </a:xfrm>
          <a:prstGeom prst="rect">
            <a:avLst/>
          </a:prstGeom>
          <a:solidFill>
            <a:srgbClr val="F7F7F7"/>
          </a:solidFill>
          <a:ln w="19050" algn="ctr">
            <a:noFill/>
            <a:miter lim="800000"/>
            <a:headEnd/>
            <a:tailEnd/>
          </a:ln>
        </p:spPr>
        <p:txBody>
          <a:bodyPr wrap="square" lIns="88888" tIns="88888" rIns="88888" bIns="88888" rtlCol="0" anchor="ctr"/>
          <a:lstStyle/>
          <a:p>
            <a:pPr marL="0" marR="0" lvl="0" indent="0" algn="ctr" defTabSz="91430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1A246C2-7891-4153-8173-AB72BCCBDA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sz="1600"/>
              <a:t>Project </a:t>
            </a:r>
            <a:r>
              <a:rPr lang="de-DE" sz="1600" err="1"/>
              <a:t>is</a:t>
            </a:r>
            <a:r>
              <a:rPr lang="de-DE" sz="1600"/>
              <a:t> </a:t>
            </a:r>
            <a:r>
              <a:rPr lang="de-DE" sz="1600" err="1"/>
              <a:t>entering</a:t>
            </a:r>
            <a:r>
              <a:rPr lang="de-DE" sz="1600"/>
              <a:t> </a:t>
            </a:r>
            <a:r>
              <a:rPr lang="de-DE" sz="1600" err="1"/>
              <a:t>the</a:t>
            </a:r>
            <a:r>
              <a:rPr lang="de-DE" sz="1600"/>
              <a:t> </a:t>
            </a:r>
            <a:r>
              <a:rPr lang="de-DE" sz="1600" err="1"/>
              <a:t>critical</a:t>
            </a:r>
            <a:r>
              <a:rPr lang="de-DE" sz="1600"/>
              <a:t> </a:t>
            </a:r>
            <a:r>
              <a:rPr lang="de-DE" sz="1600" err="1"/>
              <a:t>phase</a:t>
            </a:r>
            <a:r>
              <a:rPr lang="de-DE" sz="1600"/>
              <a:t> </a:t>
            </a:r>
            <a:r>
              <a:rPr lang="de-DE" sz="1600" err="1"/>
              <a:t>before</a:t>
            </a:r>
            <a:r>
              <a:rPr lang="de-DE" sz="1600"/>
              <a:t> Go-Live | Focus </a:t>
            </a:r>
            <a:r>
              <a:rPr lang="de-DE" sz="1600" err="1"/>
              <a:t>is</a:t>
            </a:r>
            <a:r>
              <a:rPr lang="de-DE" sz="1600"/>
              <a:t> on </a:t>
            </a:r>
            <a:r>
              <a:rPr lang="de-DE" sz="1600" err="1"/>
              <a:t>validation</a:t>
            </a:r>
            <a:r>
              <a:rPr lang="de-DE" sz="1600"/>
              <a:t> and robustnes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Project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 bwMode="gray">
          <a:xfrm>
            <a:off x="1781829" y="1916531"/>
            <a:ext cx="1855782" cy="601489"/>
          </a:xfrm>
          <a:prstGeom prst="rect">
            <a:avLst/>
          </a:prstGeom>
          <a:ln>
            <a:noFill/>
          </a:ln>
        </p:spPr>
        <p:txBody>
          <a:bodyPr vert="horz" lIns="35995" tIns="0" rIns="35995" bIns="0" rtlCol="0" anchor="t">
            <a:noAutofit/>
          </a:bodyPr>
          <a:lstStyle>
            <a:defPPr>
              <a:defRPr lang="en-US"/>
            </a:defPPr>
            <a:lvl2pPr marL="0" lvl="1" algn="ctr" defTabSz="914418">
              <a:buSzPct val="100000"/>
              <a:defRPr sz="1600" b="1"/>
            </a:lvl2pPr>
          </a:lstStyle>
          <a:p>
            <a:pPr marL="0" marR="0" lvl="1" indent="0" algn="ctr" defTabSz="914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Utilize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 most recent advances in NLP domain to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increase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 accuracy for medical coding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 bwMode="gray">
          <a:xfrm>
            <a:off x="90206" y="2619396"/>
            <a:ext cx="1750709" cy="593672"/>
          </a:xfrm>
          <a:prstGeom prst="rect">
            <a:avLst/>
          </a:prstGeom>
          <a:ln>
            <a:noFill/>
          </a:ln>
        </p:spPr>
        <p:txBody>
          <a:bodyPr vert="horz" lIns="35995" tIns="0" rIns="35995" bIns="0" rtlCol="0" anchor="t"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Reduce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 run cost of medical coding software by avoiding high annual license fees</a:t>
            </a:r>
          </a:p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 bwMode="gray">
          <a:xfrm>
            <a:off x="3578525" y="2618485"/>
            <a:ext cx="1612563" cy="595493"/>
          </a:xfrm>
          <a:prstGeom prst="rect">
            <a:avLst/>
          </a:prstGeom>
          <a:ln>
            <a:noFill/>
          </a:ln>
        </p:spPr>
        <p:txBody>
          <a:bodyPr vert="horz" lIns="35995" tIns="0" rIns="35995" bIns="0" rtlCol="0" anchor="t">
            <a:noAutofit/>
          </a:bodyPr>
          <a:lstStyle>
            <a:defPPr>
              <a:defRPr lang="en-US"/>
            </a:defPPr>
            <a:lvl2pPr marL="0" lvl="1" algn="ctr" defTabSz="914418">
              <a:buSzPct val="100000"/>
              <a:defRPr sz="1600" b="1"/>
            </a:lvl2pPr>
          </a:lstStyle>
          <a:p>
            <a:pPr marL="0" marR="0" lvl="1" indent="0" algn="ctr" defTabSz="914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Take advantage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of available in-house skills (AI &amp; Medical Coding)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grpSp>
        <p:nvGrpSpPr>
          <p:cNvPr id="15" name="myP_Money">
            <a:extLst>
              <a:ext uri="{FF2B5EF4-FFF2-40B4-BE49-F238E27FC236}">
                <a16:creationId xmlns:a16="http://schemas.microsoft.com/office/drawing/2014/main" id="{D0D40451-B4D6-4DB8-BF00-CBAA8AC7D6DE}"/>
              </a:ext>
            </a:extLst>
          </p:cNvPr>
          <p:cNvGrpSpPr>
            <a:grpSpLocks noChangeAspect="1"/>
          </p:cNvGrpSpPr>
          <p:nvPr/>
        </p:nvGrpSpPr>
        <p:grpSpPr>
          <a:xfrm>
            <a:off x="671586" y="1985974"/>
            <a:ext cx="587950" cy="462603"/>
            <a:chOff x="7975454" y="2785688"/>
            <a:chExt cx="2062209" cy="1622562"/>
          </a:xfrm>
          <a:solidFill>
            <a:schemeClr val="tx1"/>
          </a:solidFill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5CFF724-DEDB-48A8-9B76-11C4DC72B909}"/>
                </a:ext>
              </a:extLst>
            </p:cNvPr>
            <p:cNvGrpSpPr/>
            <p:nvPr/>
          </p:nvGrpSpPr>
          <p:grpSpPr>
            <a:xfrm>
              <a:off x="8452010" y="3894290"/>
              <a:ext cx="424180" cy="513960"/>
              <a:chOff x="8423117" y="3929718"/>
              <a:chExt cx="424180" cy="513960"/>
            </a:xfrm>
            <a:grpFill/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DD1CD8B-B813-43A7-90EC-5B1B18520F96}"/>
                  </a:ext>
                </a:extLst>
              </p:cNvPr>
              <p:cNvGrpSpPr/>
              <p:nvPr/>
            </p:nvGrpSpPr>
            <p:grpSpPr>
              <a:xfrm>
                <a:off x="8423117" y="4060599"/>
                <a:ext cx="424180" cy="383079"/>
                <a:chOff x="8608695" y="3608812"/>
                <a:chExt cx="306705" cy="218182"/>
              </a:xfrm>
              <a:grpFill/>
            </p:grpSpPr>
            <p:sp>
              <p:nvSpPr>
                <p:cNvPr id="32" name="Oval 11346">
                  <a:extLst>
                    <a:ext uri="{FF2B5EF4-FFF2-40B4-BE49-F238E27FC236}">
                      <a16:creationId xmlns:a16="http://schemas.microsoft.com/office/drawing/2014/main" id="{021A5322-17D9-4133-9E7D-F26AB3496ADF}"/>
                    </a:ext>
                  </a:extLst>
                </p:cNvPr>
                <p:cNvSpPr/>
                <p:nvPr/>
              </p:nvSpPr>
              <p:spPr bwMode="gray">
                <a:xfrm>
                  <a:off x="8608695" y="3737970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3" name="Oval 11346">
                  <a:extLst>
                    <a:ext uri="{FF2B5EF4-FFF2-40B4-BE49-F238E27FC236}">
                      <a16:creationId xmlns:a16="http://schemas.microsoft.com/office/drawing/2014/main" id="{14E2A5FF-B1CF-4157-8B91-9B1901D85453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34" name="Oval 11346">
                  <a:extLst>
                    <a:ext uri="{FF2B5EF4-FFF2-40B4-BE49-F238E27FC236}">
                      <a16:creationId xmlns:a16="http://schemas.microsoft.com/office/drawing/2014/main" id="{BB92225B-EB29-4472-93CE-86407505707C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A34E98E-C5DE-4EDB-AE5F-C10E5E6B1F4F}"/>
                  </a:ext>
                </a:extLst>
              </p:cNvPr>
              <p:cNvSpPr/>
              <p:nvPr/>
            </p:nvSpPr>
            <p:spPr bwMode="gray">
              <a:xfrm>
                <a:off x="8423118" y="3929718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6E918EB-1ED8-4239-AF48-5357BBA81D93}"/>
                </a:ext>
              </a:extLst>
            </p:cNvPr>
            <p:cNvGrpSpPr/>
            <p:nvPr/>
          </p:nvGrpSpPr>
          <p:grpSpPr>
            <a:xfrm>
              <a:off x="7975454" y="3584576"/>
              <a:ext cx="424180" cy="627337"/>
              <a:chOff x="8608696" y="3477937"/>
              <a:chExt cx="424180" cy="627337"/>
            </a:xfrm>
            <a:grpFill/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31045145-AF41-47AB-8CDB-ADBD64AE4B71}"/>
                  </a:ext>
                </a:extLst>
              </p:cNvPr>
              <p:cNvGrpSpPr/>
              <p:nvPr/>
            </p:nvGrpSpPr>
            <p:grpSpPr>
              <a:xfrm>
                <a:off x="8608696" y="3608811"/>
                <a:ext cx="424180" cy="496463"/>
                <a:chOff x="8608695" y="3608812"/>
                <a:chExt cx="306705" cy="282760"/>
              </a:xfrm>
              <a:grpFill/>
            </p:grpSpPr>
            <p:sp>
              <p:nvSpPr>
                <p:cNvPr id="26" name="Oval 11346">
                  <a:extLst>
                    <a:ext uri="{FF2B5EF4-FFF2-40B4-BE49-F238E27FC236}">
                      <a16:creationId xmlns:a16="http://schemas.microsoft.com/office/drawing/2014/main" id="{2AECB956-591A-4DC7-A2AF-25E06B59C9BC}"/>
                    </a:ext>
                  </a:extLst>
                </p:cNvPr>
                <p:cNvSpPr/>
                <p:nvPr/>
              </p:nvSpPr>
              <p:spPr bwMode="gray">
                <a:xfrm>
                  <a:off x="8608695" y="3802548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7" name="Oval 11346">
                  <a:extLst>
                    <a:ext uri="{FF2B5EF4-FFF2-40B4-BE49-F238E27FC236}">
                      <a16:creationId xmlns:a16="http://schemas.microsoft.com/office/drawing/2014/main" id="{96D3FE05-A400-40FF-A61C-2470D8367B19}"/>
                    </a:ext>
                  </a:extLst>
                </p:cNvPr>
                <p:cNvSpPr/>
                <p:nvPr/>
              </p:nvSpPr>
              <p:spPr bwMode="gray">
                <a:xfrm>
                  <a:off x="8608695" y="3737970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8" name="Oval 11346">
                  <a:extLst>
                    <a:ext uri="{FF2B5EF4-FFF2-40B4-BE49-F238E27FC236}">
                      <a16:creationId xmlns:a16="http://schemas.microsoft.com/office/drawing/2014/main" id="{E5BC366B-A86E-43C5-9204-C8F528458C81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9" name="Oval 11346">
                  <a:extLst>
                    <a:ext uri="{FF2B5EF4-FFF2-40B4-BE49-F238E27FC236}">
                      <a16:creationId xmlns:a16="http://schemas.microsoft.com/office/drawing/2014/main" id="{7DCD61B8-B423-41D8-A9F9-BFF8B4612E55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B2878C-121E-4156-9BD5-74F560305A47}"/>
                  </a:ext>
                </a:extLst>
              </p:cNvPr>
              <p:cNvSpPr/>
              <p:nvPr/>
            </p:nvSpPr>
            <p:spPr bwMode="gray">
              <a:xfrm>
                <a:off x="8608697" y="3477937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68E984C-59E3-4F99-8159-330BACFA1B6D}"/>
                </a:ext>
              </a:extLst>
            </p:cNvPr>
            <p:cNvGrpSpPr/>
            <p:nvPr/>
          </p:nvGrpSpPr>
          <p:grpSpPr>
            <a:xfrm>
              <a:off x="8940800" y="3926202"/>
              <a:ext cx="424180" cy="400582"/>
              <a:chOff x="8423117" y="3929718"/>
              <a:chExt cx="424180" cy="400582"/>
            </a:xfrm>
            <a:grpFill/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45AA522-98F1-40CA-A2D7-F5F49CDF1E61}"/>
                  </a:ext>
                </a:extLst>
              </p:cNvPr>
              <p:cNvGrpSpPr/>
              <p:nvPr/>
            </p:nvGrpSpPr>
            <p:grpSpPr>
              <a:xfrm>
                <a:off x="8423117" y="4060607"/>
                <a:ext cx="424180" cy="269693"/>
                <a:chOff x="8608695" y="3608812"/>
                <a:chExt cx="306705" cy="153603"/>
              </a:xfrm>
              <a:grpFill/>
            </p:grpSpPr>
            <p:sp>
              <p:nvSpPr>
                <p:cNvPr id="22" name="Oval 11346">
                  <a:extLst>
                    <a:ext uri="{FF2B5EF4-FFF2-40B4-BE49-F238E27FC236}">
                      <a16:creationId xmlns:a16="http://schemas.microsoft.com/office/drawing/2014/main" id="{506A49A0-B6FC-4144-9622-A5226BF51EA6}"/>
                    </a:ext>
                  </a:extLst>
                </p:cNvPr>
                <p:cNvSpPr/>
                <p:nvPr/>
              </p:nvSpPr>
              <p:spPr bwMode="gray">
                <a:xfrm>
                  <a:off x="8608695" y="3673391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  <p:sp>
              <p:nvSpPr>
                <p:cNvPr id="23" name="Oval 11346">
                  <a:extLst>
                    <a:ext uri="{FF2B5EF4-FFF2-40B4-BE49-F238E27FC236}">
                      <a16:creationId xmlns:a16="http://schemas.microsoft.com/office/drawing/2014/main" id="{B90A0662-C5C5-447A-94EA-6D66F7A20590}"/>
                    </a:ext>
                  </a:extLst>
                </p:cNvPr>
                <p:cNvSpPr/>
                <p:nvPr/>
              </p:nvSpPr>
              <p:spPr bwMode="gray">
                <a:xfrm>
                  <a:off x="8608695" y="3608812"/>
                  <a:ext cx="306705" cy="890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0610" h="310755">
                      <a:moveTo>
                        <a:pt x="0" y="0"/>
                      </a:moveTo>
                      <a:lnTo>
                        <a:pt x="4238" y="0"/>
                      </a:lnTo>
                      <a:cubicBezTo>
                        <a:pt x="24003" y="95629"/>
                        <a:pt x="254383" y="170369"/>
                        <a:pt x="535305" y="170369"/>
                      </a:cubicBezTo>
                      <a:cubicBezTo>
                        <a:pt x="816227" y="170369"/>
                        <a:pt x="1046607" y="95629"/>
                        <a:pt x="1066372" y="0"/>
                      </a:cubicBezTo>
                      <a:lnTo>
                        <a:pt x="1070610" y="0"/>
                      </a:lnTo>
                      <a:lnTo>
                        <a:pt x="1070610" y="125866"/>
                      </a:lnTo>
                      <a:cubicBezTo>
                        <a:pt x="1070610" y="227977"/>
                        <a:pt x="830946" y="310755"/>
                        <a:pt x="535305" y="310755"/>
                      </a:cubicBezTo>
                      <a:cubicBezTo>
                        <a:pt x="239664" y="310755"/>
                        <a:pt x="0" y="227977"/>
                        <a:pt x="0" y="1258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 Unicode MS"/>
                    <a:cs typeface="Arial"/>
                  </a:endParaRPr>
                </a:p>
              </p:txBody>
            </p:sp>
          </p:grp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E42CAAE9-DB97-41C2-9A72-05254894BE05}"/>
                  </a:ext>
                </a:extLst>
              </p:cNvPr>
              <p:cNvSpPr/>
              <p:nvPr/>
            </p:nvSpPr>
            <p:spPr bwMode="gray">
              <a:xfrm>
                <a:off x="8423118" y="3929718"/>
                <a:ext cx="424178" cy="1956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endParaRPr>
              </a:p>
            </p:txBody>
          </p:sp>
        </p:grpSp>
        <p:sp>
          <p:nvSpPr>
            <p:cNvPr id="19" name="Oval 461">
              <a:extLst>
                <a:ext uri="{FF2B5EF4-FFF2-40B4-BE49-F238E27FC236}">
                  <a16:creationId xmlns:a16="http://schemas.microsoft.com/office/drawing/2014/main" id="{C349922A-5EC3-4D03-998E-EEB6CE533E52}"/>
                </a:ext>
              </a:extLst>
            </p:cNvPr>
            <p:cNvSpPr/>
            <p:nvPr/>
          </p:nvSpPr>
          <p:spPr bwMode="gray">
            <a:xfrm rot="21194813">
              <a:off x="8399011" y="2785688"/>
              <a:ext cx="1638652" cy="1155542"/>
            </a:xfrm>
            <a:custGeom>
              <a:avLst/>
              <a:gdLst/>
              <a:ahLst/>
              <a:cxnLst/>
              <a:rect l="l" t="t" r="r" b="b"/>
              <a:pathLst>
                <a:path w="1638652" h="1155542">
                  <a:moveTo>
                    <a:pt x="1112148" y="647019"/>
                  </a:moveTo>
                  <a:cubicBezTo>
                    <a:pt x="1143541" y="650736"/>
                    <a:pt x="1165978" y="679200"/>
                    <a:pt x="1162260" y="710594"/>
                  </a:cubicBezTo>
                  <a:cubicBezTo>
                    <a:pt x="1158543" y="741988"/>
                    <a:pt x="1130079" y="764424"/>
                    <a:pt x="1098686" y="760707"/>
                  </a:cubicBezTo>
                  <a:cubicBezTo>
                    <a:pt x="1067292" y="756989"/>
                    <a:pt x="1044855" y="728525"/>
                    <a:pt x="1048573" y="697132"/>
                  </a:cubicBezTo>
                  <a:cubicBezTo>
                    <a:pt x="1052290" y="665738"/>
                    <a:pt x="1080754" y="643302"/>
                    <a:pt x="1112148" y="647019"/>
                  </a:cubicBezTo>
                  <a:close/>
                  <a:moveTo>
                    <a:pt x="423673" y="551025"/>
                  </a:moveTo>
                  <a:cubicBezTo>
                    <a:pt x="455067" y="554743"/>
                    <a:pt x="477503" y="583206"/>
                    <a:pt x="473786" y="614600"/>
                  </a:cubicBezTo>
                  <a:cubicBezTo>
                    <a:pt x="470068" y="645994"/>
                    <a:pt x="441605" y="668430"/>
                    <a:pt x="410211" y="664713"/>
                  </a:cubicBezTo>
                  <a:cubicBezTo>
                    <a:pt x="378817" y="660996"/>
                    <a:pt x="356381" y="632532"/>
                    <a:pt x="360098" y="601138"/>
                  </a:cubicBezTo>
                  <a:cubicBezTo>
                    <a:pt x="363816" y="569744"/>
                    <a:pt x="392279" y="547308"/>
                    <a:pt x="423673" y="551025"/>
                  </a:cubicBezTo>
                  <a:close/>
                  <a:moveTo>
                    <a:pt x="781808" y="491951"/>
                  </a:moveTo>
                  <a:cubicBezTo>
                    <a:pt x="695142" y="481689"/>
                    <a:pt x="616565" y="543626"/>
                    <a:pt x="606303" y="630293"/>
                  </a:cubicBezTo>
                  <a:cubicBezTo>
                    <a:pt x="596041" y="716959"/>
                    <a:pt x="657978" y="795536"/>
                    <a:pt x="744645" y="805798"/>
                  </a:cubicBezTo>
                  <a:cubicBezTo>
                    <a:pt x="831311" y="816061"/>
                    <a:pt x="909888" y="754123"/>
                    <a:pt x="920150" y="667456"/>
                  </a:cubicBezTo>
                  <a:cubicBezTo>
                    <a:pt x="930413" y="580790"/>
                    <a:pt x="868475" y="502213"/>
                    <a:pt x="781808" y="491951"/>
                  </a:cubicBezTo>
                  <a:close/>
                  <a:moveTo>
                    <a:pt x="788457" y="435792"/>
                  </a:moveTo>
                  <a:cubicBezTo>
                    <a:pt x="906139" y="449727"/>
                    <a:pt x="990242" y="556423"/>
                    <a:pt x="976307" y="674105"/>
                  </a:cubicBezTo>
                  <a:cubicBezTo>
                    <a:pt x="962372" y="791787"/>
                    <a:pt x="855676" y="875890"/>
                    <a:pt x="737994" y="861955"/>
                  </a:cubicBezTo>
                  <a:cubicBezTo>
                    <a:pt x="620312" y="848020"/>
                    <a:pt x="536209" y="741324"/>
                    <a:pt x="550144" y="623642"/>
                  </a:cubicBezTo>
                  <a:cubicBezTo>
                    <a:pt x="564079" y="505960"/>
                    <a:pt x="670776" y="421857"/>
                    <a:pt x="788457" y="435792"/>
                  </a:cubicBezTo>
                  <a:close/>
                  <a:moveTo>
                    <a:pt x="352848" y="273563"/>
                  </a:moveTo>
                  <a:cubicBezTo>
                    <a:pt x="357070" y="285228"/>
                    <a:pt x="357353" y="297709"/>
                    <a:pt x="355851" y="310390"/>
                  </a:cubicBezTo>
                  <a:cubicBezTo>
                    <a:pt x="346958" y="385491"/>
                    <a:pt x="278869" y="439162"/>
                    <a:pt x="203768" y="430270"/>
                  </a:cubicBezTo>
                  <a:lnTo>
                    <a:pt x="157792" y="415182"/>
                  </a:lnTo>
                  <a:lnTo>
                    <a:pt x="119957" y="734702"/>
                  </a:lnTo>
                  <a:cubicBezTo>
                    <a:pt x="135135" y="729909"/>
                    <a:pt x="151487" y="728793"/>
                    <a:pt x="168185" y="730770"/>
                  </a:cubicBezTo>
                  <a:cubicBezTo>
                    <a:pt x="243285" y="739663"/>
                    <a:pt x="296957" y="807753"/>
                    <a:pt x="288064" y="882853"/>
                  </a:cubicBezTo>
                  <a:cubicBezTo>
                    <a:pt x="285343" y="905835"/>
                    <a:pt x="277078" y="926810"/>
                    <a:pt x="263300" y="943585"/>
                  </a:cubicBezTo>
                  <a:lnTo>
                    <a:pt x="1180497" y="1052193"/>
                  </a:lnTo>
                  <a:cubicBezTo>
                    <a:pt x="1171018" y="1032664"/>
                    <a:pt x="1167880" y="1010339"/>
                    <a:pt x="1170601" y="987357"/>
                  </a:cubicBezTo>
                  <a:cubicBezTo>
                    <a:pt x="1179494" y="912257"/>
                    <a:pt x="1247584" y="858585"/>
                    <a:pt x="1322684" y="867478"/>
                  </a:cubicBezTo>
                  <a:lnTo>
                    <a:pt x="1368659" y="882565"/>
                  </a:lnTo>
                  <a:lnTo>
                    <a:pt x="1406494" y="563045"/>
                  </a:lnTo>
                  <a:cubicBezTo>
                    <a:pt x="1391316" y="567839"/>
                    <a:pt x="1374965" y="568954"/>
                    <a:pt x="1358267" y="566977"/>
                  </a:cubicBezTo>
                  <a:cubicBezTo>
                    <a:pt x="1283167" y="558084"/>
                    <a:pt x="1229496" y="489995"/>
                    <a:pt x="1238388" y="414894"/>
                  </a:cubicBezTo>
                  <a:lnTo>
                    <a:pt x="1249910" y="379787"/>
                  </a:lnTo>
                  <a:close/>
                  <a:moveTo>
                    <a:pt x="1372101" y="100712"/>
                  </a:moveTo>
                  <a:lnTo>
                    <a:pt x="468774" y="100712"/>
                  </a:lnTo>
                  <a:cubicBezTo>
                    <a:pt x="474339" y="111800"/>
                    <a:pt x="476085" y="124161"/>
                    <a:pt x="476087" y="136931"/>
                  </a:cubicBezTo>
                  <a:cubicBezTo>
                    <a:pt x="476087" y="154181"/>
                    <a:pt x="472897" y="170686"/>
                    <a:pt x="466610" y="185618"/>
                  </a:cubicBezTo>
                  <a:lnTo>
                    <a:pt x="837265" y="229508"/>
                  </a:lnTo>
                  <a:cubicBezTo>
                    <a:pt x="862149" y="216690"/>
                    <a:pt x="890580" y="210592"/>
                    <a:pt x="920438" y="210592"/>
                  </a:cubicBezTo>
                  <a:cubicBezTo>
                    <a:pt x="935249" y="210592"/>
                    <a:pt x="949712" y="212093"/>
                    <a:pt x="963680" y="214951"/>
                  </a:cubicBezTo>
                  <a:cubicBezTo>
                    <a:pt x="994385" y="221235"/>
                    <a:pt x="1022702" y="234076"/>
                    <a:pt x="1045167" y="254127"/>
                  </a:cubicBezTo>
                  <a:lnTo>
                    <a:pt x="1390471" y="295015"/>
                  </a:lnTo>
                  <a:lnTo>
                    <a:pt x="1526452" y="311117"/>
                  </a:lnTo>
                  <a:lnTo>
                    <a:pt x="1510350" y="447098"/>
                  </a:lnTo>
                  <a:lnTo>
                    <a:pt x="1494868" y="577845"/>
                  </a:lnTo>
                  <a:cubicBezTo>
                    <a:pt x="1497098" y="576520"/>
                    <a:pt x="1499401" y="576462"/>
                    <a:pt x="1501719" y="576462"/>
                  </a:cubicBezTo>
                  <a:lnTo>
                    <a:pt x="1549149" y="586038"/>
                  </a:lnTo>
                  <a:lnTo>
                    <a:pt x="1549151" y="264286"/>
                  </a:lnTo>
                  <a:cubicBezTo>
                    <a:pt x="1534640" y="270832"/>
                    <a:pt x="1518533" y="273862"/>
                    <a:pt x="1501721" y="273862"/>
                  </a:cubicBezTo>
                  <a:cubicBezTo>
                    <a:pt x="1426096" y="273862"/>
                    <a:pt x="1364790" y="212556"/>
                    <a:pt x="1364788" y="136931"/>
                  </a:cubicBezTo>
                  <a:close/>
                  <a:moveTo>
                    <a:pt x="1638650" y="0"/>
                  </a:moveTo>
                  <a:lnTo>
                    <a:pt x="1638650" y="136931"/>
                  </a:lnTo>
                  <a:lnTo>
                    <a:pt x="1638652" y="713393"/>
                  </a:lnTo>
                  <a:lnTo>
                    <a:pt x="1638652" y="850324"/>
                  </a:lnTo>
                  <a:lnTo>
                    <a:pt x="1501721" y="850324"/>
                  </a:lnTo>
                  <a:lnTo>
                    <a:pt x="1462603" y="850324"/>
                  </a:lnTo>
                  <a:lnTo>
                    <a:pt x="1442563" y="1019561"/>
                  </a:lnTo>
                  <a:lnTo>
                    <a:pt x="1426461" y="1155542"/>
                  </a:lnTo>
                  <a:lnTo>
                    <a:pt x="1290481" y="1139440"/>
                  </a:lnTo>
                  <a:lnTo>
                    <a:pt x="135981" y="1002732"/>
                  </a:lnTo>
                  <a:lnTo>
                    <a:pt x="0" y="986630"/>
                  </a:lnTo>
                  <a:lnTo>
                    <a:pt x="16102" y="850649"/>
                  </a:lnTo>
                  <a:lnTo>
                    <a:pt x="83889" y="278187"/>
                  </a:lnTo>
                  <a:lnTo>
                    <a:pt x="99991" y="142206"/>
                  </a:lnTo>
                  <a:lnTo>
                    <a:pt x="202225" y="154311"/>
                  </a:lnTo>
                  <a:lnTo>
                    <a:pt x="202225" y="136931"/>
                  </a:lnTo>
                  <a:lnTo>
                    <a:pt x="202223" y="0"/>
                  </a:lnTo>
                  <a:lnTo>
                    <a:pt x="339156" y="0"/>
                  </a:lnTo>
                  <a:lnTo>
                    <a:pt x="150171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35" name="myP_Communication">
            <a:extLst>
              <a:ext uri="{FF2B5EF4-FFF2-40B4-BE49-F238E27FC236}">
                <a16:creationId xmlns:a16="http://schemas.microsoft.com/office/drawing/2014/main" id="{D19E8030-BEB1-41C8-90F8-E4F59D9D25A9}"/>
              </a:ext>
            </a:extLst>
          </p:cNvPr>
          <p:cNvGrpSpPr>
            <a:grpSpLocks noChangeAspect="1"/>
          </p:cNvGrpSpPr>
          <p:nvPr/>
        </p:nvGrpSpPr>
        <p:grpSpPr>
          <a:xfrm>
            <a:off x="4111628" y="1968182"/>
            <a:ext cx="546357" cy="498187"/>
            <a:chOff x="212787" y="2386417"/>
            <a:chExt cx="2342844" cy="2136292"/>
          </a:xfrm>
          <a:solidFill>
            <a:schemeClr val="tx1"/>
          </a:solidFill>
        </p:grpSpPr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5D5E5544-8864-4BFF-93BE-696653927F02}"/>
                </a:ext>
              </a:extLst>
            </p:cNvPr>
            <p:cNvSpPr>
              <a:spLocks noEditPoints="1"/>
            </p:cNvSpPr>
            <p:nvPr/>
          </p:nvSpPr>
          <p:spPr bwMode="auto">
            <a:xfrm rot="21363997">
              <a:off x="1830995" y="2386417"/>
              <a:ext cx="724636" cy="726585"/>
            </a:xfrm>
            <a:custGeom>
              <a:avLst/>
              <a:gdLst>
                <a:gd name="T0" fmla="*/ 184 w 367"/>
                <a:gd name="T1" fmla="*/ 367 h 367"/>
                <a:gd name="T2" fmla="*/ 1 w 367"/>
                <a:gd name="T3" fmla="*/ 184 h 367"/>
                <a:gd name="T4" fmla="*/ 184 w 367"/>
                <a:gd name="T5" fmla="*/ 0 h 367"/>
                <a:gd name="T6" fmla="*/ 367 w 367"/>
                <a:gd name="T7" fmla="*/ 184 h 367"/>
                <a:gd name="T8" fmla="*/ 184 w 367"/>
                <a:gd name="T9" fmla="*/ 367 h 367"/>
                <a:gd name="T10" fmla="*/ 308 w 367"/>
                <a:gd name="T11" fmla="*/ 269 h 367"/>
                <a:gd name="T12" fmla="*/ 286 w 367"/>
                <a:gd name="T13" fmla="*/ 72 h 367"/>
                <a:gd name="T14" fmla="*/ 76 w 367"/>
                <a:gd name="T15" fmla="*/ 78 h 367"/>
                <a:gd name="T16" fmla="*/ 61 w 367"/>
                <a:gd name="T17" fmla="*/ 269 h 367"/>
                <a:gd name="T18" fmla="*/ 104 w 367"/>
                <a:gd name="T19" fmla="*/ 247 h 367"/>
                <a:gd name="T20" fmla="*/ 138 w 367"/>
                <a:gd name="T21" fmla="*/ 231 h 367"/>
                <a:gd name="T22" fmla="*/ 145 w 367"/>
                <a:gd name="T23" fmla="*/ 199 h 367"/>
                <a:gd name="T24" fmla="*/ 119 w 367"/>
                <a:gd name="T25" fmla="*/ 123 h 367"/>
                <a:gd name="T26" fmla="*/ 174 w 367"/>
                <a:gd name="T27" fmla="*/ 63 h 367"/>
                <a:gd name="T28" fmla="*/ 245 w 367"/>
                <a:gd name="T29" fmla="*/ 107 h 367"/>
                <a:gd name="T30" fmla="*/ 226 w 367"/>
                <a:gd name="T31" fmla="*/ 196 h 367"/>
                <a:gd name="T32" fmla="*/ 233 w 367"/>
                <a:gd name="T33" fmla="*/ 232 h 367"/>
                <a:gd name="T34" fmla="*/ 308 w 367"/>
                <a:gd name="T35" fmla="*/ 2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67">
                  <a:moveTo>
                    <a:pt x="184" y="367"/>
                  </a:moveTo>
                  <a:cubicBezTo>
                    <a:pt x="82" y="367"/>
                    <a:pt x="1" y="285"/>
                    <a:pt x="1" y="184"/>
                  </a:cubicBezTo>
                  <a:cubicBezTo>
                    <a:pt x="0" y="81"/>
                    <a:pt x="82" y="0"/>
                    <a:pt x="184" y="0"/>
                  </a:cubicBezTo>
                  <a:cubicBezTo>
                    <a:pt x="286" y="0"/>
                    <a:pt x="367" y="82"/>
                    <a:pt x="367" y="184"/>
                  </a:cubicBezTo>
                  <a:cubicBezTo>
                    <a:pt x="367" y="285"/>
                    <a:pt x="285" y="366"/>
                    <a:pt x="184" y="367"/>
                  </a:cubicBezTo>
                  <a:close/>
                  <a:moveTo>
                    <a:pt x="308" y="269"/>
                  </a:moveTo>
                  <a:cubicBezTo>
                    <a:pt x="345" y="222"/>
                    <a:pt x="350" y="131"/>
                    <a:pt x="286" y="72"/>
                  </a:cubicBezTo>
                  <a:cubicBezTo>
                    <a:pt x="226" y="16"/>
                    <a:pt x="133" y="19"/>
                    <a:pt x="76" y="78"/>
                  </a:cubicBezTo>
                  <a:cubicBezTo>
                    <a:pt x="17" y="138"/>
                    <a:pt x="24" y="225"/>
                    <a:pt x="61" y="269"/>
                  </a:cubicBezTo>
                  <a:cubicBezTo>
                    <a:pt x="76" y="261"/>
                    <a:pt x="90" y="254"/>
                    <a:pt x="104" y="247"/>
                  </a:cubicBezTo>
                  <a:cubicBezTo>
                    <a:pt x="116" y="241"/>
                    <a:pt x="127" y="236"/>
                    <a:pt x="138" y="231"/>
                  </a:cubicBezTo>
                  <a:cubicBezTo>
                    <a:pt x="151" y="224"/>
                    <a:pt x="154" y="210"/>
                    <a:pt x="145" y="199"/>
                  </a:cubicBezTo>
                  <a:cubicBezTo>
                    <a:pt x="125" y="178"/>
                    <a:pt x="118" y="152"/>
                    <a:pt x="119" y="123"/>
                  </a:cubicBezTo>
                  <a:cubicBezTo>
                    <a:pt x="121" y="91"/>
                    <a:pt x="143" y="67"/>
                    <a:pt x="174" y="63"/>
                  </a:cubicBezTo>
                  <a:cubicBezTo>
                    <a:pt x="208" y="58"/>
                    <a:pt x="236" y="75"/>
                    <a:pt x="245" y="107"/>
                  </a:cubicBezTo>
                  <a:cubicBezTo>
                    <a:pt x="255" y="140"/>
                    <a:pt x="247" y="170"/>
                    <a:pt x="226" y="196"/>
                  </a:cubicBezTo>
                  <a:cubicBezTo>
                    <a:pt x="214" y="211"/>
                    <a:pt x="216" y="224"/>
                    <a:pt x="233" y="232"/>
                  </a:cubicBezTo>
                  <a:cubicBezTo>
                    <a:pt x="257" y="244"/>
                    <a:pt x="282" y="256"/>
                    <a:pt x="308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CD52C4FE-5C12-40CF-BB3B-E814C25BEE06}"/>
                </a:ext>
              </a:extLst>
            </p:cNvPr>
            <p:cNvSpPr>
              <a:spLocks noEditPoints="1"/>
            </p:cNvSpPr>
            <p:nvPr/>
          </p:nvSpPr>
          <p:spPr bwMode="auto">
            <a:xfrm rot="21363997">
              <a:off x="212787" y="2790564"/>
              <a:ext cx="724636" cy="726585"/>
            </a:xfrm>
            <a:custGeom>
              <a:avLst/>
              <a:gdLst>
                <a:gd name="T0" fmla="*/ 367 w 367"/>
                <a:gd name="T1" fmla="*/ 182 h 367"/>
                <a:gd name="T2" fmla="*/ 184 w 367"/>
                <a:gd name="T3" fmla="*/ 367 h 367"/>
                <a:gd name="T4" fmla="*/ 0 w 367"/>
                <a:gd name="T5" fmla="*/ 183 h 367"/>
                <a:gd name="T6" fmla="*/ 184 w 367"/>
                <a:gd name="T7" fmla="*/ 0 h 367"/>
                <a:gd name="T8" fmla="*/ 367 w 367"/>
                <a:gd name="T9" fmla="*/ 182 h 367"/>
                <a:gd name="T10" fmla="*/ 61 w 367"/>
                <a:gd name="T11" fmla="*/ 269 h 367"/>
                <a:gd name="T12" fmla="*/ 93 w 367"/>
                <a:gd name="T13" fmla="*/ 251 h 367"/>
                <a:gd name="T14" fmla="*/ 136 w 367"/>
                <a:gd name="T15" fmla="*/ 232 h 367"/>
                <a:gd name="T16" fmla="*/ 143 w 367"/>
                <a:gd name="T17" fmla="*/ 197 h 367"/>
                <a:gd name="T18" fmla="*/ 120 w 367"/>
                <a:gd name="T19" fmla="*/ 117 h 367"/>
                <a:gd name="T20" fmla="*/ 177 w 367"/>
                <a:gd name="T21" fmla="*/ 62 h 367"/>
                <a:gd name="T22" fmla="*/ 246 w 367"/>
                <a:gd name="T23" fmla="*/ 110 h 367"/>
                <a:gd name="T24" fmla="*/ 225 w 367"/>
                <a:gd name="T25" fmla="*/ 197 h 367"/>
                <a:gd name="T26" fmla="*/ 232 w 367"/>
                <a:gd name="T27" fmla="*/ 232 h 367"/>
                <a:gd name="T28" fmla="*/ 308 w 367"/>
                <a:gd name="T29" fmla="*/ 268 h 367"/>
                <a:gd name="T30" fmla="*/ 290 w 367"/>
                <a:gd name="T31" fmla="*/ 75 h 367"/>
                <a:gd name="T32" fmla="*/ 80 w 367"/>
                <a:gd name="T33" fmla="*/ 73 h 367"/>
                <a:gd name="T34" fmla="*/ 61 w 367"/>
                <a:gd name="T35" fmla="*/ 2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67">
                  <a:moveTo>
                    <a:pt x="367" y="182"/>
                  </a:moveTo>
                  <a:cubicBezTo>
                    <a:pt x="367" y="285"/>
                    <a:pt x="286" y="367"/>
                    <a:pt x="184" y="367"/>
                  </a:cubicBezTo>
                  <a:cubicBezTo>
                    <a:pt x="83" y="367"/>
                    <a:pt x="0" y="284"/>
                    <a:pt x="0" y="183"/>
                  </a:cubicBezTo>
                  <a:cubicBezTo>
                    <a:pt x="0" y="81"/>
                    <a:pt x="82" y="0"/>
                    <a:pt x="184" y="0"/>
                  </a:cubicBezTo>
                  <a:cubicBezTo>
                    <a:pt x="286" y="0"/>
                    <a:pt x="367" y="81"/>
                    <a:pt x="367" y="182"/>
                  </a:cubicBezTo>
                  <a:close/>
                  <a:moveTo>
                    <a:pt x="61" y="269"/>
                  </a:moveTo>
                  <a:cubicBezTo>
                    <a:pt x="72" y="263"/>
                    <a:pt x="83" y="257"/>
                    <a:pt x="93" y="251"/>
                  </a:cubicBezTo>
                  <a:cubicBezTo>
                    <a:pt x="108" y="244"/>
                    <a:pt x="122" y="238"/>
                    <a:pt x="136" y="232"/>
                  </a:cubicBezTo>
                  <a:cubicBezTo>
                    <a:pt x="152" y="224"/>
                    <a:pt x="154" y="211"/>
                    <a:pt x="143" y="197"/>
                  </a:cubicBezTo>
                  <a:cubicBezTo>
                    <a:pt x="123" y="174"/>
                    <a:pt x="116" y="147"/>
                    <a:pt x="120" y="117"/>
                  </a:cubicBezTo>
                  <a:cubicBezTo>
                    <a:pt x="125" y="86"/>
                    <a:pt x="148" y="64"/>
                    <a:pt x="177" y="62"/>
                  </a:cubicBezTo>
                  <a:cubicBezTo>
                    <a:pt x="213" y="60"/>
                    <a:pt x="238" y="77"/>
                    <a:pt x="246" y="110"/>
                  </a:cubicBezTo>
                  <a:cubicBezTo>
                    <a:pt x="254" y="142"/>
                    <a:pt x="247" y="172"/>
                    <a:pt x="225" y="197"/>
                  </a:cubicBezTo>
                  <a:cubicBezTo>
                    <a:pt x="213" y="211"/>
                    <a:pt x="216" y="224"/>
                    <a:pt x="232" y="232"/>
                  </a:cubicBezTo>
                  <a:cubicBezTo>
                    <a:pt x="257" y="244"/>
                    <a:pt x="282" y="256"/>
                    <a:pt x="308" y="268"/>
                  </a:cubicBezTo>
                  <a:cubicBezTo>
                    <a:pt x="346" y="222"/>
                    <a:pt x="349" y="134"/>
                    <a:pt x="290" y="75"/>
                  </a:cubicBezTo>
                  <a:cubicBezTo>
                    <a:pt x="232" y="18"/>
                    <a:pt x="139" y="17"/>
                    <a:pt x="80" y="73"/>
                  </a:cubicBezTo>
                  <a:cubicBezTo>
                    <a:pt x="17" y="133"/>
                    <a:pt x="23" y="224"/>
                    <a:pt x="61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343CE648-33C3-4FE9-8604-EC8D26FAD7C9}"/>
                </a:ext>
              </a:extLst>
            </p:cNvPr>
            <p:cNvSpPr>
              <a:spLocks noEditPoints="1"/>
            </p:cNvSpPr>
            <p:nvPr/>
          </p:nvSpPr>
          <p:spPr bwMode="auto">
            <a:xfrm rot="21363997">
              <a:off x="1461336" y="3798073"/>
              <a:ext cx="726585" cy="724636"/>
            </a:xfrm>
            <a:custGeom>
              <a:avLst/>
              <a:gdLst>
                <a:gd name="T0" fmla="*/ 367 w 367"/>
                <a:gd name="T1" fmla="*/ 184 h 367"/>
                <a:gd name="T2" fmla="*/ 183 w 367"/>
                <a:gd name="T3" fmla="*/ 367 h 367"/>
                <a:gd name="T4" fmla="*/ 0 w 367"/>
                <a:gd name="T5" fmla="*/ 183 h 367"/>
                <a:gd name="T6" fmla="*/ 185 w 367"/>
                <a:gd name="T7" fmla="*/ 0 h 367"/>
                <a:gd name="T8" fmla="*/ 367 w 367"/>
                <a:gd name="T9" fmla="*/ 184 h 367"/>
                <a:gd name="T10" fmla="*/ 307 w 367"/>
                <a:gd name="T11" fmla="*/ 269 h 367"/>
                <a:gd name="T12" fmla="*/ 283 w 367"/>
                <a:gd name="T13" fmla="*/ 70 h 367"/>
                <a:gd name="T14" fmla="*/ 65 w 367"/>
                <a:gd name="T15" fmla="*/ 90 h 367"/>
                <a:gd name="T16" fmla="*/ 62 w 367"/>
                <a:gd name="T17" fmla="*/ 270 h 367"/>
                <a:gd name="T18" fmla="*/ 90 w 367"/>
                <a:gd name="T19" fmla="*/ 253 h 367"/>
                <a:gd name="T20" fmla="*/ 137 w 367"/>
                <a:gd name="T21" fmla="*/ 231 h 367"/>
                <a:gd name="T22" fmla="*/ 144 w 367"/>
                <a:gd name="T23" fmla="*/ 199 h 367"/>
                <a:gd name="T24" fmla="*/ 120 w 367"/>
                <a:gd name="T25" fmla="*/ 117 h 367"/>
                <a:gd name="T26" fmla="*/ 176 w 367"/>
                <a:gd name="T27" fmla="*/ 62 h 367"/>
                <a:gd name="T28" fmla="*/ 243 w 367"/>
                <a:gd name="T29" fmla="*/ 103 h 367"/>
                <a:gd name="T30" fmla="*/ 225 w 367"/>
                <a:gd name="T31" fmla="*/ 196 h 367"/>
                <a:gd name="T32" fmla="*/ 233 w 367"/>
                <a:gd name="T33" fmla="*/ 233 h 367"/>
                <a:gd name="T34" fmla="*/ 307 w 367"/>
                <a:gd name="T35" fmla="*/ 2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67">
                  <a:moveTo>
                    <a:pt x="367" y="184"/>
                  </a:moveTo>
                  <a:cubicBezTo>
                    <a:pt x="367" y="286"/>
                    <a:pt x="285" y="367"/>
                    <a:pt x="183" y="367"/>
                  </a:cubicBezTo>
                  <a:cubicBezTo>
                    <a:pt x="82" y="366"/>
                    <a:pt x="0" y="284"/>
                    <a:pt x="0" y="183"/>
                  </a:cubicBezTo>
                  <a:cubicBezTo>
                    <a:pt x="0" y="81"/>
                    <a:pt x="82" y="0"/>
                    <a:pt x="185" y="0"/>
                  </a:cubicBezTo>
                  <a:cubicBezTo>
                    <a:pt x="286" y="0"/>
                    <a:pt x="367" y="82"/>
                    <a:pt x="367" y="184"/>
                  </a:cubicBezTo>
                  <a:close/>
                  <a:moveTo>
                    <a:pt x="307" y="269"/>
                  </a:moveTo>
                  <a:cubicBezTo>
                    <a:pt x="347" y="220"/>
                    <a:pt x="349" y="127"/>
                    <a:pt x="283" y="70"/>
                  </a:cubicBezTo>
                  <a:cubicBezTo>
                    <a:pt x="217" y="12"/>
                    <a:pt x="119" y="21"/>
                    <a:pt x="65" y="90"/>
                  </a:cubicBezTo>
                  <a:cubicBezTo>
                    <a:pt x="13" y="154"/>
                    <a:pt x="31" y="240"/>
                    <a:pt x="62" y="270"/>
                  </a:cubicBezTo>
                  <a:cubicBezTo>
                    <a:pt x="71" y="264"/>
                    <a:pt x="81" y="258"/>
                    <a:pt x="90" y="253"/>
                  </a:cubicBezTo>
                  <a:cubicBezTo>
                    <a:pt x="106" y="245"/>
                    <a:pt x="122" y="239"/>
                    <a:pt x="137" y="231"/>
                  </a:cubicBezTo>
                  <a:cubicBezTo>
                    <a:pt x="151" y="224"/>
                    <a:pt x="154" y="210"/>
                    <a:pt x="144" y="199"/>
                  </a:cubicBezTo>
                  <a:cubicBezTo>
                    <a:pt x="123" y="175"/>
                    <a:pt x="116" y="147"/>
                    <a:pt x="120" y="117"/>
                  </a:cubicBezTo>
                  <a:cubicBezTo>
                    <a:pt x="124" y="87"/>
                    <a:pt x="146" y="66"/>
                    <a:pt x="176" y="62"/>
                  </a:cubicBezTo>
                  <a:cubicBezTo>
                    <a:pt x="207" y="59"/>
                    <a:pt x="233" y="74"/>
                    <a:pt x="243" y="103"/>
                  </a:cubicBezTo>
                  <a:cubicBezTo>
                    <a:pt x="255" y="137"/>
                    <a:pt x="248" y="168"/>
                    <a:pt x="225" y="196"/>
                  </a:cubicBezTo>
                  <a:cubicBezTo>
                    <a:pt x="213" y="212"/>
                    <a:pt x="215" y="224"/>
                    <a:pt x="233" y="233"/>
                  </a:cubicBezTo>
                  <a:cubicBezTo>
                    <a:pt x="258" y="245"/>
                    <a:pt x="282" y="256"/>
                    <a:pt x="307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F4F5EE68-2B1E-49A2-B24C-852BF2AA70BD}"/>
                </a:ext>
              </a:extLst>
            </p:cNvPr>
            <p:cNvSpPr>
              <a:spLocks noEditPoints="1"/>
            </p:cNvSpPr>
            <p:nvPr/>
          </p:nvSpPr>
          <p:spPr bwMode="auto">
            <a:xfrm rot="21363997">
              <a:off x="1318185" y="3119009"/>
              <a:ext cx="481144" cy="483091"/>
            </a:xfrm>
            <a:custGeom>
              <a:avLst/>
              <a:gdLst>
                <a:gd name="T0" fmla="*/ 192 w 244"/>
                <a:gd name="T1" fmla="*/ 223 h 244"/>
                <a:gd name="T2" fmla="*/ 185 w 244"/>
                <a:gd name="T3" fmla="*/ 217 h 244"/>
                <a:gd name="T4" fmla="*/ 151 w 244"/>
                <a:gd name="T5" fmla="*/ 215 h 244"/>
                <a:gd name="T6" fmla="*/ 147 w 244"/>
                <a:gd name="T7" fmla="*/ 226 h 244"/>
                <a:gd name="T8" fmla="*/ 126 w 244"/>
                <a:gd name="T9" fmla="*/ 244 h 244"/>
                <a:gd name="T10" fmla="*/ 122 w 244"/>
                <a:gd name="T11" fmla="*/ 244 h 244"/>
                <a:gd name="T12" fmla="*/ 98 w 244"/>
                <a:gd name="T13" fmla="*/ 224 h 244"/>
                <a:gd name="T14" fmla="*/ 68 w 244"/>
                <a:gd name="T15" fmla="*/ 211 h 244"/>
                <a:gd name="T16" fmla="*/ 51 w 244"/>
                <a:gd name="T17" fmla="*/ 223 h 244"/>
                <a:gd name="T18" fmla="*/ 25 w 244"/>
                <a:gd name="T19" fmla="*/ 197 h 244"/>
                <a:gd name="T20" fmla="*/ 28 w 244"/>
                <a:gd name="T21" fmla="*/ 183 h 244"/>
                <a:gd name="T22" fmla="*/ 32 w 244"/>
                <a:gd name="T23" fmla="*/ 157 h 244"/>
                <a:gd name="T24" fmla="*/ 13 w 244"/>
                <a:gd name="T25" fmla="*/ 146 h 244"/>
                <a:gd name="T26" fmla="*/ 1 w 244"/>
                <a:gd name="T27" fmla="*/ 133 h 244"/>
                <a:gd name="T28" fmla="*/ 0 w 244"/>
                <a:gd name="T29" fmla="*/ 123 h 244"/>
                <a:gd name="T30" fmla="*/ 20 w 244"/>
                <a:gd name="T31" fmla="*/ 98 h 244"/>
                <a:gd name="T32" fmla="*/ 32 w 244"/>
                <a:gd name="T33" fmla="*/ 67 h 244"/>
                <a:gd name="T34" fmla="*/ 34 w 244"/>
                <a:gd name="T35" fmla="*/ 37 h 244"/>
                <a:gd name="T36" fmla="*/ 39 w 244"/>
                <a:gd name="T37" fmla="*/ 33 h 244"/>
                <a:gd name="T38" fmla="*/ 65 w 244"/>
                <a:gd name="T39" fmla="*/ 31 h 244"/>
                <a:gd name="T40" fmla="*/ 98 w 244"/>
                <a:gd name="T41" fmla="*/ 16 h 244"/>
                <a:gd name="T42" fmla="*/ 116 w 244"/>
                <a:gd name="T43" fmla="*/ 0 h 244"/>
                <a:gd name="T44" fmla="*/ 123 w 244"/>
                <a:gd name="T45" fmla="*/ 0 h 244"/>
                <a:gd name="T46" fmla="*/ 147 w 244"/>
                <a:gd name="T47" fmla="*/ 20 h 244"/>
                <a:gd name="T48" fmla="*/ 177 w 244"/>
                <a:gd name="T49" fmla="*/ 33 h 244"/>
                <a:gd name="T50" fmla="*/ 209 w 244"/>
                <a:gd name="T51" fmla="*/ 36 h 244"/>
                <a:gd name="T52" fmla="*/ 211 w 244"/>
                <a:gd name="T53" fmla="*/ 38 h 244"/>
                <a:gd name="T54" fmla="*/ 213 w 244"/>
                <a:gd name="T55" fmla="*/ 66 h 244"/>
                <a:gd name="T56" fmla="*/ 226 w 244"/>
                <a:gd name="T57" fmla="*/ 99 h 244"/>
                <a:gd name="T58" fmla="*/ 244 w 244"/>
                <a:gd name="T59" fmla="*/ 118 h 244"/>
                <a:gd name="T60" fmla="*/ 244 w 244"/>
                <a:gd name="T61" fmla="*/ 122 h 244"/>
                <a:gd name="T62" fmla="*/ 224 w 244"/>
                <a:gd name="T63" fmla="*/ 147 h 244"/>
                <a:gd name="T64" fmla="*/ 212 w 244"/>
                <a:gd name="T65" fmla="*/ 177 h 244"/>
                <a:gd name="T66" fmla="*/ 209 w 244"/>
                <a:gd name="T67" fmla="*/ 208 h 244"/>
                <a:gd name="T68" fmla="*/ 192 w 244"/>
                <a:gd name="T69" fmla="*/ 223 h 244"/>
                <a:gd name="T70" fmla="*/ 122 w 244"/>
                <a:gd name="T71" fmla="*/ 179 h 244"/>
                <a:gd name="T72" fmla="*/ 179 w 244"/>
                <a:gd name="T73" fmla="*/ 122 h 244"/>
                <a:gd name="T74" fmla="*/ 122 w 244"/>
                <a:gd name="T75" fmla="*/ 66 h 244"/>
                <a:gd name="T76" fmla="*/ 65 w 244"/>
                <a:gd name="T77" fmla="*/ 122 h 244"/>
                <a:gd name="T78" fmla="*/ 122 w 244"/>
                <a:gd name="T79" fmla="*/ 17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4" h="244">
                  <a:moveTo>
                    <a:pt x="192" y="223"/>
                  </a:moveTo>
                  <a:cubicBezTo>
                    <a:pt x="189" y="220"/>
                    <a:pt x="186" y="219"/>
                    <a:pt x="185" y="217"/>
                  </a:cubicBezTo>
                  <a:cubicBezTo>
                    <a:pt x="174" y="204"/>
                    <a:pt x="163" y="209"/>
                    <a:pt x="151" y="215"/>
                  </a:cubicBezTo>
                  <a:cubicBezTo>
                    <a:pt x="149" y="217"/>
                    <a:pt x="147" y="222"/>
                    <a:pt x="147" y="226"/>
                  </a:cubicBezTo>
                  <a:cubicBezTo>
                    <a:pt x="144" y="244"/>
                    <a:pt x="144" y="244"/>
                    <a:pt x="126" y="244"/>
                  </a:cubicBezTo>
                  <a:cubicBezTo>
                    <a:pt x="124" y="244"/>
                    <a:pt x="123" y="244"/>
                    <a:pt x="122" y="244"/>
                  </a:cubicBezTo>
                  <a:cubicBezTo>
                    <a:pt x="101" y="244"/>
                    <a:pt x="101" y="244"/>
                    <a:pt x="98" y="224"/>
                  </a:cubicBezTo>
                  <a:cubicBezTo>
                    <a:pt x="96" y="213"/>
                    <a:pt x="77" y="205"/>
                    <a:pt x="68" y="211"/>
                  </a:cubicBezTo>
                  <a:cubicBezTo>
                    <a:pt x="63" y="215"/>
                    <a:pt x="58" y="219"/>
                    <a:pt x="51" y="223"/>
                  </a:cubicBezTo>
                  <a:cubicBezTo>
                    <a:pt x="43" y="215"/>
                    <a:pt x="34" y="206"/>
                    <a:pt x="25" y="197"/>
                  </a:cubicBezTo>
                  <a:cubicBezTo>
                    <a:pt x="20" y="191"/>
                    <a:pt x="25" y="187"/>
                    <a:pt x="28" y="183"/>
                  </a:cubicBezTo>
                  <a:cubicBezTo>
                    <a:pt x="37" y="175"/>
                    <a:pt x="37" y="168"/>
                    <a:pt x="32" y="157"/>
                  </a:cubicBezTo>
                  <a:cubicBezTo>
                    <a:pt x="28" y="146"/>
                    <a:pt x="21" y="146"/>
                    <a:pt x="13" y="146"/>
                  </a:cubicBezTo>
                  <a:cubicBezTo>
                    <a:pt x="4" y="145"/>
                    <a:pt x="0" y="142"/>
                    <a:pt x="1" y="133"/>
                  </a:cubicBezTo>
                  <a:cubicBezTo>
                    <a:pt x="1" y="129"/>
                    <a:pt x="0" y="126"/>
                    <a:pt x="0" y="123"/>
                  </a:cubicBezTo>
                  <a:cubicBezTo>
                    <a:pt x="0" y="102"/>
                    <a:pt x="0" y="102"/>
                    <a:pt x="20" y="98"/>
                  </a:cubicBezTo>
                  <a:cubicBezTo>
                    <a:pt x="32" y="96"/>
                    <a:pt x="40" y="77"/>
                    <a:pt x="32" y="67"/>
                  </a:cubicBezTo>
                  <a:cubicBezTo>
                    <a:pt x="21" y="51"/>
                    <a:pt x="21" y="51"/>
                    <a:pt x="34" y="37"/>
                  </a:cubicBezTo>
                  <a:cubicBezTo>
                    <a:pt x="36" y="36"/>
                    <a:pt x="37" y="34"/>
                    <a:pt x="39" y="33"/>
                  </a:cubicBezTo>
                  <a:cubicBezTo>
                    <a:pt x="52" y="21"/>
                    <a:pt x="52" y="21"/>
                    <a:pt x="65" y="31"/>
                  </a:cubicBezTo>
                  <a:cubicBezTo>
                    <a:pt x="78" y="41"/>
                    <a:pt x="96" y="33"/>
                    <a:pt x="98" y="16"/>
                  </a:cubicBezTo>
                  <a:cubicBezTo>
                    <a:pt x="100" y="2"/>
                    <a:pt x="101" y="1"/>
                    <a:pt x="116" y="0"/>
                  </a:cubicBezTo>
                  <a:cubicBezTo>
                    <a:pt x="118" y="0"/>
                    <a:pt x="121" y="0"/>
                    <a:pt x="123" y="0"/>
                  </a:cubicBezTo>
                  <a:cubicBezTo>
                    <a:pt x="144" y="0"/>
                    <a:pt x="144" y="0"/>
                    <a:pt x="147" y="20"/>
                  </a:cubicBezTo>
                  <a:cubicBezTo>
                    <a:pt x="148" y="32"/>
                    <a:pt x="167" y="40"/>
                    <a:pt x="177" y="33"/>
                  </a:cubicBezTo>
                  <a:cubicBezTo>
                    <a:pt x="194" y="21"/>
                    <a:pt x="194" y="21"/>
                    <a:pt x="209" y="36"/>
                  </a:cubicBezTo>
                  <a:cubicBezTo>
                    <a:pt x="210" y="37"/>
                    <a:pt x="210" y="37"/>
                    <a:pt x="211" y="38"/>
                  </a:cubicBezTo>
                  <a:cubicBezTo>
                    <a:pt x="223" y="51"/>
                    <a:pt x="223" y="51"/>
                    <a:pt x="213" y="66"/>
                  </a:cubicBezTo>
                  <a:cubicBezTo>
                    <a:pt x="204" y="78"/>
                    <a:pt x="212" y="97"/>
                    <a:pt x="226" y="99"/>
                  </a:cubicBezTo>
                  <a:cubicBezTo>
                    <a:pt x="244" y="101"/>
                    <a:pt x="244" y="101"/>
                    <a:pt x="244" y="118"/>
                  </a:cubicBezTo>
                  <a:cubicBezTo>
                    <a:pt x="244" y="119"/>
                    <a:pt x="244" y="121"/>
                    <a:pt x="244" y="122"/>
                  </a:cubicBezTo>
                  <a:cubicBezTo>
                    <a:pt x="244" y="143"/>
                    <a:pt x="244" y="143"/>
                    <a:pt x="224" y="147"/>
                  </a:cubicBezTo>
                  <a:cubicBezTo>
                    <a:pt x="212" y="149"/>
                    <a:pt x="205" y="168"/>
                    <a:pt x="212" y="177"/>
                  </a:cubicBezTo>
                  <a:cubicBezTo>
                    <a:pt x="224" y="194"/>
                    <a:pt x="224" y="194"/>
                    <a:pt x="209" y="208"/>
                  </a:cubicBezTo>
                  <a:cubicBezTo>
                    <a:pt x="204" y="213"/>
                    <a:pt x="198" y="218"/>
                    <a:pt x="192" y="223"/>
                  </a:cubicBezTo>
                  <a:close/>
                  <a:moveTo>
                    <a:pt x="122" y="179"/>
                  </a:moveTo>
                  <a:cubicBezTo>
                    <a:pt x="153" y="179"/>
                    <a:pt x="179" y="153"/>
                    <a:pt x="179" y="122"/>
                  </a:cubicBezTo>
                  <a:cubicBezTo>
                    <a:pt x="179" y="91"/>
                    <a:pt x="153" y="66"/>
                    <a:pt x="122" y="66"/>
                  </a:cubicBezTo>
                  <a:cubicBezTo>
                    <a:pt x="91" y="65"/>
                    <a:pt x="65" y="91"/>
                    <a:pt x="65" y="122"/>
                  </a:cubicBezTo>
                  <a:cubicBezTo>
                    <a:pt x="65" y="153"/>
                    <a:pt x="91" y="179"/>
                    <a:pt x="122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79B2F337-778B-4DD0-B4F9-A5C65B72E341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610268" y="2835179"/>
              <a:ext cx="74022" cy="75970"/>
            </a:xfrm>
            <a:custGeom>
              <a:avLst/>
              <a:gdLst>
                <a:gd name="T0" fmla="*/ 37 w 37"/>
                <a:gd name="T1" fmla="*/ 20 h 38"/>
                <a:gd name="T2" fmla="*/ 18 w 37"/>
                <a:gd name="T3" fmla="*/ 38 h 38"/>
                <a:gd name="T4" fmla="*/ 0 w 37"/>
                <a:gd name="T5" fmla="*/ 19 h 38"/>
                <a:gd name="T6" fmla="*/ 18 w 37"/>
                <a:gd name="T7" fmla="*/ 0 h 38"/>
                <a:gd name="T8" fmla="*/ 37 w 37"/>
                <a:gd name="T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37" y="20"/>
                  </a:moveTo>
                  <a:cubicBezTo>
                    <a:pt x="37" y="29"/>
                    <a:pt x="28" y="38"/>
                    <a:pt x="18" y="38"/>
                  </a:cubicBez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C11806E0-10DC-4BF7-8F28-704864BD2F07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2054254" y="3300532"/>
              <a:ext cx="75970" cy="75970"/>
            </a:xfrm>
            <a:custGeom>
              <a:avLst/>
              <a:gdLst>
                <a:gd name="T0" fmla="*/ 38 w 38"/>
                <a:gd name="T1" fmla="*/ 18 h 38"/>
                <a:gd name="T2" fmla="*/ 20 w 38"/>
                <a:gd name="T3" fmla="*/ 37 h 38"/>
                <a:gd name="T4" fmla="*/ 0 w 38"/>
                <a:gd name="T5" fmla="*/ 18 h 38"/>
                <a:gd name="T6" fmla="*/ 19 w 38"/>
                <a:gd name="T7" fmla="*/ 0 h 38"/>
                <a:gd name="T8" fmla="*/ 38 w 38"/>
                <a:gd name="T9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18"/>
                  </a:moveTo>
                  <a:cubicBezTo>
                    <a:pt x="38" y="28"/>
                    <a:pt x="30" y="37"/>
                    <a:pt x="20" y="37"/>
                  </a:cubicBezTo>
                  <a:cubicBezTo>
                    <a:pt x="9" y="38"/>
                    <a:pt x="0" y="29"/>
                    <a:pt x="0" y="18"/>
                  </a:cubicBezTo>
                  <a:cubicBezTo>
                    <a:pt x="1" y="8"/>
                    <a:pt x="9" y="0"/>
                    <a:pt x="19" y="0"/>
                  </a:cubicBezTo>
                  <a:cubicBezTo>
                    <a:pt x="29" y="0"/>
                    <a:pt x="38" y="8"/>
                    <a:pt x="38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2DB07CA2-2777-47C0-8978-6EEDD1E6EC1A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347234" y="2902075"/>
              <a:ext cx="74022" cy="72075"/>
            </a:xfrm>
            <a:custGeom>
              <a:avLst/>
              <a:gdLst>
                <a:gd name="T0" fmla="*/ 37 w 37"/>
                <a:gd name="T1" fmla="*/ 18 h 37"/>
                <a:gd name="T2" fmla="*/ 19 w 37"/>
                <a:gd name="T3" fmla="*/ 37 h 37"/>
                <a:gd name="T4" fmla="*/ 0 w 37"/>
                <a:gd name="T5" fmla="*/ 18 h 37"/>
                <a:gd name="T6" fmla="*/ 19 w 37"/>
                <a:gd name="T7" fmla="*/ 0 h 37"/>
                <a:gd name="T8" fmla="*/ 37 w 37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8"/>
                  </a:moveTo>
                  <a:cubicBezTo>
                    <a:pt x="37" y="28"/>
                    <a:pt x="29" y="37"/>
                    <a:pt x="19" y="37"/>
                  </a:cubicBezTo>
                  <a:cubicBezTo>
                    <a:pt x="9" y="37"/>
                    <a:pt x="0" y="2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8F3CF8CB-1E15-4DA3-A06B-7BCEA1D74D13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214677" y="2932602"/>
              <a:ext cx="75970" cy="74022"/>
            </a:xfrm>
            <a:custGeom>
              <a:avLst/>
              <a:gdLst>
                <a:gd name="T0" fmla="*/ 38 w 38"/>
                <a:gd name="T1" fmla="*/ 19 h 38"/>
                <a:gd name="T2" fmla="*/ 20 w 38"/>
                <a:gd name="T3" fmla="*/ 37 h 38"/>
                <a:gd name="T4" fmla="*/ 1 w 38"/>
                <a:gd name="T5" fmla="*/ 19 h 38"/>
                <a:gd name="T6" fmla="*/ 18 w 38"/>
                <a:gd name="T7" fmla="*/ 0 h 38"/>
                <a:gd name="T8" fmla="*/ 38 w 38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19"/>
                  </a:moveTo>
                  <a:cubicBezTo>
                    <a:pt x="38" y="29"/>
                    <a:pt x="30" y="37"/>
                    <a:pt x="20" y="37"/>
                  </a:cubicBezTo>
                  <a:cubicBezTo>
                    <a:pt x="9" y="38"/>
                    <a:pt x="0" y="29"/>
                    <a:pt x="1" y="19"/>
                  </a:cubicBezTo>
                  <a:cubicBezTo>
                    <a:pt x="1" y="9"/>
                    <a:pt x="9" y="1"/>
                    <a:pt x="18" y="0"/>
                  </a:cubicBezTo>
                  <a:cubicBezTo>
                    <a:pt x="29" y="0"/>
                    <a:pt x="38" y="9"/>
                    <a:pt x="3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B66CF79F-4914-4926-8A7E-8DB4221AECD5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2022199" y="3431669"/>
              <a:ext cx="74022" cy="74022"/>
            </a:xfrm>
            <a:custGeom>
              <a:avLst/>
              <a:gdLst>
                <a:gd name="T0" fmla="*/ 19 w 38"/>
                <a:gd name="T1" fmla="*/ 37 h 37"/>
                <a:gd name="T2" fmla="*/ 0 w 38"/>
                <a:gd name="T3" fmla="*/ 19 h 37"/>
                <a:gd name="T4" fmla="*/ 19 w 38"/>
                <a:gd name="T5" fmla="*/ 0 h 37"/>
                <a:gd name="T6" fmla="*/ 38 w 38"/>
                <a:gd name="T7" fmla="*/ 18 h 37"/>
                <a:gd name="T8" fmla="*/ 19 w 38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19" y="37"/>
                  </a:moveTo>
                  <a:cubicBezTo>
                    <a:pt x="9" y="37"/>
                    <a:pt x="1" y="2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ubicBezTo>
                    <a:pt x="29" y="0"/>
                    <a:pt x="38" y="8"/>
                    <a:pt x="38" y="18"/>
                  </a:cubicBezTo>
                  <a:cubicBezTo>
                    <a:pt x="38" y="29"/>
                    <a:pt x="30" y="37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9EEE3F08-8CC6-4D34-9EF7-1F33517CD3B1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083535" y="3609525"/>
              <a:ext cx="72075" cy="74022"/>
            </a:xfrm>
            <a:custGeom>
              <a:avLst/>
              <a:gdLst>
                <a:gd name="T0" fmla="*/ 18 w 36"/>
                <a:gd name="T1" fmla="*/ 0 h 38"/>
                <a:gd name="T2" fmla="*/ 36 w 36"/>
                <a:gd name="T3" fmla="*/ 19 h 38"/>
                <a:gd name="T4" fmla="*/ 18 w 36"/>
                <a:gd name="T5" fmla="*/ 38 h 38"/>
                <a:gd name="T6" fmla="*/ 0 w 36"/>
                <a:gd name="T7" fmla="*/ 19 h 38"/>
                <a:gd name="T8" fmla="*/ 18 w 36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8">
                  <a:moveTo>
                    <a:pt x="18" y="0"/>
                  </a:moveTo>
                  <a:cubicBezTo>
                    <a:pt x="28" y="0"/>
                    <a:pt x="36" y="9"/>
                    <a:pt x="36" y="19"/>
                  </a:cubicBezTo>
                  <a:cubicBezTo>
                    <a:pt x="36" y="29"/>
                    <a:pt x="29" y="37"/>
                    <a:pt x="18" y="38"/>
                  </a:cubicBezTo>
                  <a:cubicBezTo>
                    <a:pt x="8" y="38"/>
                    <a:pt x="0" y="30"/>
                    <a:pt x="0" y="19"/>
                  </a:cubicBezTo>
                  <a:cubicBezTo>
                    <a:pt x="0" y="8"/>
                    <a:pt x="8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7B4B54CF-64C8-4836-9913-0147E1CFB989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396088" y="3867182"/>
              <a:ext cx="74022" cy="74022"/>
            </a:xfrm>
            <a:custGeom>
              <a:avLst/>
              <a:gdLst>
                <a:gd name="T0" fmla="*/ 18 w 37"/>
                <a:gd name="T1" fmla="*/ 37 h 37"/>
                <a:gd name="T2" fmla="*/ 0 w 37"/>
                <a:gd name="T3" fmla="*/ 19 h 37"/>
                <a:gd name="T4" fmla="*/ 17 w 37"/>
                <a:gd name="T5" fmla="*/ 1 h 37"/>
                <a:gd name="T6" fmla="*/ 37 w 37"/>
                <a:gd name="T7" fmla="*/ 19 h 37"/>
                <a:gd name="T8" fmla="*/ 18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8" y="37"/>
                  </a:moveTo>
                  <a:cubicBezTo>
                    <a:pt x="7" y="37"/>
                    <a:pt x="0" y="30"/>
                    <a:pt x="0" y="19"/>
                  </a:cubicBezTo>
                  <a:cubicBezTo>
                    <a:pt x="0" y="8"/>
                    <a:pt x="7" y="1"/>
                    <a:pt x="17" y="1"/>
                  </a:cubicBezTo>
                  <a:cubicBezTo>
                    <a:pt x="28" y="0"/>
                    <a:pt x="37" y="8"/>
                    <a:pt x="37" y="19"/>
                  </a:cubicBezTo>
                  <a:cubicBezTo>
                    <a:pt x="37" y="29"/>
                    <a:pt x="28" y="37"/>
                    <a:pt x="1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AC20FFFF-94CA-48F3-B1D1-F8CD6EB3D24C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874561" y="3438403"/>
              <a:ext cx="72075" cy="74022"/>
            </a:xfrm>
            <a:custGeom>
              <a:avLst/>
              <a:gdLst>
                <a:gd name="T0" fmla="*/ 37 w 37"/>
                <a:gd name="T1" fmla="*/ 19 h 37"/>
                <a:gd name="T2" fmla="*/ 19 w 37"/>
                <a:gd name="T3" fmla="*/ 37 h 37"/>
                <a:gd name="T4" fmla="*/ 0 w 37"/>
                <a:gd name="T5" fmla="*/ 18 h 37"/>
                <a:gd name="T6" fmla="*/ 19 w 37"/>
                <a:gd name="T7" fmla="*/ 0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7" y="29"/>
                    <a:pt x="29" y="37"/>
                    <a:pt x="19" y="37"/>
                  </a:cubicBezTo>
                  <a:cubicBezTo>
                    <a:pt x="8" y="37"/>
                    <a:pt x="0" y="29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7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917829CA-1126-4BE6-A0C6-7B9ABD12E48B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187116" y="3696124"/>
              <a:ext cx="72075" cy="74022"/>
            </a:xfrm>
            <a:custGeom>
              <a:avLst/>
              <a:gdLst>
                <a:gd name="T0" fmla="*/ 37 w 37"/>
                <a:gd name="T1" fmla="*/ 19 h 38"/>
                <a:gd name="T2" fmla="*/ 19 w 37"/>
                <a:gd name="T3" fmla="*/ 38 h 38"/>
                <a:gd name="T4" fmla="*/ 0 w 37"/>
                <a:gd name="T5" fmla="*/ 19 h 38"/>
                <a:gd name="T6" fmla="*/ 19 w 37"/>
                <a:gd name="T7" fmla="*/ 0 h 38"/>
                <a:gd name="T8" fmla="*/ 37 w 37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37" y="19"/>
                  </a:moveTo>
                  <a:cubicBezTo>
                    <a:pt x="37" y="29"/>
                    <a:pt x="29" y="38"/>
                    <a:pt x="19" y="38"/>
                  </a:cubicBezTo>
                  <a:cubicBezTo>
                    <a:pt x="9" y="38"/>
                    <a:pt x="0" y="29"/>
                    <a:pt x="0" y="19"/>
                  </a:cubicBezTo>
                  <a:cubicBezTo>
                    <a:pt x="1" y="8"/>
                    <a:pt x="8" y="0"/>
                    <a:pt x="19" y="0"/>
                  </a:cubicBezTo>
                  <a:cubicBezTo>
                    <a:pt x="29" y="0"/>
                    <a:pt x="37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9329DD7-4995-4072-8183-51F5106FFBF4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740879" y="2804719"/>
              <a:ext cx="74022" cy="74022"/>
            </a:xfrm>
            <a:custGeom>
              <a:avLst/>
              <a:gdLst>
                <a:gd name="T0" fmla="*/ 37 w 37"/>
                <a:gd name="T1" fmla="*/ 18 h 37"/>
                <a:gd name="T2" fmla="*/ 19 w 37"/>
                <a:gd name="T3" fmla="*/ 37 h 37"/>
                <a:gd name="T4" fmla="*/ 0 w 37"/>
                <a:gd name="T5" fmla="*/ 19 h 37"/>
                <a:gd name="T6" fmla="*/ 19 w 37"/>
                <a:gd name="T7" fmla="*/ 0 h 37"/>
                <a:gd name="T8" fmla="*/ 37 w 37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8"/>
                  </a:moveTo>
                  <a:cubicBezTo>
                    <a:pt x="37" y="29"/>
                    <a:pt x="29" y="37"/>
                    <a:pt x="19" y="37"/>
                  </a:cubicBezTo>
                  <a:cubicBezTo>
                    <a:pt x="9" y="37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BC2F4365-8043-40B0-B259-5CAC9D351E3D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2088125" y="3169399"/>
              <a:ext cx="74022" cy="74022"/>
            </a:xfrm>
            <a:custGeom>
              <a:avLst/>
              <a:gdLst>
                <a:gd name="T0" fmla="*/ 36 w 37"/>
                <a:gd name="T1" fmla="*/ 18 h 37"/>
                <a:gd name="T2" fmla="*/ 18 w 37"/>
                <a:gd name="T3" fmla="*/ 37 h 37"/>
                <a:gd name="T4" fmla="*/ 0 w 37"/>
                <a:gd name="T5" fmla="*/ 18 h 37"/>
                <a:gd name="T6" fmla="*/ 18 w 37"/>
                <a:gd name="T7" fmla="*/ 0 h 37"/>
                <a:gd name="T8" fmla="*/ 36 w 37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6" y="18"/>
                  </a:moveTo>
                  <a:cubicBezTo>
                    <a:pt x="37" y="29"/>
                    <a:pt x="28" y="37"/>
                    <a:pt x="18" y="37"/>
                  </a:cubicBezTo>
                  <a:cubicBezTo>
                    <a:pt x="8" y="37"/>
                    <a:pt x="0" y="29"/>
                    <a:pt x="0" y="18"/>
                  </a:cubicBezTo>
                  <a:cubicBezTo>
                    <a:pt x="0" y="8"/>
                    <a:pt x="7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79757B76-C948-4759-A5E6-F25DE077AC38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956269" y="3691924"/>
              <a:ext cx="75970" cy="77918"/>
            </a:xfrm>
            <a:custGeom>
              <a:avLst/>
              <a:gdLst>
                <a:gd name="T0" fmla="*/ 21 w 38"/>
                <a:gd name="T1" fmla="*/ 1 h 39"/>
                <a:gd name="T2" fmla="*/ 37 w 38"/>
                <a:gd name="T3" fmla="*/ 21 h 39"/>
                <a:gd name="T4" fmla="*/ 18 w 38"/>
                <a:gd name="T5" fmla="*/ 38 h 39"/>
                <a:gd name="T6" fmla="*/ 1 w 38"/>
                <a:gd name="T7" fmla="*/ 18 h 39"/>
                <a:gd name="T8" fmla="*/ 21 w 38"/>
                <a:gd name="T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1" y="1"/>
                  </a:moveTo>
                  <a:cubicBezTo>
                    <a:pt x="31" y="2"/>
                    <a:pt x="38" y="10"/>
                    <a:pt x="37" y="21"/>
                  </a:cubicBezTo>
                  <a:cubicBezTo>
                    <a:pt x="37" y="31"/>
                    <a:pt x="28" y="39"/>
                    <a:pt x="18" y="38"/>
                  </a:cubicBezTo>
                  <a:cubicBezTo>
                    <a:pt x="7" y="37"/>
                    <a:pt x="0" y="29"/>
                    <a:pt x="1" y="18"/>
                  </a:cubicBezTo>
                  <a:cubicBezTo>
                    <a:pt x="2" y="7"/>
                    <a:pt x="10" y="0"/>
                    <a:pt x="2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3BC3B772-4DB4-4436-A05E-DAF79D198B29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953524" y="2995539"/>
              <a:ext cx="74022" cy="75970"/>
            </a:xfrm>
            <a:custGeom>
              <a:avLst/>
              <a:gdLst>
                <a:gd name="T0" fmla="*/ 18 w 37"/>
                <a:gd name="T1" fmla="*/ 0 h 38"/>
                <a:gd name="T2" fmla="*/ 37 w 37"/>
                <a:gd name="T3" fmla="*/ 19 h 38"/>
                <a:gd name="T4" fmla="*/ 18 w 37"/>
                <a:gd name="T5" fmla="*/ 38 h 38"/>
                <a:gd name="T6" fmla="*/ 0 w 37"/>
                <a:gd name="T7" fmla="*/ 19 h 38"/>
                <a:gd name="T8" fmla="*/ 18 w 3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18" y="0"/>
                  </a:moveTo>
                  <a:cubicBezTo>
                    <a:pt x="29" y="0"/>
                    <a:pt x="37" y="8"/>
                    <a:pt x="37" y="19"/>
                  </a:cubicBezTo>
                  <a:cubicBezTo>
                    <a:pt x="37" y="30"/>
                    <a:pt x="29" y="38"/>
                    <a:pt x="18" y="38"/>
                  </a:cubicBezTo>
                  <a:cubicBezTo>
                    <a:pt x="8" y="38"/>
                    <a:pt x="0" y="30"/>
                    <a:pt x="0" y="19"/>
                  </a:cubicBezTo>
                  <a:cubicBezTo>
                    <a:pt x="0" y="9"/>
                    <a:pt x="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F9520776-FB6C-48B2-B852-16AF0A780237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988328" y="3562801"/>
              <a:ext cx="75970" cy="75970"/>
            </a:xfrm>
            <a:custGeom>
              <a:avLst/>
              <a:gdLst>
                <a:gd name="T0" fmla="*/ 20 w 38"/>
                <a:gd name="T1" fmla="*/ 0 h 38"/>
                <a:gd name="T2" fmla="*/ 37 w 38"/>
                <a:gd name="T3" fmla="*/ 20 h 38"/>
                <a:gd name="T4" fmla="*/ 17 w 38"/>
                <a:gd name="T5" fmla="*/ 37 h 38"/>
                <a:gd name="T6" fmla="*/ 1 w 38"/>
                <a:gd name="T7" fmla="*/ 17 h 38"/>
                <a:gd name="T8" fmla="*/ 20 w 38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cubicBezTo>
                    <a:pt x="31" y="1"/>
                    <a:pt x="38" y="9"/>
                    <a:pt x="37" y="20"/>
                  </a:cubicBezTo>
                  <a:cubicBezTo>
                    <a:pt x="37" y="30"/>
                    <a:pt x="28" y="38"/>
                    <a:pt x="17" y="37"/>
                  </a:cubicBezTo>
                  <a:cubicBezTo>
                    <a:pt x="7" y="36"/>
                    <a:pt x="0" y="28"/>
                    <a:pt x="1" y="17"/>
                  </a:cubicBezTo>
                  <a:cubicBezTo>
                    <a:pt x="2" y="6"/>
                    <a:pt x="10" y="0"/>
                    <a:pt x="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21B78AFE-414D-4AEA-A9DD-CF7443CBF00D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290562" y="3780716"/>
              <a:ext cx="74022" cy="74022"/>
            </a:xfrm>
            <a:custGeom>
              <a:avLst/>
              <a:gdLst>
                <a:gd name="T0" fmla="*/ 37 w 37"/>
                <a:gd name="T1" fmla="*/ 20 h 37"/>
                <a:gd name="T2" fmla="*/ 18 w 37"/>
                <a:gd name="T3" fmla="*/ 37 h 37"/>
                <a:gd name="T4" fmla="*/ 0 w 37"/>
                <a:gd name="T5" fmla="*/ 19 h 37"/>
                <a:gd name="T6" fmla="*/ 19 w 37"/>
                <a:gd name="T7" fmla="*/ 1 h 37"/>
                <a:gd name="T8" fmla="*/ 37 w 3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20"/>
                  </a:moveTo>
                  <a:cubicBezTo>
                    <a:pt x="36" y="30"/>
                    <a:pt x="28" y="37"/>
                    <a:pt x="18" y="37"/>
                  </a:cubicBezTo>
                  <a:cubicBezTo>
                    <a:pt x="7" y="37"/>
                    <a:pt x="0" y="29"/>
                    <a:pt x="0" y="19"/>
                  </a:cubicBezTo>
                  <a:cubicBezTo>
                    <a:pt x="0" y="8"/>
                    <a:pt x="8" y="0"/>
                    <a:pt x="19" y="1"/>
                  </a:cubicBezTo>
                  <a:cubicBezTo>
                    <a:pt x="30" y="1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88A7E763-2F09-4ED0-A546-852EB875B618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477712" y="2867723"/>
              <a:ext cx="74022" cy="74022"/>
            </a:xfrm>
            <a:custGeom>
              <a:avLst/>
              <a:gdLst>
                <a:gd name="T0" fmla="*/ 37 w 37"/>
                <a:gd name="T1" fmla="*/ 19 h 37"/>
                <a:gd name="T2" fmla="*/ 19 w 37"/>
                <a:gd name="T3" fmla="*/ 37 h 37"/>
                <a:gd name="T4" fmla="*/ 1 w 37"/>
                <a:gd name="T5" fmla="*/ 18 h 37"/>
                <a:gd name="T6" fmla="*/ 20 w 37"/>
                <a:gd name="T7" fmla="*/ 1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7" y="30"/>
                    <a:pt x="29" y="37"/>
                    <a:pt x="19" y="37"/>
                  </a:cubicBezTo>
                  <a:cubicBezTo>
                    <a:pt x="8" y="37"/>
                    <a:pt x="0" y="29"/>
                    <a:pt x="1" y="18"/>
                  </a:cubicBezTo>
                  <a:cubicBezTo>
                    <a:pt x="1" y="7"/>
                    <a:pt x="9" y="0"/>
                    <a:pt x="20" y="1"/>
                  </a:cubicBezTo>
                  <a:cubicBezTo>
                    <a:pt x="30" y="1"/>
                    <a:pt x="37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7169CF06-548A-4C54-B566-B62E8BFF7509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1084135" y="2965076"/>
              <a:ext cx="74022" cy="74022"/>
            </a:xfrm>
            <a:custGeom>
              <a:avLst/>
              <a:gdLst>
                <a:gd name="T0" fmla="*/ 19 w 37"/>
                <a:gd name="T1" fmla="*/ 0 h 37"/>
                <a:gd name="T2" fmla="*/ 37 w 37"/>
                <a:gd name="T3" fmla="*/ 19 h 37"/>
                <a:gd name="T4" fmla="*/ 18 w 37"/>
                <a:gd name="T5" fmla="*/ 37 h 37"/>
                <a:gd name="T6" fmla="*/ 1 w 37"/>
                <a:gd name="T7" fmla="*/ 18 h 37"/>
                <a:gd name="T8" fmla="*/ 19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9" y="0"/>
                  </a:moveTo>
                  <a:cubicBezTo>
                    <a:pt x="30" y="1"/>
                    <a:pt x="37" y="8"/>
                    <a:pt x="37" y="19"/>
                  </a:cubicBezTo>
                  <a:cubicBezTo>
                    <a:pt x="37" y="30"/>
                    <a:pt x="29" y="37"/>
                    <a:pt x="18" y="37"/>
                  </a:cubicBezTo>
                  <a:cubicBezTo>
                    <a:pt x="7" y="36"/>
                    <a:pt x="0" y="28"/>
                    <a:pt x="1" y="18"/>
                  </a:cubicBezTo>
                  <a:cubicBezTo>
                    <a:pt x="1" y="7"/>
                    <a:pt x="9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56926156-12B4-431A-82C3-43DEC5243594}"/>
                </a:ext>
              </a:extLst>
            </p:cNvPr>
            <p:cNvSpPr>
              <a:spLocks/>
            </p:cNvSpPr>
            <p:nvPr/>
          </p:nvSpPr>
          <p:spPr bwMode="auto">
            <a:xfrm rot="21363997">
              <a:off x="978075" y="3522988"/>
              <a:ext cx="74022" cy="75970"/>
            </a:xfrm>
            <a:custGeom>
              <a:avLst/>
              <a:gdLst>
                <a:gd name="T0" fmla="*/ 19 w 37"/>
                <a:gd name="T1" fmla="*/ 0 h 38"/>
                <a:gd name="T2" fmla="*/ 37 w 37"/>
                <a:gd name="T3" fmla="*/ 19 h 38"/>
                <a:gd name="T4" fmla="*/ 18 w 37"/>
                <a:gd name="T5" fmla="*/ 38 h 38"/>
                <a:gd name="T6" fmla="*/ 0 w 37"/>
                <a:gd name="T7" fmla="*/ 19 h 38"/>
                <a:gd name="T8" fmla="*/ 19 w 3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19" y="0"/>
                  </a:moveTo>
                  <a:cubicBezTo>
                    <a:pt x="29" y="1"/>
                    <a:pt x="37" y="9"/>
                    <a:pt x="37" y="19"/>
                  </a:cubicBezTo>
                  <a:cubicBezTo>
                    <a:pt x="37" y="30"/>
                    <a:pt x="28" y="38"/>
                    <a:pt x="18" y="38"/>
                  </a:cubicBezTo>
                  <a:cubicBezTo>
                    <a:pt x="7" y="37"/>
                    <a:pt x="0" y="2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74" name="myP_People">
            <a:extLst>
              <a:ext uri="{FF2B5EF4-FFF2-40B4-BE49-F238E27FC236}">
                <a16:creationId xmlns:a16="http://schemas.microsoft.com/office/drawing/2014/main" id="{97D7C904-D2C7-451E-8517-2E956B9E664F}"/>
              </a:ext>
            </a:extLst>
          </p:cNvPr>
          <p:cNvGrpSpPr>
            <a:grpSpLocks noChangeAspect="1"/>
          </p:cNvGrpSpPr>
          <p:nvPr/>
        </p:nvGrpSpPr>
        <p:grpSpPr>
          <a:xfrm>
            <a:off x="2468475" y="2617555"/>
            <a:ext cx="482491" cy="462604"/>
            <a:chOff x="12639675" y="5376863"/>
            <a:chExt cx="731838" cy="701675"/>
          </a:xfrm>
          <a:solidFill>
            <a:schemeClr val="tx1"/>
          </a:solidFill>
        </p:grpSpPr>
        <p:sp>
          <p:nvSpPr>
            <p:cNvPr id="75" name="Freeform 118">
              <a:extLst>
                <a:ext uri="{FF2B5EF4-FFF2-40B4-BE49-F238E27FC236}">
                  <a16:creationId xmlns:a16="http://schemas.microsoft.com/office/drawing/2014/main" id="{F226CB19-7C4C-4152-A191-3E3FA7266E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47613" y="5411788"/>
              <a:ext cx="325438" cy="474662"/>
            </a:xfrm>
            <a:custGeom>
              <a:avLst/>
              <a:gdLst>
                <a:gd name="T0" fmla="*/ 16 w 261"/>
                <a:gd name="T1" fmla="*/ 0 h 381"/>
                <a:gd name="T2" fmla="*/ 0 w 261"/>
                <a:gd name="T3" fmla="*/ 16 h 381"/>
                <a:gd name="T4" fmla="*/ 0 w 261"/>
                <a:gd name="T5" fmla="*/ 333 h 381"/>
                <a:gd name="T6" fmla="*/ 16 w 261"/>
                <a:gd name="T7" fmla="*/ 349 h 381"/>
                <a:gd name="T8" fmla="*/ 63 w 261"/>
                <a:gd name="T9" fmla="*/ 349 h 381"/>
                <a:gd name="T10" fmla="*/ 110 w 261"/>
                <a:gd name="T11" fmla="*/ 381 h 381"/>
                <a:gd name="T12" fmla="*/ 157 w 261"/>
                <a:gd name="T13" fmla="*/ 349 h 381"/>
                <a:gd name="T14" fmla="*/ 245 w 261"/>
                <a:gd name="T15" fmla="*/ 349 h 381"/>
                <a:gd name="T16" fmla="*/ 261 w 261"/>
                <a:gd name="T17" fmla="*/ 333 h 381"/>
                <a:gd name="T18" fmla="*/ 261 w 261"/>
                <a:gd name="T19" fmla="*/ 16 h 381"/>
                <a:gd name="T20" fmla="*/ 245 w 261"/>
                <a:gd name="T21" fmla="*/ 0 h 381"/>
                <a:gd name="T22" fmla="*/ 16 w 261"/>
                <a:gd name="T23" fmla="*/ 0 h 381"/>
                <a:gd name="T24" fmla="*/ 229 w 261"/>
                <a:gd name="T25" fmla="*/ 317 h 381"/>
                <a:gd name="T26" fmla="*/ 158 w 261"/>
                <a:gd name="T27" fmla="*/ 317 h 381"/>
                <a:gd name="T28" fmla="*/ 110 w 261"/>
                <a:gd name="T29" fmla="*/ 280 h 381"/>
                <a:gd name="T30" fmla="*/ 61 w 261"/>
                <a:gd name="T31" fmla="*/ 317 h 381"/>
                <a:gd name="T32" fmla="*/ 32 w 261"/>
                <a:gd name="T33" fmla="*/ 317 h 381"/>
                <a:gd name="T34" fmla="*/ 32 w 261"/>
                <a:gd name="T35" fmla="*/ 32 h 381"/>
                <a:gd name="T36" fmla="*/ 229 w 261"/>
                <a:gd name="T37" fmla="*/ 32 h 381"/>
                <a:gd name="T38" fmla="*/ 229 w 261"/>
                <a:gd name="T39" fmla="*/ 317 h 381"/>
                <a:gd name="T40" fmla="*/ 111 w 261"/>
                <a:gd name="T41" fmla="*/ 349 h 381"/>
                <a:gd name="T42" fmla="*/ 110 w 261"/>
                <a:gd name="T43" fmla="*/ 349 h 381"/>
                <a:gd name="T44" fmla="*/ 108 w 261"/>
                <a:gd name="T45" fmla="*/ 349 h 381"/>
                <a:gd name="T46" fmla="*/ 92 w 261"/>
                <a:gd name="T47" fmla="*/ 333 h 381"/>
                <a:gd name="T48" fmla="*/ 91 w 261"/>
                <a:gd name="T49" fmla="*/ 331 h 381"/>
                <a:gd name="T50" fmla="*/ 97 w 261"/>
                <a:gd name="T51" fmla="*/ 317 h 381"/>
                <a:gd name="T52" fmla="*/ 110 w 261"/>
                <a:gd name="T53" fmla="*/ 312 h 381"/>
                <a:gd name="T54" fmla="*/ 122 w 261"/>
                <a:gd name="T55" fmla="*/ 317 h 381"/>
                <a:gd name="T56" fmla="*/ 128 w 261"/>
                <a:gd name="T57" fmla="*/ 331 h 381"/>
                <a:gd name="T58" fmla="*/ 128 w 261"/>
                <a:gd name="T59" fmla="*/ 333 h 381"/>
                <a:gd name="T60" fmla="*/ 111 w 261"/>
                <a:gd name="T61" fmla="*/ 34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1" h="381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42"/>
                    <a:pt x="7" y="349"/>
                    <a:pt x="16" y="349"/>
                  </a:cubicBezTo>
                  <a:cubicBezTo>
                    <a:pt x="63" y="349"/>
                    <a:pt x="63" y="349"/>
                    <a:pt x="63" y="349"/>
                  </a:cubicBezTo>
                  <a:cubicBezTo>
                    <a:pt x="70" y="368"/>
                    <a:pt x="88" y="381"/>
                    <a:pt x="110" y="381"/>
                  </a:cubicBezTo>
                  <a:cubicBezTo>
                    <a:pt x="131" y="381"/>
                    <a:pt x="149" y="368"/>
                    <a:pt x="157" y="349"/>
                  </a:cubicBezTo>
                  <a:cubicBezTo>
                    <a:pt x="245" y="349"/>
                    <a:pt x="245" y="349"/>
                    <a:pt x="245" y="349"/>
                  </a:cubicBezTo>
                  <a:cubicBezTo>
                    <a:pt x="254" y="349"/>
                    <a:pt x="261" y="342"/>
                    <a:pt x="261" y="333"/>
                  </a:cubicBezTo>
                  <a:cubicBezTo>
                    <a:pt x="261" y="16"/>
                    <a:pt x="261" y="16"/>
                    <a:pt x="261" y="16"/>
                  </a:cubicBezTo>
                  <a:cubicBezTo>
                    <a:pt x="261" y="7"/>
                    <a:pt x="254" y="0"/>
                    <a:pt x="245" y="0"/>
                  </a:cubicBezTo>
                  <a:lnTo>
                    <a:pt x="16" y="0"/>
                  </a:lnTo>
                  <a:close/>
                  <a:moveTo>
                    <a:pt x="229" y="317"/>
                  </a:moveTo>
                  <a:cubicBezTo>
                    <a:pt x="158" y="317"/>
                    <a:pt x="158" y="317"/>
                    <a:pt x="158" y="317"/>
                  </a:cubicBezTo>
                  <a:cubicBezTo>
                    <a:pt x="152" y="296"/>
                    <a:pt x="133" y="280"/>
                    <a:pt x="110" y="280"/>
                  </a:cubicBezTo>
                  <a:cubicBezTo>
                    <a:pt x="87" y="280"/>
                    <a:pt x="67" y="296"/>
                    <a:pt x="61" y="317"/>
                  </a:cubicBezTo>
                  <a:cubicBezTo>
                    <a:pt x="32" y="317"/>
                    <a:pt x="32" y="317"/>
                    <a:pt x="32" y="3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29" y="32"/>
                    <a:pt x="229" y="32"/>
                    <a:pt x="229" y="32"/>
                  </a:cubicBezTo>
                  <a:lnTo>
                    <a:pt x="229" y="317"/>
                  </a:lnTo>
                  <a:close/>
                  <a:moveTo>
                    <a:pt x="111" y="349"/>
                  </a:moveTo>
                  <a:cubicBezTo>
                    <a:pt x="111" y="349"/>
                    <a:pt x="110" y="349"/>
                    <a:pt x="110" y="349"/>
                  </a:cubicBezTo>
                  <a:cubicBezTo>
                    <a:pt x="109" y="349"/>
                    <a:pt x="109" y="349"/>
                    <a:pt x="108" y="349"/>
                  </a:cubicBezTo>
                  <a:cubicBezTo>
                    <a:pt x="100" y="348"/>
                    <a:pt x="93" y="342"/>
                    <a:pt x="92" y="333"/>
                  </a:cubicBezTo>
                  <a:cubicBezTo>
                    <a:pt x="91" y="332"/>
                    <a:pt x="91" y="332"/>
                    <a:pt x="91" y="331"/>
                  </a:cubicBezTo>
                  <a:cubicBezTo>
                    <a:pt x="91" y="325"/>
                    <a:pt x="94" y="321"/>
                    <a:pt x="97" y="317"/>
                  </a:cubicBezTo>
                  <a:cubicBezTo>
                    <a:pt x="101" y="314"/>
                    <a:pt x="105" y="312"/>
                    <a:pt x="110" y="312"/>
                  </a:cubicBezTo>
                  <a:cubicBezTo>
                    <a:pt x="115" y="312"/>
                    <a:pt x="119" y="314"/>
                    <a:pt x="122" y="317"/>
                  </a:cubicBezTo>
                  <a:cubicBezTo>
                    <a:pt x="126" y="321"/>
                    <a:pt x="128" y="325"/>
                    <a:pt x="128" y="331"/>
                  </a:cubicBezTo>
                  <a:cubicBezTo>
                    <a:pt x="128" y="332"/>
                    <a:pt x="128" y="332"/>
                    <a:pt x="128" y="333"/>
                  </a:cubicBezTo>
                  <a:cubicBezTo>
                    <a:pt x="127" y="342"/>
                    <a:pt x="120" y="348"/>
                    <a:pt x="111" y="3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76" name="Freeform 119">
              <a:extLst>
                <a:ext uri="{FF2B5EF4-FFF2-40B4-BE49-F238E27FC236}">
                  <a16:creationId xmlns:a16="http://schemas.microsoft.com/office/drawing/2014/main" id="{AD693A95-622F-4725-B35F-76F51C68A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481638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8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77" name="Freeform 120">
              <a:extLst>
                <a:ext uri="{FF2B5EF4-FFF2-40B4-BE49-F238E27FC236}">
                  <a16:creationId xmlns:a16="http://schemas.microsoft.com/office/drawing/2014/main" id="{F718A63A-AAC1-44D8-B08E-C72734731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538788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78" name="Freeform 121">
              <a:extLst>
                <a:ext uri="{FF2B5EF4-FFF2-40B4-BE49-F238E27FC236}">
                  <a16:creationId xmlns:a16="http://schemas.microsoft.com/office/drawing/2014/main" id="{EF40A4B8-67DB-45E3-A32A-0CC013167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648325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4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79" name="Freeform 122">
              <a:extLst>
                <a:ext uri="{FF2B5EF4-FFF2-40B4-BE49-F238E27FC236}">
                  <a16:creationId xmlns:a16="http://schemas.microsoft.com/office/drawing/2014/main" id="{BFCB6ED3-4F80-40A5-A33C-C9E86F67F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592763"/>
              <a:ext cx="201613" cy="39687"/>
            </a:xfrm>
            <a:custGeom>
              <a:avLst/>
              <a:gdLst>
                <a:gd name="T0" fmla="*/ 16 w 162"/>
                <a:gd name="T1" fmla="*/ 32 h 32"/>
                <a:gd name="T2" fmla="*/ 146 w 162"/>
                <a:gd name="T3" fmla="*/ 32 h 32"/>
                <a:gd name="T4" fmla="*/ 162 w 162"/>
                <a:gd name="T5" fmla="*/ 16 h 32"/>
                <a:gd name="T6" fmla="*/ 146 w 162"/>
                <a:gd name="T7" fmla="*/ 0 h 32"/>
                <a:gd name="T8" fmla="*/ 16 w 162"/>
                <a:gd name="T9" fmla="*/ 0 h 32"/>
                <a:gd name="T10" fmla="*/ 0 w 162"/>
                <a:gd name="T11" fmla="*/ 16 h 32"/>
                <a:gd name="T12" fmla="*/ 16 w 1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32">
                  <a:moveTo>
                    <a:pt x="16" y="32"/>
                  </a:moveTo>
                  <a:cubicBezTo>
                    <a:pt x="146" y="32"/>
                    <a:pt x="146" y="32"/>
                    <a:pt x="146" y="32"/>
                  </a:cubicBezTo>
                  <a:cubicBezTo>
                    <a:pt x="155" y="32"/>
                    <a:pt x="162" y="25"/>
                    <a:pt x="162" y="16"/>
                  </a:cubicBezTo>
                  <a:cubicBezTo>
                    <a:pt x="162" y="7"/>
                    <a:pt x="155" y="0"/>
                    <a:pt x="14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0" name="Freeform 123">
              <a:extLst>
                <a:ext uri="{FF2B5EF4-FFF2-40B4-BE49-F238E27FC236}">
                  <a16:creationId xmlns:a16="http://schemas.microsoft.com/office/drawing/2014/main" id="{0292BEC6-19C7-4022-8BA7-1408719D2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2063" y="5703888"/>
              <a:ext cx="153988" cy="39687"/>
            </a:xfrm>
            <a:custGeom>
              <a:avLst/>
              <a:gdLst>
                <a:gd name="T0" fmla="*/ 16 w 124"/>
                <a:gd name="T1" fmla="*/ 32 h 32"/>
                <a:gd name="T2" fmla="*/ 108 w 124"/>
                <a:gd name="T3" fmla="*/ 32 h 32"/>
                <a:gd name="T4" fmla="*/ 124 w 124"/>
                <a:gd name="T5" fmla="*/ 16 h 32"/>
                <a:gd name="T6" fmla="*/ 108 w 124"/>
                <a:gd name="T7" fmla="*/ 0 h 32"/>
                <a:gd name="T8" fmla="*/ 16 w 124"/>
                <a:gd name="T9" fmla="*/ 0 h 32"/>
                <a:gd name="T10" fmla="*/ 0 w 124"/>
                <a:gd name="T11" fmla="*/ 16 h 32"/>
                <a:gd name="T12" fmla="*/ 16 w 1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2">
                  <a:moveTo>
                    <a:pt x="16" y="32"/>
                  </a:moveTo>
                  <a:cubicBezTo>
                    <a:pt x="108" y="32"/>
                    <a:pt x="108" y="32"/>
                    <a:pt x="108" y="32"/>
                  </a:cubicBezTo>
                  <a:cubicBezTo>
                    <a:pt x="117" y="32"/>
                    <a:pt x="124" y="25"/>
                    <a:pt x="124" y="16"/>
                  </a:cubicBezTo>
                  <a:cubicBezTo>
                    <a:pt x="124" y="7"/>
                    <a:pt x="117" y="0"/>
                    <a:pt x="10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1" name="Freeform 144">
              <a:extLst>
                <a:ext uri="{FF2B5EF4-FFF2-40B4-BE49-F238E27FC236}">
                  <a16:creationId xmlns:a16="http://schemas.microsoft.com/office/drawing/2014/main" id="{D56602FF-F545-483A-9A5A-E58D97754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8450" y="5410200"/>
              <a:ext cx="352425" cy="327025"/>
            </a:xfrm>
            <a:custGeom>
              <a:avLst/>
              <a:gdLst>
                <a:gd name="T0" fmla="*/ 16 w 283"/>
                <a:gd name="T1" fmla="*/ 0 h 263"/>
                <a:gd name="T2" fmla="*/ 0 w 283"/>
                <a:gd name="T3" fmla="*/ 16 h 263"/>
                <a:gd name="T4" fmla="*/ 0 w 283"/>
                <a:gd name="T5" fmla="*/ 247 h 263"/>
                <a:gd name="T6" fmla="*/ 16 w 283"/>
                <a:gd name="T7" fmla="*/ 263 h 263"/>
                <a:gd name="T8" fmla="*/ 267 w 283"/>
                <a:gd name="T9" fmla="*/ 263 h 263"/>
                <a:gd name="T10" fmla="*/ 283 w 283"/>
                <a:gd name="T11" fmla="*/ 247 h 263"/>
                <a:gd name="T12" fmla="*/ 267 w 283"/>
                <a:gd name="T13" fmla="*/ 231 h 263"/>
                <a:gd name="T14" fmla="*/ 32 w 283"/>
                <a:gd name="T15" fmla="*/ 231 h 263"/>
                <a:gd name="T16" fmla="*/ 32 w 283"/>
                <a:gd name="T17" fmla="*/ 16 h 263"/>
                <a:gd name="T18" fmla="*/ 16 w 283"/>
                <a:gd name="T1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3" h="263">
                  <a:moveTo>
                    <a:pt x="16" y="0"/>
                  </a:moveTo>
                  <a:cubicBezTo>
                    <a:pt x="7" y="0"/>
                    <a:pt x="0" y="8"/>
                    <a:pt x="0" y="16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56"/>
                    <a:pt x="7" y="263"/>
                    <a:pt x="16" y="263"/>
                  </a:cubicBezTo>
                  <a:cubicBezTo>
                    <a:pt x="267" y="263"/>
                    <a:pt x="267" y="263"/>
                    <a:pt x="267" y="263"/>
                  </a:cubicBezTo>
                  <a:cubicBezTo>
                    <a:pt x="276" y="263"/>
                    <a:pt x="283" y="256"/>
                    <a:pt x="283" y="247"/>
                  </a:cubicBezTo>
                  <a:cubicBezTo>
                    <a:pt x="283" y="238"/>
                    <a:pt x="276" y="231"/>
                    <a:pt x="267" y="231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8"/>
                    <a:pt x="25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2" name="Freeform 145">
              <a:extLst>
                <a:ext uri="{FF2B5EF4-FFF2-40B4-BE49-F238E27FC236}">
                  <a16:creationId xmlns:a16="http://schemas.microsoft.com/office/drawing/2014/main" id="{999EAA84-7E04-4DBD-86E4-E06EE8206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2900" y="5376863"/>
              <a:ext cx="328613" cy="268287"/>
            </a:xfrm>
            <a:custGeom>
              <a:avLst/>
              <a:gdLst>
                <a:gd name="T0" fmla="*/ 244 w 264"/>
                <a:gd name="T1" fmla="*/ 0 h 215"/>
                <a:gd name="T2" fmla="*/ 201 w 264"/>
                <a:gd name="T3" fmla="*/ 3 h 215"/>
                <a:gd name="T4" fmla="*/ 186 w 264"/>
                <a:gd name="T5" fmla="*/ 20 h 215"/>
                <a:gd name="T6" fmla="*/ 203 w 264"/>
                <a:gd name="T7" fmla="*/ 35 h 215"/>
                <a:gd name="T8" fmla="*/ 206 w 264"/>
                <a:gd name="T9" fmla="*/ 35 h 215"/>
                <a:gd name="T10" fmla="*/ 133 w 264"/>
                <a:gd name="T11" fmla="*/ 127 h 215"/>
                <a:gd name="T12" fmla="*/ 104 w 264"/>
                <a:gd name="T13" fmla="*/ 95 h 215"/>
                <a:gd name="T14" fmla="*/ 92 w 264"/>
                <a:gd name="T15" fmla="*/ 90 h 215"/>
                <a:gd name="T16" fmla="*/ 80 w 264"/>
                <a:gd name="T17" fmla="*/ 96 h 215"/>
                <a:gd name="T18" fmla="*/ 5 w 264"/>
                <a:gd name="T19" fmla="*/ 189 h 215"/>
                <a:gd name="T20" fmla="*/ 8 w 264"/>
                <a:gd name="T21" fmla="*/ 211 h 215"/>
                <a:gd name="T22" fmla="*/ 18 w 264"/>
                <a:gd name="T23" fmla="*/ 215 h 215"/>
                <a:gd name="T24" fmla="*/ 30 w 264"/>
                <a:gd name="T25" fmla="*/ 209 h 215"/>
                <a:gd name="T26" fmla="*/ 93 w 264"/>
                <a:gd name="T27" fmla="*/ 131 h 215"/>
                <a:gd name="T28" fmla="*/ 122 w 264"/>
                <a:gd name="T29" fmla="*/ 162 h 215"/>
                <a:gd name="T30" fmla="*/ 135 w 264"/>
                <a:gd name="T31" fmla="*/ 167 h 215"/>
                <a:gd name="T32" fmla="*/ 147 w 264"/>
                <a:gd name="T33" fmla="*/ 161 h 215"/>
                <a:gd name="T34" fmla="*/ 231 w 264"/>
                <a:gd name="T35" fmla="*/ 55 h 215"/>
                <a:gd name="T36" fmla="*/ 232 w 264"/>
                <a:gd name="T37" fmla="*/ 60 h 215"/>
                <a:gd name="T38" fmla="*/ 248 w 264"/>
                <a:gd name="T39" fmla="*/ 75 h 215"/>
                <a:gd name="T40" fmla="*/ 249 w 264"/>
                <a:gd name="T41" fmla="*/ 75 h 215"/>
                <a:gd name="T42" fmla="*/ 264 w 264"/>
                <a:gd name="T43" fmla="*/ 58 h 215"/>
                <a:gd name="T44" fmla="*/ 261 w 264"/>
                <a:gd name="T45" fmla="*/ 15 h 215"/>
                <a:gd name="T46" fmla="*/ 244 w 264"/>
                <a:gd name="T47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4" h="215">
                  <a:moveTo>
                    <a:pt x="244" y="0"/>
                  </a:moveTo>
                  <a:cubicBezTo>
                    <a:pt x="201" y="3"/>
                    <a:pt x="201" y="3"/>
                    <a:pt x="201" y="3"/>
                  </a:cubicBezTo>
                  <a:cubicBezTo>
                    <a:pt x="192" y="4"/>
                    <a:pt x="186" y="12"/>
                    <a:pt x="186" y="20"/>
                  </a:cubicBezTo>
                  <a:cubicBezTo>
                    <a:pt x="187" y="29"/>
                    <a:pt x="194" y="36"/>
                    <a:pt x="203" y="35"/>
                  </a:cubicBezTo>
                  <a:cubicBezTo>
                    <a:pt x="206" y="35"/>
                    <a:pt x="206" y="35"/>
                    <a:pt x="206" y="35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1" y="92"/>
                    <a:pt x="97" y="90"/>
                    <a:pt x="92" y="90"/>
                  </a:cubicBezTo>
                  <a:cubicBezTo>
                    <a:pt x="87" y="91"/>
                    <a:pt x="83" y="93"/>
                    <a:pt x="80" y="96"/>
                  </a:cubicBezTo>
                  <a:cubicBezTo>
                    <a:pt x="5" y="189"/>
                    <a:pt x="5" y="189"/>
                    <a:pt x="5" y="189"/>
                  </a:cubicBezTo>
                  <a:cubicBezTo>
                    <a:pt x="0" y="196"/>
                    <a:pt x="1" y="206"/>
                    <a:pt x="8" y="211"/>
                  </a:cubicBezTo>
                  <a:cubicBezTo>
                    <a:pt x="11" y="214"/>
                    <a:pt x="14" y="215"/>
                    <a:pt x="18" y="215"/>
                  </a:cubicBezTo>
                  <a:cubicBezTo>
                    <a:pt x="22" y="215"/>
                    <a:pt x="27" y="213"/>
                    <a:pt x="30" y="209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6" y="166"/>
                    <a:pt x="130" y="168"/>
                    <a:pt x="135" y="167"/>
                  </a:cubicBezTo>
                  <a:cubicBezTo>
                    <a:pt x="140" y="167"/>
                    <a:pt x="144" y="165"/>
                    <a:pt x="147" y="161"/>
                  </a:cubicBezTo>
                  <a:cubicBezTo>
                    <a:pt x="231" y="55"/>
                    <a:pt x="231" y="55"/>
                    <a:pt x="231" y="55"/>
                  </a:cubicBezTo>
                  <a:cubicBezTo>
                    <a:pt x="232" y="60"/>
                    <a:pt x="232" y="60"/>
                    <a:pt x="232" y="60"/>
                  </a:cubicBezTo>
                  <a:cubicBezTo>
                    <a:pt x="232" y="68"/>
                    <a:pt x="239" y="75"/>
                    <a:pt x="248" y="75"/>
                  </a:cubicBezTo>
                  <a:cubicBezTo>
                    <a:pt x="248" y="75"/>
                    <a:pt x="248" y="75"/>
                    <a:pt x="249" y="75"/>
                  </a:cubicBezTo>
                  <a:cubicBezTo>
                    <a:pt x="257" y="74"/>
                    <a:pt x="264" y="67"/>
                    <a:pt x="264" y="58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60" y="6"/>
                    <a:pt x="252" y="0"/>
                    <a:pt x="2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3" name="Rectangle 146">
              <a:extLst>
                <a:ext uri="{FF2B5EF4-FFF2-40B4-BE49-F238E27FC236}">
                  <a16:creationId xmlns:a16="http://schemas.microsoft.com/office/drawing/2014/main" id="{675EB695-8889-45A0-BC3A-8C32E289D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1025" y="5564188"/>
              <a:ext cx="23813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4" name="Rectangle 147">
              <a:extLst>
                <a:ext uri="{FF2B5EF4-FFF2-40B4-BE49-F238E27FC236}">
                  <a16:creationId xmlns:a16="http://schemas.microsoft.com/office/drawing/2014/main" id="{C0984FDB-5E87-467E-992B-BCE6DD4C5A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30213" y="5613400"/>
              <a:ext cx="22225" cy="746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5" name="Rectangle 148">
              <a:extLst>
                <a:ext uri="{FF2B5EF4-FFF2-40B4-BE49-F238E27FC236}">
                  <a16:creationId xmlns:a16="http://schemas.microsoft.com/office/drawing/2014/main" id="{0F0A2189-2754-430A-9EE9-1B428ED6F5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4013" y="5651500"/>
              <a:ext cx="22225" cy="365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6" name="Rectangle 149">
              <a:extLst>
                <a:ext uri="{FF2B5EF4-FFF2-40B4-BE49-F238E27FC236}">
                  <a16:creationId xmlns:a16="http://schemas.microsoft.com/office/drawing/2014/main" id="{7F40D558-8C4A-489E-AA9A-86191543C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04825" y="5591175"/>
              <a:ext cx="23813" cy="968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7" name="Freeform 197">
              <a:extLst>
                <a:ext uri="{FF2B5EF4-FFF2-40B4-BE49-F238E27FC236}">
                  <a16:creationId xmlns:a16="http://schemas.microsoft.com/office/drawing/2014/main" id="{B35F1A28-0BF1-4BAC-A62C-ADD49C25F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68313" y="5761038"/>
              <a:ext cx="125413" cy="125412"/>
            </a:xfrm>
            <a:custGeom>
              <a:avLst/>
              <a:gdLst>
                <a:gd name="T0" fmla="*/ 0 w 101"/>
                <a:gd name="T1" fmla="*/ 51 h 101"/>
                <a:gd name="T2" fmla="*/ 50 w 101"/>
                <a:gd name="T3" fmla="*/ 101 h 101"/>
                <a:gd name="T4" fmla="*/ 101 w 101"/>
                <a:gd name="T5" fmla="*/ 51 h 101"/>
                <a:gd name="T6" fmla="*/ 50 w 101"/>
                <a:gd name="T7" fmla="*/ 0 h 101"/>
                <a:gd name="T8" fmla="*/ 0 w 101"/>
                <a:gd name="T9" fmla="*/ 51 h 101"/>
                <a:gd name="T10" fmla="*/ 50 w 101"/>
                <a:gd name="T11" fmla="*/ 69 h 101"/>
                <a:gd name="T12" fmla="*/ 32 w 101"/>
                <a:gd name="T13" fmla="*/ 51 h 101"/>
                <a:gd name="T14" fmla="*/ 50 w 101"/>
                <a:gd name="T15" fmla="*/ 32 h 101"/>
                <a:gd name="T16" fmla="*/ 69 w 101"/>
                <a:gd name="T17" fmla="*/ 51 h 101"/>
                <a:gd name="T18" fmla="*/ 50 w 101"/>
                <a:gd name="T19" fmla="*/ 6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0" y="51"/>
                  </a:moveTo>
                  <a:cubicBezTo>
                    <a:pt x="0" y="79"/>
                    <a:pt x="22" y="101"/>
                    <a:pt x="50" y="101"/>
                  </a:cubicBezTo>
                  <a:cubicBezTo>
                    <a:pt x="78" y="101"/>
                    <a:pt x="101" y="79"/>
                    <a:pt x="101" y="51"/>
                  </a:cubicBezTo>
                  <a:cubicBezTo>
                    <a:pt x="101" y="23"/>
                    <a:pt x="78" y="0"/>
                    <a:pt x="50" y="0"/>
                  </a:cubicBezTo>
                  <a:cubicBezTo>
                    <a:pt x="22" y="0"/>
                    <a:pt x="0" y="23"/>
                    <a:pt x="0" y="51"/>
                  </a:cubicBezTo>
                  <a:close/>
                  <a:moveTo>
                    <a:pt x="50" y="69"/>
                  </a:moveTo>
                  <a:cubicBezTo>
                    <a:pt x="40" y="69"/>
                    <a:pt x="32" y="61"/>
                    <a:pt x="32" y="51"/>
                  </a:cubicBezTo>
                  <a:cubicBezTo>
                    <a:pt x="32" y="41"/>
                    <a:pt x="40" y="32"/>
                    <a:pt x="50" y="32"/>
                  </a:cubicBezTo>
                  <a:cubicBezTo>
                    <a:pt x="60" y="32"/>
                    <a:pt x="69" y="41"/>
                    <a:pt x="69" y="51"/>
                  </a:cubicBezTo>
                  <a:cubicBezTo>
                    <a:pt x="69" y="61"/>
                    <a:pt x="60" y="69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8" name="Freeform 198">
              <a:extLst>
                <a:ext uri="{FF2B5EF4-FFF2-40B4-BE49-F238E27FC236}">
                  <a16:creationId xmlns:a16="http://schemas.microsoft.com/office/drawing/2014/main" id="{8D09761A-E279-401C-B208-3B0AE3F0B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39675" y="5897563"/>
              <a:ext cx="722313" cy="180975"/>
            </a:xfrm>
            <a:custGeom>
              <a:avLst/>
              <a:gdLst>
                <a:gd name="T0" fmla="*/ 476 w 581"/>
                <a:gd name="T1" fmla="*/ 0 h 146"/>
                <a:gd name="T2" fmla="*/ 475 w 581"/>
                <a:gd name="T3" fmla="*/ 0 h 146"/>
                <a:gd name="T4" fmla="*/ 411 w 581"/>
                <a:gd name="T5" fmla="*/ 60 h 146"/>
                <a:gd name="T6" fmla="*/ 181 w 581"/>
                <a:gd name="T7" fmla="*/ 60 h 146"/>
                <a:gd name="T8" fmla="*/ 117 w 581"/>
                <a:gd name="T9" fmla="*/ 0 h 146"/>
                <a:gd name="T10" fmla="*/ 116 w 581"/>
                <a:gd name="T11" fmla="*/ 0 h 146"/>
                <a:gd name="T12" fmla="*/ 52 w 581"/>
                <a:gd name="T13" fmla="*/ 60 h 146"/>
                <a:gd name="T14" fmla="*/ 0 w 581"/>
                <a:gd name="T15" fmla="*/ 60 h 146"/>
                <a:gd name="T16" fmla="*/ 0 w 581"/>
                <a:gd name="T17" fmla="*/ 146 h 146"/>
                <a:gd name="T18" fmla="*/ 52 w 581"/>
                <a:gd name="T19" fmla="*/ 146 h 146"/>
                <a:gd name="T20" fmla="*/ 182 w 581"/>
                <a:gd name="T21" fmla="*/ 146 h 146"/>
                <a:gd name="T22" fmla="*/ 410 w 581"/>
                <a:gd name="T23" fmla="*/ 146 h 146"/>
                <a:gd name="T24" fmla="*/ 540 w 581"/>
                <a:gd name="T25" fmla="*/ 146 h 146"/>
                <a:gd name="T26" fmla="*/ 581 w 581"/>
                <a:gd name="T27" fmla="*/ 146 h 146"/>
                <a:gd name="T28" fmla="*/ 581 w 581"/>
                <a:gd name="T29" fmla="*/ 60 h 146"/>
                <a:gd name="T30" fmla="*/ 540 w 581"/>
                <a:gd name="T31" fmla="*/ 60 h 146"/>
                <a:gd name="T32" fmla="*/ 476 w 581"/>
                <a:gd name="T33" fmla="*/ 0 h 146"/>
                <a:gd name="T34" fmla="*/ 549 w 581"/>
                <a:gd name="T35" fmla="*/ 114 h 146"/>
                <a:gd name="T36" fmla="*/ 540 w 581"/>
                <a:gd name="T37" fmla="*/ 114 h 146"/>
                <a:gd name="T38" fmla="*/ 524 w 581"/>
                <a:gd name="T39" fmla="*/ 114 h 146"/>
                <a:gd name="T40" fmla="*/ 508 w 581"/>
                <a:gd name="T41" fmla="*/ 114 h 146"/>
                <a:gd name="T42" fmla="*/ 442 w 581"/>
                <a:gd name="T43" fmla="*/ 114 h 146"/>
                <a:gd name="T44" fmla="*/ 426 w 581"/>
                <a:gd name="T45" fmla="*/ 114 h 146"/>
                <a:gd name="T46" fmla="*/ 410 w 581"/>
                <a:gd name="T47" fmla="*/ 114 h 146"/>
                <a:gd name="T48" fmla="*/ 182 w 581"/>
                <a:gd name="T49" fmla="*/ 114 h 146"/>
                <a:gd name="T50" fmla="*/ 166 w 581"/>
                <a:gd name="T51" fmla="*/ 114 h 146"/>
                <a:gd name="T52" fmla="*/ 150 w 581"/>
                <a:gd name="T53" fmla="*/ 114 h 146"/>
                <a:gd name="T54" fmla="*/ 84 w 581"/>
                <a:gd name="T55" fmla="*/ 114 h 146"/>
                <a:gd name="T56" fmla="*/ 68 w 581"/>
                <a:gd name="T57" fmla="*/ 114 h 146"/>
                <a:gd name="T58" fmla="*/ 52 w 581"/>
                <a:gd name="T59" fmla="*/ 114 h 146"/>
                <a:gd name="T60" fmla="*/ 32 w 581"/>
                <a:gd name="T61" fmla="*/ 114 h 146"/>
                <a:gd name="T62" fmla="*/ 32 w 581"/>
                <a:gd name="T63" fmla="*/ 92 h 146"/>
                <a:gd name="T64" fmla="*/ 52 w 581"/>
                <a:gd name="T65" fmla="*/ 92 h 146"/>
                <a:gd name="T66" fmla="*/ 68 w 581"/>
                <a:gd name="T67" fmla="*/ 92 h 146"/>
                <a:gd name="T68" fmla="*/ 84 w 581"/>
                <a:gd name="T69" fmla="*/ 92 h 146"/>
                <a:gd name="T70" fmla="*/ 150 w 581"/>
                <a:gd name="T71" fmla="*/ 92 h 146"/>
                <a:gd name="T72" fmla="*/ 166 w 581"/>
                <a:gd name="T73" fmla="*/ 92 h 146"/>
                <a:gd name="T74" fmla="*/ 182 w 581"/>
                <a:gd name="T75" fmla="*/ 92 h 146"/>
                <a:gd name="T76" fmla="*/ 410 w 581"/>
                <a:gd name="T77" fmla="*/ 92 h 146"/>
                <a:gd name="T78" fmla="*/ 426 w 581"/>
                <a:gd name="T79" fmla="*/ 92 h 146"/>
                <a:gd name="T80" fmla="*/ 442 w 581"/>
                <a:gd name="T81" fmla="*/ 92 h 146"/>
                <a:gd name="T82" fmla="*/ 508 w 581"/>
                <a:gd name="T83" fmla="*/ 92 h 146"/>
                <a:gd name="T84" fmla="*/ 524 w 581"/>
                <a:gd name="T85" fmla="*/ 92 h 146"/>
                <a:gd name="T86" fmla="*/ 540 w 581"/>
                <a:gd name="T87" fmla="*/ 92 h 146"/>
                <a:gd name="T88" fmla="*/ 549 w 581"/>
                <a:gd name="T89" fmla="*/ 92 h 146"/>
                <a:gd name="T90" fmla="*/ 549 w 581"/>
                <a:gd name="T91" fmla="*/ 114 h 146"/>
                <a:gd name="T92" fmla="*/ 116 w 581"/>
                <a:gd name="T93" fmla="*/ 32 h 146"/>
                <a:gd name="T94" fmla="*/ 117 w 581"/>
                <a:gd name="T95" fmla="*/ 32 h 146"/>
                <a:gd name="T96" fmla="*/ 149 w 581"/>
                <a:gd name="T97" fmla="*/ 60 h 146"/>
                <a:gd name="T98" fmla="*/ 84 w 581"/>
                <a:gd name="T99" fmla="*/ 60 h 146"/>
                <a:gd name="T100" fmla="*/ 116 w 581"/>
                <a:gd name="T101" fmla="*/ 32 h 146"/>
                <a:gd name="T102" fmla="*/ 475 w 581"/>
                <a:gd name="T103" fmla="*/ 32 h 146"/>
                <a:gd name="T104" fmla="*/ 476 w 581"/>
                <a:gd name="T105" fmla="*/ 32 h 146"/>
                <a:gd name="T106" fmla="*/ 508 w 581"/>
                <a:gd name="T107" fmla="*/ 60 h 146"/>
                <a:gd name="T108" fmla="*/ 443 w 581"/>
                <a:gd name="T109" fmla="*/ 60 h 146"/>
                <a:gd name="T110" fmla="*/ 475 w 581"/>
                <a:gd name="T111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1" h="146">
                  <a:moveTo>
                    <a:pt x="476" y="0"/>
                  </a:moveTo>
                  <a:cubicBezTo>
                    <a:pt x="475" y="0"/>
                    <a:pt x="475" y="0"/>
                    <a:pt x="475" y="0"/>
                  </a:cubicBezTo>
                  <a:cubicBezTo>
                    <a:pt x="441" y="0"/>
                    <a:pt x="413" y="27"/>
                    <a:pt x="411" y="60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79" y="27"/>
                    <a:pt x="151" y="0"/>
                    <a:pt x="117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82" y="0"/>
                    <a:pt x="55" y="27"/>
                    <a:pt x="52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52" y="146"/>
                    <a:pt x="52" y="146"/>
                    <a:pt x="52" y="146"/>
                  </a:cubicBezTo>
                  <a:cubicBezTo>
                    <a:pt x="182" y="146"/>
                    <a:pt x="182" y="146"/>
                    <a:pt x="182" y="146"/>
                  </a:cubicBezTo>
                  <a:cubicBezTo>
                    <a:pt x="410" y="146"/>
                    <a:pt x="410" y="146"/>
                    <a:pt x="410" y="146"/>
                  </a:cubicBezTo>
                  <a:cubicBezTo>
                    <a:pt x="540" y="146"/>
                    <a:pt x="540" y="146"/>
                    <a:pt x="540" y="146"/>
                  </a:cubicBezTo>
                  <a:cubicBezTo>
                    <a:pt x="581" y="146"/>
                    <a:pt x="581" y="146"/>
                    <a:pt x="581" y="146"/>
                  </a:cubicBezTo>
                  <a:cubicBezTo>
                    <a:pt x="581" y="60"/>
                    <a:pt x="581" y="60"/>
                    <a:pt x="581" y="60"/>
                  </a:cubicBezTo>
                  <a:cubicBezTo>
                    <a:pt x="540" y="60"/>
                    <a:pt x="540" y="60"/>
                    <a:pt x="540" y="60"/>
                  </a:cubicBezTo>
                  <a:cubicBezTo>
                    <a:pt x="537" y="27"/>
                    <a:pt x="510" y="0"/>
                    <a:pt x="476" y="0"/>
                  </a:cubicBezTo>
                  <a:close/>
                  <a:moveTo>
                    <a:pt x="549" y="114"/>
                  </a:moveTo>
                  <a:cubicBezTo>
                    <a:pt x="540" y="114"/>
                    <a:pt x="540" y="114"/>
                    <a:pt x="540" y="114"/>
                  </a:cubicBezTo>
                  <a:cubicBezTo>
                    <a:pt x="524" y="114"/>
                    <a:pt x="524" y="114"/>
                    <a:pt x="524" y="114"/>
                  </a:cubicBezTo>
                  <a:cubicBezTo>
                    <a:pt x="508" y="114"/>
                    <a:pt x="508" y="114"/>
                    <a:pt x="508" y="114"/>
                  </a:cubicBezTo>
                  <a:cubicBezTo>
                    <a:pt x="442" y="114"/>
                    <a:pt x="442" y="114"/>
                    <a:pt x="442" y="114"/>
                  </a:cubicBezTo>
                  <a:cubicBezTo>
                    <a:pt x="426" y="114"/>
                    <a:pt x="426" y="114"/>
                    <a:pt x="426" y="114"/>
                  </a:cubicBezTo>
                  <a:cubicBezTo>
                    <a:pt x="410" y="114"/>
                    <a:pt x="410" y="114"/>
                    <a:pt x="410" y="114"/>
                  </a:cubicBezTo>
                  <a:cubicBezTo>
                    <a:pt x="182" y="114"/>
                    <a:pt x="182" y="114"/>
                    <a:pt x="182" y="114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68" y="92"/>
                    <a:pt x="68" y="92"/>
                    <a:pt x="68" y="92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82" y="92"/>
                    <a:pt x="182" y="92"/>
                    <a:pt x="182" y="92"/>
                  </a:cubicBezTo>
                  <a:cubicBezTo>
                    <a:pt x="410" y="92"/>
                    <a:pt x="410" y="92"/>
                    <a:pt x="410" y="92"/>
                  </a:cubicBezTo>
                  <a:cubicBezTo>
                    <a:pt x="426" y="92"/>
                    <a:pt x="426" y="92"/>
                    <a:pt x="426" y="92"/>
                  </a:cubicBezTo>
                  <a:cubicBezTo>
                    <a:pt x="442" y="92"/>
                    <a:pt x="442" y="92"/>
                    <a:pt x="442" y="92"/>
                  </a:cubicBezTo>
                  <a:cubicBezTo>
                    <a:pt x="508" y="92"/>
                    <a:pt x="508" y="92"/>
                    <a:pt x="508" y="92"/>
                  </a:cubicBezTo>
                  <a:cubicBezTo>
                    <a:pt x="524" y="92"/>
                    <a:pt x="524" y="92"/>
                    <a:pt x="524" y="92"/>
                  </a:cubicBezTo>
                  <a:cubicBezTo>
                    <a:pt x="540" y="92"/>
                    <a:pt x="540" y="92"/>
                    <a:pt x="540" y="92"/>
                  </a:cubicBezTo>
                  <a:cubicBezTo>
                    <a:pt x="549" y="92"/>
                    <a:pt x="549" y="92"/>
                    <a:pt x="549" y="92"/>
                  </a:cubicBezTo>
                  <a:lnTo>
                    <a:pt x="549" y="114"/>
                  </a:lnTo>
                  <a:close/>
                  <a:moveTo>
                    <a:pt x="116" y="32"/>
                  </a:moveTo>
                  <a:cubicBezTo>
                    <a:pt x="117" y="32"/>
                    <a:pt x="117" y="32"/>
                    <a:pt x="117" y="32"/>
                  </a:cubicBezTo>
                  <a:cubicBezTo>
                    <a:pt x="134" y="32"/>
                    <a:pt x="147" y="44"/>
                    <a:pt x="149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7" y="44"/>
                    <a:pt x="100" y="32"/>
                    <a:pt x="116" y="32"/>
                  </a:cubicBezTo>
                  <a:close/>
                  <a:moveTo>
                    <a:pt x="475" y="32"/>
                  </a:moveTo>
                  <a:cubicBezTo>
                    <a:pt x="476" y="32"/>
                    <a:pt x="476" y="32"/>
                    <a:pt x="476" y="32"/>
                  </a:cubicBezTo>
                  <a:cubicBezTo>
                    <a:pt x="492" y="32"/>
                    <a:pt x="505" y="44"/>
                    <a:pt x="508" y="60"/>
                  </a:cubicBezTo>
                  <a:cubicBezTo>
                    <a:pt x="443" y="60"/>
                    <a:pt x="443" y="60"/>
                    <a:pt x="443" y="60"/>
                  </a:cubicBezTo>
                  <a:cubicBezTo>
                    <a:pt x="445" y="44"/>
                    <a:pt x="458" y="32"/>
                    <a:pt x="47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89" name="Freeform 199">
              <a:extLst>
                <a:ext uri="{FF2B5EF4-FFF2-40B4-BE49-F238E27FC236}">
                  <a16:creationId xmlns:a16="http://schemas.microsoft.com/office/drawing/2014/main" id="{0B63C2C3-5D35-41FB-B732-EFAA8021B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80988" y="5745163"/>
              <a:ext cx="150813" cy="150812"/>
            </a:xfrm>
            <a:custGeom>
              <a:avLst/>
              <a:gdLst>
                <a:gd name="T0" fmla="*/ 16 w 121"/>
                <a:gd name="T1" fmla="*/ 0 h 121"/>
                <a:gd name="T2" fmla="*/ 0 w 121"/>
                <a:gd name="T3" fmla="*/ 16 h 121"/>
                <a:gd name="T4" fmla="*/ 0 w 121"/>
                <a:gd name="T5" fmla="*/ 105 h 121"/>
                <a:gd name="T6" fmla="*/ 16 w 121"/>
                <a:gd name="T7" fmla="*/ 121 h 121"/>
                <a:gd name="T8" fmla="*/ 105 w 121"/>
                <a:gd name="T9" fmla="*/ 121 h 121"/>
                <a:gd name="T10" fmla="*/ 121 w 121"/>
                <a:gd name="T11" fmla="*/ 105 h 121"/>
                <a:gd name="T12" fmla="*/ 121 w 121"/>
                <a:gd name="T13" fmla="*/ 16 h 121"/>
                <a:gd name="T14" fmla="*/ 105 w 121"/>
                <a:gd name="T15" fmla="*/ 0 h 121"/>
                <a:gd name="T16" fmla="*/ 16 w 121"/>
                <a:gd name="T17" fmla="*/ 0 h 121"/>
                <a:gd name="T18" fmla="*/ 89 w 121"/>
                <a:gd name="T19" fmla="*/ 89 h 121"/>
                <a:gd name="T20" fmla="*/ 32 w 121"/>
                <a:gd name="T21" fmla="*/ 89 h 121"/>
                <a:gd name="T22" fmla="*/ 32 w 121"/>
                <a:gd name="T23" fmla="*/ 32 h 121"/>
                <a:gd name="T24" fmla="*/ 89 w 121"/>
                <a:gd name="T25" fmla="*/ 32 h 121"/>
                <a:gd name="T26" fmla="*/ 89 w 121"/>
                <a:gd name="T27" fmla="*/ 8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" h="121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14"/>
                    <a:pt x="7" y="121"/>
                    <a:pt x="16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14" y="121"/>
                    <a:pt x="121" y="114"/>
                    <a:pt x="121" y="105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1" y="7"/>
                    <a:pt x="114" y="0"/>
                    <a:pt x="105" y="0"/>
                  </a:cubicBezTo>
                  <a:lnTo>
                    <a:pt x="16" y="0"/>
                  </a:lnTo>
                  <a:close/>
                  <a:moveTo>
                    <a:pt x="89" y="89"/>
                  </a:moveTo>
                  <a:cubicBezTo>
                    <a:pt x="32" y="89"/>
                    <a:pt x="32" y="89"/>
                    <a:pt x="32" y="89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89" y="32"/>
                    <a:pt x="89" y="32"/>
                    <a:pt x="89" y="32"/>
                  </a:cubicBezTo>
                  <a:lnTo>
                    <a:pt x="89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2FE41CDF-44BD-D742-B250-ACB134D777AC}"/>
              </a:ext>
            </a:extLst>
          </p:cNvPr>
          <p:cNvSpPr>
            <a:spLocks/>
          </p:cNvSpPr>
          <p:nvPr/>
        </p:nvSpPr>
        <p:spPr bwMode="gray">
          <a:xfrm>
            <a:off x="-24026" y="3446666"/>
            <a:ext cx="9427166" cy="1405005"/>
          </a:xfrm>
          <a:prstGeom prst="rect">
            <a:avLst/>
          </a:prstGeom>
          <a:solidFill>
            <a:srgbClr val="F7F7F7"/>
          </a:solidFill>
          <a:ln w="19050" algn="ctr">
            <a:noFill/>
            <a:miter lim="800000"/>
            <a:headEnd/>
            <a:tailEnd/>
          </a:ln>
        </p:spPr>
        <p:txBody>
          <a:bodyPr wrap="square" lIns="88888" tIns="88888" rIns="88888" bIns="88888" rtlCol="0" anchor="ctr"/>
          <a:lstStyle/>
          <a:p>
            <a:pPr marL="0" marR="0" lvl="0" indent="0" algn="ctr" defTabSz="91430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FE41CDF-44BD-D742-B250-ACB134D777AC}"/>
              </a:ext>
            </a:extLst>
          </p:cNvPr>
          <p:cNvSpPr>
            <a:spLocks/>
          </p:cNvSpPr>
          <p:nvPr/>
        </p:nvSpPr>
        <p:spPr bwMode="gray">
          <a:xfrm>
            <a:off x="5523158" y="1800293"/>
            <a:ext cx="4146992" cy="1476000"/>
          </a:xfrm>
          <a:prstGeom prst="rect">
            <a:avLst/>
          </a:prstGeom>
          <a:solidFill>
            <a:srgbClr val="F7F7F7"/>
          </a:solidFill>
          <a:ln w="19050" algn="ctr">
            <a:noFill/>
            <a:miter lim="800000"/>
            <a:headEnd/>
            <a:tailEnd/>
          </a:ln>
        </p:spPr>
        <p:txBody>
          <a:bodyPr wrap="square" lIns="88888" tIns="88888" rIns="88888" bIns="88888" rtlCol="0" anchor="ctr"/>
          <a:lstStyle/>
          <a:p>
            <a:pPr marL="0" marR="0" lvl="0" indent="0" algn="ctr" defTabSz="914309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00" name="Rectangle 99"/>
          <p:cNvSpPr>
            <a:spLocks/>
          </p:cNvSpPr>
          <p:nvPr/>
        </p:nvSpPr>
        <p:spPr bwMode="gray">
          <a:xfrm rot="16200000">
            <a:off x="5319686" y="1942685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16200000">
            <a:off x="5266771" y="1889768"/>
            <a:ext cx="29976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KPI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02" name="Rectangle 101"/>
          <p:cNvSpPr>
            <a:spLocks/>
          </p:cNvSpPr>
          <p:nvPr/>
        </p:nvSpPr>
        <p:spPr bwMode="gray">
          <a:xfrm rot="5400000">
            <a:off x="9462980" y="3437923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9262397" y="3638506"/>
            <a:ext cx="496931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tup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7" name="Rectangle 116"/>
          <p:cNvSpPr>
            <a:spLocks/>
          </p:cNvSpPr>
          <p:nvPr/>
        </p:nvSpPr>
        <p:spPr bwMode="gray">
          <a:xfrm>
            <a:off x="2809558" y="3639801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4.1</a:t>
            </a:r>
          </a:p>
        </p:txBody>
      </p:sp>
      <p:sp>
        <p:nvSpPr>
          <p:cNvPr id="118" name="Rectangle 117"/>
          <p:cNvSpPr>
            <a:spLocks/>
          </p:cNvSpPr>
          <p:nvPr/>
        </p:nvSpPr>
        <p:spPr bwMode="gray">
          <a:xfrm>
            <a:off x="2490850" y="4359164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TE</a:t>
            </a:r>
          </a:p>
        </p:txBody>
      </p:sp>
      <p:sp>
        <p:nvSpPr>
          <p:cNvPr id="121" name="Rectangle 120"/>
          <p:cNvSpPr>
            <a:spLocks/>
          </p:cNvSpPr>
          <p:nvPr/>
        </p:nvSpPr>
        <p:spPr bwMode="gray">
          <a:xfrm>
            <a:off x="-646136" y="3366898"/>
            <a:ext cx="1873796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1.4</a:t>
            </a:r>
          </a:p>
        </p:txBody>
      </p:sp>
      <p:sp>
        <p:nvSpPr>
          <p:cNvPr id="122" name="Rectangle 121"/>
          <p:cNvSpPr>
            <a:spLocks/>
          </p:cNvSpPr>
          <p:nvPr/>
        </p:nvSpPr>
        <p:spPr bwMode="gray">
          <a:xfrm>
            <a:off x="-99001" y="4359164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Total Budget</a:t>
            </a:r>
          </a:p>
        </p:txBody>
      </p:sp>
      <p:sp>
        <p:nvSpPr>
          <p:cNvPr id="124" name="Rectangle 123"/>
          <p:cNvSpPr>
            <a:spLocks/>
          </p:cNvSpPr>
          <p:nvPr/>
        </p:nvSpPr>
        <p:spPr bwMode="gray">
          <a:xfrm>
            <a:off x="1290689" y="3639801"/>
            <a:ext cx="1873796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875k</a:t>
            </a:r>
          </a:p>
        </p:txBody>
      </p:sp>
      <p:sp>
        <p:nvSpPr>
          <p:cNvPr id="125" name="Rectangle 124"/>
          <p:cNvSpPr>
            <a:spLocks/>
          </p:cNvSpPr>
          <p:nvPr/>
        </p:nvSpPr>
        <p:spPr bwMode="gray">
          <a:xfrm>
            <a:off x="1278628" y="3655305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Net Present Value</a:t>
            </a:r>
          </a:p>
        </p:txBody>
      </p:sp>
      <p:sp>
        <p:nvSpPr>
          <p:cNvPr id="127" name="Rectangle 126"/>
          <p:cNvSpPr>
            <a:spLocks/>
          </p:cNvSpPr>
          <p:nvPr/>
        </p:nvSpPr>
        <p:spPr bwMode="gray">
          <a:xfrm>
            <a:off x="3996988" y="3639801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65%</a:t>
            </a:r>
          </a:p>
        </p:txBody>
      </p:sp>
      <p:sp>
        <p:nvSpPr>
          <p:cNvPr id="128" name="Rectangle 127"/>
          <p:cNvSpPr>
            <a:spLocks/>
          </p:cNvSpPr>
          <p:nvPr/>
        </p:nvSpPr>
        <p:spPr bwMode="gray">
          <a:xfrm>
            <a:off x="3678280" y="3655305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Internal Resources</a:t>
            </a:r>
          </a:p>
        </p:txBody>
      </p:sp>
      <p:sp>
        <p:nvSpPr>
          <p:cNvPr id="136" name="Rectangle 135"/>
          <p:cNvSpPr>
            <a:spLocks/>
          </p:cNvSpPr>
          <p:nvPr/>
        </p:nvSpPr>
        <p:spPr bwMode="gray">
          <a:xfrm>
            <a:off x="8124636" y="2012708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-25%</a:t>
            </a:r>
          </a:p>
        </p:txBody>
      </p:sp>
      <p:sp>
        <p:nvSpPr>
          <p:cNvPr id="137" name="Rectangle 136"/>
          <p:cNvSpPr>
            <a:spLocks/>
          </p:cNvSpPr>
          <p:nvPr/>
        </p:nvSpPr>
        <p:spPr bwMode="gray">
          <a:xfrm>
            <a:off x="7805928" y="2732071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compared to Plan</a:t>
            </a:r>
          </a:p>
        </p:txBody>
      </p:sp>
      <p:sp>
        <p:nvSpPr>
          <p:cNvPr id="131" name="Rectangle 130"/>
          <p:cNvSpPr>
            <a:spLocks/>
          </p:cNvSpPr>
          <p:nvPr/>
        </p:nvSpPr>
        <p:spPr bwMode="gray">
          <a:xfrm>
            <a:off x="5771788" y="2028212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odel Accuracy</a:t>
            </a:r>
          </a:p>
        </p:txBody>
      </p:sp>
      <p:sp>
        <p:nvSpPr>
          <p:cNvPr id="126" name="Rectangle 125"/>
          <p:cNvSpPr>
            <a:spLocks/>
          </p:cNvSpPr>
          <p:nvPr/>
        </p:nvSpPr>
        <p:spPr bwMode="gray">
          <a:xfrm>
            <a:off x="6453552" y="2732071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IBM Watson</a:t>
            </a:r>
          </a:p>
        </p:txBody>
      </p:sp>
      <p:sp>
        <p:nvSpPr>
          <p:cNvPr id="129" name="Rectangle 128"/>
          <p:cNvSpPr>
            <a:spLocks/>
          </p:cNvSpPr>
          <p:nvPr/>
        </p:nvSpPr>
        <p:spPr bwMode="gray">
          <a:xfrm>
            <a:off x="6772260" y="2012708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75%</a:t>
            </a:r>
          </a:p>
        </p:txBody>
      </p:sp>
      <p:sp>
        <p:nvSpPr>
          <p:cNvPr id="132" name="Rectangle 131"/>
          <p:cNvSpPr>
            <a:spLocks/>
          </p:cNvSpPr>
          <p:nvPr/>
        </p:nvSpPr>
        <p:spPr bwMode="gray">
          <a:xfrm>
            <a:off x="5436386" y="2012708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>
                <a:solidFill>
                  <a:srgbClr val="000000"/>
                </a:solidFill>
                <a:latin typeface="Arial" panose="020B0604020202020204" pitchFamily="34" charset="0"/>
                <a:ea typeface="Arial Unicode MS"/>
                <a:cs typeface="Arial"/>
              </a:rPr>
              <a:t>92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%</a:t>
            </a:r>
          </a:p>
        </p:txBody>
      </p:sp>
      <p:sp>
        <p:nvSpPr>
          <p:cNvPr id="133" name="Rectangle 132"/>
          <p:cNvSpPr>
            <a:spLocks/>
          </p:cNvSpPr>
          <p:nvPr/>
        </p:nvSpPr>
        <p:spPr bwMode="gray">
          <a:xfrm>
            <a:off x="5097560" y="2732071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</a:t>
            </a:r>
          </a:p>
        </p:txBody>
      </p:sp>
      <p:sp>
        <p:nvSpPr>
          <p:cNvPr id="134" name="Rectangle 133"/>
          <p:cNvSpPr>
            <a:spLocks/>
          </p:cNvSpPr>
          <p:nvPr/>
        </p:nvSpPr>
        <p:spPr bwMode="gray">
          <a:xfrm>
            <a:off x="5781178" y="2456602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vs</a:t>
            </a:r>
          </a:p>
        </p:txBody>
      </p:sp>
      <p:sp>
        <p:nvSpPr>
          <p:cNvPr id="135" name="Rectangle 134"/>
          <p:cNvSpPr>
            <a:spLocks/>
          </p:cNvSpPr>
          <p:nvPr/>
        </p:nvSpPr>
        <p:spPr bwMode="gray">
          <a:xfrm>
            <a:off x="7805928" y="2028212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Actual Spending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6" name="Rectangle 165"/>
          <p:cNvSpPr>
            <a:spLocks/>
          </p:cNvSpPr>
          <p:nvPr/>
        </p:nvSpPr>
        <p:spPr bwMode="gray">
          <a:xfrm rot="16200000">
            <a:off x="396762" y="5713025"/>
            <a:ext cx="741980" cy="1032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BA6A66C4-6846-1943-B1EE-DB85329D95BB}"/>
              </a:ext>
            </a:extLst>
          </p:cNvPr>
          <p:cNvGrpSpPr/>
          <p:nvPr/>
        </p:nvGrpSpPr>
        <p:grpSpPr>
          <a:xfrm rot="5400000">
            <a:off x="4931873" y="4495095"/>
            <a:ext cx="144000" cy="1332000"/>
            <a:chOff x="5688912" y="2372505"/>
            <a:chExt cx="712725" cy="1671702"/>
          </a:xfrm>
        </p:grpSpPr>
        <p:sp>
          <p:nvSpPr>
            <p:cNvPr id="168" name="Raute 132">
              <a:extLst>
                <a:ext uri="{FF2B5EF4-FFF2-40B4-BE49-F238E27FC236}">
                  <a16:creationId xmlns:a16="http://schemas.microsoft.com/office/drawing/2014/main" id="{2217CBDB-202A-F246-8722-B06C04A84306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  <p:sp>
          <p:nvSpPr>
            <p:cNvPr id="169" name="Raute 132">
              <a:extLst>
                <a:ext uri="{FF2B5EF4-FFF2-40B4-BE49-F238E27FC236}">
                  <a16:creationId xmlns:a16="http://schemas.microsoft.com/office/drawing/2014/main" id="{64168741-57E3-9048-82C8-7710F52BC50E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4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</p:grpSp>
      <p:sp>
        <p:nvSpPr>
          <p:cNvPr id="170" name="Rectangle 169"/>
          <p:cNvSpPr>
            <a:spLocks/>
          </p:cNvSpPr>
          <p:nvPr/>
        </p:nvSpPr>
        <p:spPr bwMode="gray">
          <a:xfrm rot="16200000">
            <a:off x="367798" y="5905144"/>
            <a:ext cx="367868" cy="931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16200000">
            <a:off x="226414" y="5542678"/>
            <a:ext cx="75501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Key 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essag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172" name="Group 171"/>
          <p:cNvGrpSpPr>
            <a:grpSpLocks/>
          </p:cNvGrpSpPr>
          <p:nvPr/>
        </p:nvGrpSpPr>
        <p:grpSpPr>
          <a:xfrm>
            <a:off x="1061457" y="5462185"/>
            <a:ext cx="2700000" cy="1125413"/>
            <a:chOff x="707626" y="5336450"/>
            <a:chExt cx="2725739" cy="1125413"/>
          </a:xfrm>
        </p:grpSpPr>
        <p:sp>
          <p:nvSpPr>
            <p:cNvPr id="173" name="Rectangle 172"/>
            <p:cNvSpPr>
              <a:spLocks/>
            </p:cNvSpPr>
            <p:nvPr/>
          </p:nvSpPr>
          <p:spPr>
            <a:xfrm>
              <a:off x="707626" y="5343356"/>
              <a:ext cx="2725739" cy="11185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The project is still well-on-track with a planned Go-Live for 1 Dec. However, due to risk minimization we will only start supporting Business processes 6 weeks later (17</a:t>
              </a:r>
              <a:r>
                <a:rPr lang="en-US" sz="1100" b="1" baseline="30000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 </a:t>
              </a:r>
              <a:r>
                <a:rPr lang="en-US" sz="1100" b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January)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174" name="Rectangle 173"/>
            <p:cNvSpPr>
              <a:spLocks/>
            </p:cNvSpPr>
            <p:nvPr/>
          </p:nvSpPr>
          <p:spPr bwMode="gray">
            <a:xfrm>
              <a:off x="811358" y="5336450"/>
              <a:ext cx="749359" cy="5311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</p:grpSp>
      <p:grpSp>
        <p:nvGrpSpPr>
          <p:cNvPr id="175" name="Group 174"/>
          <p:cNvGrpSpPr>
            <a:grpSpLocks/>
          </p:cNvGrpSpPr>
          <p:nvPr/>
        </p:nvGrpSpPr>
        <p:grpSpPr>
          <a:xfrm>
            <a:off x="3882545" y="5462185"/>
            <a:ext cx="2700000" cy="1125413"/>
            <a:chOff x="707624" y="5336450"/>
            <a:chExt cx="2723239" cy="1125413"/>
          </a:xfrm>
        </p:grpSpPr>
        <p:sp>
          <p:nvSpPr>
            <p:cNvPr id="176" name="Rectangle 175"/>
            <p:cNvSpPr>
              <a:spLocks/>
            </p:cNvSpPr>
            <p:nvPr/>
          </p:nvSpPr>
          <p:spPr>
            <a:xfrm>
              <a:off x="707624" y="5343356"/>
              <a:ext cx="2723239" cy="11185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lnSpc>
                  <a:spcPct val="114000"/>
                </a:lnSpc>
                <a:defRPr/>
              </a:pPr>
              <a:r>
                <a:rPr lang="en-US" sz="1100" b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Several risks evolved, e.g. with respect to AWS and </a:t>
              </a:r>
              <a:r>
                <a:rPr lang="en-US" sz="1100" b="1" err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GxP</a:t>
              </a:r>
              <a:r>
                <a:rPr lang="en-US" sz="1100" b="1">
                  <a:solidFill>
                    <a:srgbClr val="000000"/>
                  </a:solidFill>
                  <a:latin typeface="Arial"/>
                  <a:ea typeface="Arial Unicode MS"/>
                  <a:cs typeface="Arial"/>
                </a:rPr>
                <a:t> validation. Due to great team efforts all risks could have been mitigated </a:t>
              </a:r>
              <a:r>
                <a:rPr lang="en-US" sz="1100" b="1">
                  <a:solidFill>
                    <a:srgbClr val="000000"/>
                  </a:solidFill>
                </a:rPr>
                <a:t>so far 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177" name="Rectangle 176"/>
            <p:cNvSpPr>
              <a:spLocks/>
            </p:cNvSpPr>
            <p:nvPr/>
          </p:nvSpPr>
          <p:spPr bwMode="gray">
            <a:xfrm>
              <a:off x="811358" y="5336450"/>
              <a:ext cx="749359" cy="5311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</p:grpSp>
      <p:grpSp>
        <p:nvGrpSpPr>
          <p:cNvPr id="178" name="Group 177"/>
          <p:cNvGrpSpPr>
            <a:grpSpLocks/>
          </p:cNvGrpSpPr>
          <p:nvPr/>
        </p:nvGrpSpPr>
        <p:grpSpPr>
          <a:xfrm>
            <a:off x="6703634" y="5462185"/>
            <a:ext cx="2700000" cy="1125413"/>
            <a:chOff x="707626" y="5336450"/>
            <a:chExt cx="2725200" cy="1125413"/>
          </a:xfrm>
        </p:grpSpPr>
        <p:sp>
          <p:nvSpPr>
            <p:cNvPr id="179" name="Rectangle 178"/>
            <p:cNvSpPr>
              <a:spLocks/>
            </p:cNvSpPr>
            <p:nvPr/>
          </p:nvSpPr>
          <p:spPr>
            <a:xfrm>
              <a:off x="707626" y="5343356"/>
              <a:ext cx="2725200" cy="11185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The current performance of the model is likely to result in efficiency gains for the Medical Coding team, which are beyond initial expectations</a:t>
              </a:r>
            </a:p>
          </p:txBody>
        </p:sp>
        <p:sp>
          <p:nvSpPr>
            <p:cNvPr id="180" name="Rectangle 179"/>
            <p:cNvSpPr>
              <a:spLocks/>
            </p:cNvSpPr>
            <p:nvPr/>
          </p:nvSpPr>
          <p:spPr bwMode="gray">
            <a:xfrm>
              <a:off x="811358" y="5336450"/>
              <a:ext cx="749359" cy="5311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</p:grpSp>
      <p:sp>
        <p:nvSpPr>
          <p:cNvPr id="181" name="Rectangle 180"/>
          <p:cNvSpPr>
            <a:spLocks/>
          </p:cNvSpPr>
          <p:nvPr/>
        </p:nvSpPr>
        <p:spPr bwMode="gray">
          <a:xfrm>
            <a:off x="371654" y="1540036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>
            <a:off x="371654" y="1589118"/>
            <a:ext cx="804707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bjectiv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83" name="Rectangle 182"/>
          <p:cNvSpPr>
            <a:spLocks/>
          </p:cNvSpPr>
          <p:nvPr/>
        </p:nvSpPr>
        <p:spPr bwMode="gray">
          <a:xfrm rot="16200000">
            <a:off x="4955524" y="3973115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Cross-functional Collaboration</a:t>
            </a:r>
          </a:p>
        </p:txBody>
      </p:sp>
      <p:grpSp>
        <p:nvGrpSpPr>
          <p:cNvPr id="184" name="Group 183"/>
          <p:cNvGrpSpPr/>
          <p:nvPr/>
        </p:nvGrpSpPr>
        <p:grpSpPr>
          <a:xfrm>
            <a:off x="5961286" y="3339102"/>
            <a:ext cx="3769241" cy="1555271"/>
            <a:chOff x="5982452" y="2580382"/>
            <a:chExt cx="4711892" cy="2537064"/>
          </a:xfrm>
        </p:grpSpPr>
        <p:grpSp>
          <p:nvGrpSpPr>
            <p:cNvPr id="185" name="Group 184"/>
            <p:cNvGrpSpPr/>
            <p:nvPr/>
          </p:nvGrpSpPr>
          <p:grpSpPr>
            <a:xfrm>
              <a:off x="5982452" y="2580382"/>
              <a:ext cx="4711892" cy="2537064"/>
              <a:chOff x="5982452" y="2580382"/>
              <a:chExt cx="4711892" cy="2537064"/>
            </a:xfrm>
          </p:grpSpPr>
          <p:sp>
            <p:nvSpPr>
              <p:cNvPr id="187" name="Rectangle 186"/>
              <p:cNvSpPr>
                <a:spLocks/>
              </p:cNvSpPr>
              <p:nvPr/>
            </p:nvSpPr>
            <p:spPr bwMode="gray">
              <a:xfrm>
                <a:off x="7123226" y="3356273"/>
                <a:ext cx="2765786" cy="1021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BC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Decision Science</a:t>
                </a:r>
              </a:p>
            </p:txBody>
          </p:sp>
          <p:sp>
            <p:nvSpPr>
              <p:cNvPr id="188" name="Rectangle 187"/>
              <p:cNvSpPr>
                <a:spLocks/>
              </p:cNvSpPr>
              <p:nvPr/>
            </p:nvSpPr>
            <p:spPr bwMode="gray">
              <a:xfrm>
                <a:off x="7337011" y="3000575"/>
                <a:ext cx="3007887" cy="1021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316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ML Engineering</a:t>
                </a:r>
              </a:p>
            </p:txBody>
          </p:sp>
          <p:sp>
            <p:nvSpPr>
              <p:cNvPr id="189" name="Rectangle 188"/>
              <p:cNvSpPr>
                <a:spLocks/>
              </p:cNvSpPr>
              <p:nvPr/>
            </p:nvSpPr>
            <p:spPr bwMode="gray">
              <a:xfrm>
                <a:off x="5982452" y="3741713"/>
                <a:ext cx="3007885" cy="10214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IT Project Management</a:t>
                </a:r>
              </a:p>
            </p:txBody>
          </p:sp>
          <p:sp>
            <p:nvSpPr>
              <p:cNvPr id="190" name="Rectangle 189"/>
              <p:cNvSpPr>
                <a:spLocks/>
              </p:cNvSpPr>
              <p:nvPr/>
            </p:nvSpPr>
            <p:spPr bwMode="gray">
              <a:xfrm rot="5400000">
                <a:off x="8276677" y="4045705"/>
                <a:ext cx="1122033" cy="1021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D30F4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System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D30F4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Owner</a:t>
                </a:r>
              </a:p>
            </p:txBody>
          </p:sp>
          <p:sp>
            <p:nvSpPr>
              <p:cNvPr id="191" name="Rectangle 190"/>
              <p:cNvSpPr>
                <a:spLocks/>
              </p:cNvSpPr>
              <p:nvPr/>
            </p:nvSpPr>
            <p:spPr bwMode="gray">
              <a:xfrm>
                <a:off x="6197154" y="2884377"/>
                <a:ext cx="3007889" cy="10214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62496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Validation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62496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Experts</a:t>
                </a:r>
              </a:p>
            </p:txBody>
          </p:sp>
          <p:sp>
            <p:nvSpPr>
              <p:cNvPr id="192" name="Rectangle 191"/>
              <p:cNvSpPr>
                <a:spLocks/>
              </p:cNvSpPr>
              <p:nvPr/>
            </p:nvSpPr>
            <p:spPr bwMode="gray">
              <a:xfrm>
                <a:off x="8644622" y="2580382"/>
                <a:ext cx="2049722" cy="10214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89D32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Cloud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89D32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Architecture</a:t>
                </a:r>
              </a:p>
            </p:txBody>
          </p:sp>
          <p:sp>
            <p:nvSpPr>
              <p:cNvPr id="193" name="Rectangle 192"/>
              <p:cNvSpPr>
                <a:spLocks/>
              </p:cNvSpPr>
              <p:nvPr/>
            </p:nvSpPr>
            <p:spPr bwMode="gray">
              <a:xfrm>
                <a:off x="6740858" y="4045708"/>
                <a:ext cx="2466095" cy="10214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ts val="2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89D32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 Unicode MS"/>
                    <a:cs typeface="Arial"/>
                  </a:rPr>
                  <a:t>Process Manager</a:t>
                </a:r>
              </a:p>
            </p:txBody>
          </p:sp>
        </p:grpSp>
        <p:sp>
          <p:nvSpPr>
            <p:cNvPr id="186" name="Rectangle 185"/>
            <p:cNvSpPr>
              <a:spLocks/>
            </p:cNvSpPr>
            <p:nvPr/>
          </p:nvSpPr>
          <p:spPr bwMode="gray">
            <a:xfrm rot="16200000">
              <a:off x="6389146" y="2948130"/>
              <a:ext cx="1269945" cy="10214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D30F4B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/>
                  <a:cs typeface="Arial"/>
                </a:rPr>
                <a:t>Medical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D30F4B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/>
                  <a:cs typeface="Arial"/>
                </a:rPr>
                <a:t>Coding</a:t>
              </a:r>
            </a:p>
          </p:txBody>
        </p:sp>
      </p:grp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52" name="Rectangle 151"/>
          <p:cNvSpPr>
            <a:spLocks/>
          </p:cNvSpPr>
          <p:nvPr/>
        </p:nvSpPr>
        <p:spPr bwMode="gray">
          <a:xfrm>
            <a:off x="8328483" y="4021531"/>
            <a:ext cx="1242184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16</a:t>
            </a:r>
          </a:p>
        </p:txBody>
      </p:sp>
      <p:sp>
        <p:nvSpPr>
          <p:cNvPr id="153" name="Rectangle 152"/>
          <p:cNvSpPr>
            <a:spLocks/>
          </p:cNvSpPr>
          <p:nvPr/>
        </p:nvSpPr>
        <p:spPr bwMode="gray">
          <a:xfrm>
            <a:off x="8009775" y="4591888"/>
            <a:ext cx="1879600" cy="275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Team Size</a:t>
            </a:r>
          </a:p>
        </p:txBody>
      </p:sp>
      <p:sp>
        <p:nvSpPr>
          <p:cNvPr id="144" name="Rectangle 143"/>
          <p:cNvSpPr>
            <a:spLocks/>
          </p:cNvSpPr>
          <p:nvPr/>
        </p:nvSpPr>
        <p:spPr bwMode="gray">
          <a:xfrm>
            <a:off x="-96099" y="3639801"/>
            <a:ext cx="1873796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1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io. €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49" name="Freeform 31">
            <a:extLst>
              <a:ext uri="{FF2B5EF4-FFF2-40B4-BE49-F238E27FC236}">
                <a16:creationId xmlns:a16="http://schemas.microsoft.com/office/drawing/2014/main" id="{7FA3F2B3-2136-40C2-A032-347215914C98}"/>
              </a:ext>
            </a:extLst>
          </p:cNvPr>
          <p:cNvSpPr>
            <a:spLocks/>
          </p:cNvSpPr>
          <p:nvPr/>
        </p:nvSpPr>
        <p:spPr bwMode="gray">
          <a:xfrm rot="21022826">
            <a:off x="49838" y="3865788"/>
            <a:ext cx="508915" cy="45719"/>
          </a:xfrm>
          <a:custGeom>
            <a:avLst/>
            <a:gdLst>
              <a:gd name="T0" fmla="*/ 467 w 540"/>
              <a:gd name="T1" fmla="*/ 5 h 20"/>
              <a:gd name="T2" fmla="*/ 270 w 540"/>
              <a:gd name="T3" fmla="*/ 3 h 20"/>
              <a:gd name="T4" fmla="*/ 73 w 540"/>
              <a:gd name="T5" fmla="*/ 1 h 20"/>
              <a:gd name="T6" fmla="*/ 0 w 540"/>
              <a:gd name="T7" fmla="*/ 8 h 20"/>
              <a:gd name="T8" fmla="*/ 73 w 540"/>
              <a:gd name="T9" fmla="*/ 16 h 20"/>
              <a:gd name="T10" fmla="*/ 270 w 540"/>
              <a:gd name="T11" fmla="*/ 18 h 20"/>
              <a:gd name="T12" fmla="*/ 467 w 540"/>
              <a:gd name="T13" fmla="*/ 20 h 20"/>
              <a:gd name="T14" fmla="*/ 540 w 540"/>
              <a:gd name="T15" fmla="*/ 13 h 20"/>
              <a:gd name="T16" fmla="*/ 467 w 540"/>
              <a:gd name="T17" fmla="*/ 5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40" h="20">
                <a:moveTo>
                  <a:pt x="467" y="5"/>
                </a:moveTo>
                <a:cubicBezTo>
                  <a:pt x="435" y="5"/>
                  <a:pt x="270" y="3"/>
                  <a:pt x="270" y="3"/>
                </a:cubicBezTo>
                <a:cubicBezTo>
                  <a:pt x="270" y="3"/>
                  <a:pt x="106" y="0"/>
                  <a:pt x="73" y="1"/>
                </a:cubicBezTo>
                <a:cubicBezTo>
                  <a:pt x="43" y="1"/>
                  <a:pt x="26" y="3"/>
                  <a:pt x="0" y="8"/>
                </a:cubicBezTo>
                <a:cubicBezTo>
                  <a:pt x="26" y="13"/>
                  <a:pt x="43" y="16"/>
                  <a:pt x="73" y="16"/>
                </a:cubicBezTo>
                <a:cubicBezTo>
                  <a:pt x="106" y="16"/>
                  <a:pt x="270" y="18"/>
                  <a:pt x="270" y="18"/>
                </a:cubicBezTo>
                <a:cubicBezTo>
                  <a:pt x="270" y="18"/>
                  <a:pt x="434" y="20"/>
                  <a:pt x="467" y="20"/>
                </a:cubicBezTo>
                <a:cubicBezTo>
                  <a:pt x="498" y="20"/>
                  <a:pt x="515" y="18"/>
                  <a:pt x="540" y="13"/>
                </a:cubicBezTo>
                <a:cubicBezTo>
                  <a:pt x="515" y="8"/>
                  <a:pt x="498" y="5"/>
                  <a:pt x="467" y="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Rectangle 150"/>
          <p:cNvSpPr>
            <a:spLocks/>
          </p:cNvSpPr>
          <p:nvPr/>
        </p:nvSpPr>
        <p:spPr bwMode="gray">
          <a:xfrm>
            <a:off x="1597440" y="4070046"/>
            <a:ext cx="1873796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480</a:t>
            </a:r>
          </a:p>
        </p:txBody>
      </p:sp>
      <p:sp>
        <p:nvSpPr>
          <p:cNvPr id="154" name="Freeform 31">
            <a:extLst>
              <a:ext uri="{FF2B5EF4-FFF2-40B4-BE49-F238E27FC236}">
                <a16:creationId xmlns:a16="http://schemas.microsoft.com/office/drawing/2014/main" id="{7FA3F2B3-2136-40C2-A032-347215914C98}"/>
              </a:ext>
            </a:extLst>
          </p:cNvPr>
          <p:cNvSpPr>
            <a:spLocks/>
          </p:cNvSpPr>
          <p:nvPr/>
        </p:nvSpPr>
        <p:spPr bwMode="gray">
          <a:xfrm rot="21022826">
            <a:off x="2293414" y="4568936"/>
            <a:ext cx="508915" cy="45719"/>
          </a:xfrm>
          <a:custGeom>
            <a:avLst/>
            <a:gdLst>
              <a:gd name="T0" fmla="*/ 467 w 540"/>
              <a:gd name="T1" fmla="*/ 5 h 20"/>
              <a:gd name="T2" fmla="*/ 270 w 540"/>
              <a:gd name="T3" fmla="*/ 3 h 20"/>
              <a:gd name="T4" fmla="*/ 73 w 540"/>
              <a:gd name="T5" fmla="*/ 1 h 20"/>
              <a:gd name="T6" fmla="*/ 0 w 540"/>
              <a:gd name="T7" fmla="*/ 8 h 20"/>
              <a:gd name="T8" fmla="*/ 73 w 540"/>
              <a:gd name="T9" fmla="*/ 16 h 20"/>
              <a:gd name="T10" fmla="*/ 270 w 540"/>
              <a:gd name="T11" fmla="*/ 18 h 20"/>
              <a:gd name="T12" fmla="*/ 467 w 540"/>
              <a:gd name="T13" fmla="*/ 20 h 20"/>
              <a:gd name="T14" fmla="*/ 540 w 540"/>
              <a:gd name="T15" fmla="*/ 13 h 20"/>
              <a:gd name="T16" fmla="*/ 467 w 540"/>
              <a:gd name="T17" fmla="*/ 5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40" h="20">
                <a:moveTo>
                  <a:pt x="467" y="5"/>
                </a:moveTo>
                <a:cubicBezTo>
                  <a:pt x="435" y="5"/>
                  <a:pt x="270" y="3"/>
                  <a:pt x="270" y="3"/>
                </a:cubicBezTo>
                <a:cubicBezTo>
                  <a:pt x="270" y="3"/>
                  <a:pt x="106" y="0"/>
                  <a:pt x="73" y="1"/>
                </a:cubicBezTo>
                <a:cubicBezTo>
                  <a:pt x="43" y="1"/>
                  <a:pt x="26" y="3"/>
                  <a:pt x="0" y="8"/>
                </a:cubicBezTo>
                <a:cubicBezTo>
                  <a:pt x="26" y="13"/>
                  <a:pt x="43" y="16"/>
                  <a:pt x="73" y="16"/>
                </a:cubicBezTo>
                <a:cubicBezTo>
                  <a:pt x="106" y="16"/>
                  <a:pt x="270" y="18"/>
                  <a:pt x="270" y="18"/>
                </a:cubicBezTo>
                <a:cubicBezTo>
                  <a:pt x="270" y="18"/>
                  <a:pt x="434" y="20"/>
                  <a:pt x="467" y="20"/>
                </a:cubicBezTo>
                <a:cubicBezTo>
                  <a:pt x="498" y="20"/>
                  <a:pt x="515" y="18"/>
                  <a:pt x="540" y="13"/>
                </a:cubicBezTo>
                <a:cubicBezTo>
                  <a:pt x="515" y="8"/>
                  <a:pt x="498" y="5"/>
                  <a:pt x="467" y="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296EDA6-A4FD-4C0B-B37E-A15C3910927A}"/>
              </a:ext>
            </a:extLst>
          </p:cNvPr>
          <p:cNvSpPr>
            <a:spLocks/>
          </p:cNvSpPr>
          <p:nvPr/>
        </p:nvSpPr>
        <p:spPr bwMode="gray">
          <a:xfrm>
            <a:off x="9395701" y="376863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Aug 21</a:t>
            </a:r>
          </a:p>
        </p:txBody>
      </p: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4B3174F8-BC15-4585-A79F-F874A8449837}"/>
              </a:ext>
            </a:extLst>
          </p:cNvPr>
          <p:cNvCxnSpPr/>
          <p:nvPr/>
        </p:nvCxnSpPr>
        <p:spPr>
          <a:xfrm>
            <a:off x="10683599" y="3929330"/>
            <a:ext cx="290402" cy="6194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arrow" w="med" len="med"/>
            <a:tailEnd type="none" w="med" len="med"/>
          </a:ln>
          <a:effectLst/>
        </p:spPr>
      </p:cxn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9AEEB58-E2A9-41A0-8033-43FD0E904A97}"/>
              </a:ext>
            </a:extLst>
          </p:cNvPr>
          <p:cNvSpPr/>
          <p:nvPr/>
        </p:nvSpPr>
        <p:spPr bwMode="gray">
          <a:xfrm>
            <a:off x="10962895" y="378194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We are here</a:t>
            </a:r>
          </a:p>
        </p:txBody>
      </p:sp>
      <p:sp>
        <p:nvSpPr>
          <p:cNvPr id="205" name="Freeform 8">
            <a:extLst>
              <a:ext uri="{FF2B5EF4-FFF2-40B4-BE49-F238E27FC236}">
                <a16:creationId xmlns:a16="http://schemas.microsoft.com/office/drawing/2014/main" id="{DBC6788C-2B5C-43AF-83C0-F0A545E9492D}"/>
              </a:ext>
            </a:extLst>
          </p:cNvPr>
          <p:cNvSpPr>
            <a:spLocks/>
          </p:cNvSpPr>
          <p:nvPr/>
        </p:nvSpPr>
        <p:spPr bwMode="gray">
          <a:xfrm>
            <a:off x="10968019" y="3754432"/>
            <a:ext cx="946967" cy="333925"/>
          </a:xfrm>
          <a:custGeom>
            <a:avLst/>
            <a:gdLst>
              <a:gd name="T0" fmla="*/ 1580 w 1898"/>
              <a:gd name="T1" fmla="*/ 49 h 295"/>
              <a:gd name="T2" fmla="*/ 1067 w 1898"/>
              <a:gd name="T3" fmla="*/ 9 h 295"/>
              <a:gd name="T4" fmla="*/ 284 w 1898"/>
              <a:gd name="T5" fmla="*/ 41 h 295"/>
              <a:gd name="T6" fmla="*/ 60 w 1898"/>
              <a:gd name="T7" fmla="*/ 102 h 295"/>
              <a:gd name="T8" fmla="*/ 15 w 1898"/>
              <a:gd name="T9" fmla="*/ 139 h 295"/>
              <a:gd name="T10" fmla="*/ 24 w 1898"/>
              <a:gd name="T11" fmla="*/ 198 h 295"/>
              <a:gd name="T12" fmla="*/ 110 w 1898"/>
              <a:gd name="T13" fmla="*/ 238 h 295"/>
              <a:gd name="T14" fmla="*/ 295 w 1898"/>
              <a:gd name="T15" fmla="*/ 269 h 295"/>
              <a:gd name="T16" fmla="*/ 904 w 1898"/>
              <a:gd name="T17" fmla="*/ 292 h 295"/>
              <a:gd name="T18" fmla="*/ 1687 w 1898"/>
              <a:gd name="T19" fmla="*/ 256 h 295"/>
              <a:gd name="T20" fmla="*/ 1830 w 1898"/>
              <a:gd name="T21" fmla="*/ 218 h 295"/>
              <a:gd name="T22" fmla="*/ 1886 w 1898"/>
              <a:gd name="T23" fmla="*/ 179 h 295"/>
              <a:gd name="T24" fmla="*/ 1893 w 1898"/>
              <a:gd name="T25" fmla="*/ 142 h 295"/>
              <a:gd name="T26" fmla="*/ 1872 w 1898"/>
              <a:gd name="T27" fmla="*/ 115 h 295"/>
              <a:gd name="T28" fmla="*/ 1636 w 1898"/>
              <a:gd name="T29" fmla="*/ 53 h 295"/>
              <a:gd name="T30" fmla="*/ 1862 w 1898"/>
              <a:gd name="T31" fmla="*/ 127 h 295"/>
              <a:gd name="T32" fmla="*/ 1871 w 1898"/>
              <a:gd name="T33" fmla="*/ 168 h 295"/>
              <a:gd name="T34" fmla="*/ 1822 w 1898"/>
              <a:gd name="T35" fmla="*/ 200 h 295"/>
              <a:gd name="T36" fmla="*/ 1684 w 1898"/>
              <a:gd name="T37" fmla="*/ 235 h 295"/>
              <a:gd name="T38" fmla="*/ 904 w 1898"/>
              <a:gd name="T39" fmla="*/ 270 h 295"/>
              <a:gd name="T40" fmla="*/ 296 w 1898"/>
              <a:gd name="T41" fmla="*/ 247 h 295"/>
              <a:gd name="T42" fmla="*/ 116 w 1898"/>
              <a:gd name="T43" fmla="*/ 217 h 295"/>
              <a:gd name="T44" fmla="*/ 39 w 1898"/>
              <a:gd name="T45" fmla="*/ 182 h 295"/>
              <a:gd name="T46" fmla="*/ 70 w 1898"/>
              <a:gd name="T47" fmla="*/ 122 h 295"/>
              <a:gd name="T48" fmla="*/ 287 w 1898"/>
              <a:gd name="T49" fmla="*/ 63 h 295"/>
              <a:gd name="T50" fmla="*/ 1067 w 1898"/>
              <a:gd name="T51" fmla="*/ 31 h 295"/>
              <a:gd name="T52" fmla="*/ 1580 w 1898"/>
              <a:gd name="T53" fmla="*/ 49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98" h="295">
                <a:moveTo>
                  <a:pt x="1580" y="49"/>
                </a:moveTo>
                <a:cubicBezTo>
                  <a:pt x="1403" y="20"/>
                  <a:pt x="1281" y="14"/>
                  <a:pt x="1067" y="9"/>
                </a:cubicBezTo>
                <a:cubicBezTo>
                  <a:pt x="952" y="8"/>
                  <a:pt x="603" y="0"/>
                  <a:pt x="284" y="41"/>
                </a:cubicBezTo>
                <a:cubicBezTo>
                  <a:pt x="205" y="53"/>
                  <a:pt x="127" y="68"/>
                  <a:pt x="60" y="102"/>
                </a:cubicBezTo>
                <a:cubicBezTo>
                  <a:pt x="43" y="112"/>
                  <a:pt x="27" y="122"/>
                  <a:pt x="15" y="139"/>
                </a:cubicBezTo>
                <a:cubicBezTo>
                  <a:pt x="0" y="156"/>
                  <a:pt x="9" y="187"/>
                  <a:pt x="24" y="198"/>
                </a:cubicBezTo>
                <a:cubicBezTo>
                  <a:pt x="52" y="222"/>
                  <a:pt x="83" y="230"/>
                  <a:pt x="110" y="238"/>
                </a:cubicBezTo>
                <a:cubicBezTo>
                  <a:pt x="221" y="267"/>
                  <a:pt x="295" y="267"/>
                  <a:pt x="295" y="269"/>
                </a:cubicBezTo>
                <a:cubicBezTo>
                  <a:pt x="295" y="270"/>
                  <a:pt x="584" y="291"/>
                  <a:pt x="904" y="292"/>
                </a:cubicBezTo>
                <a:cubicBezTo>
                  <a:pt x="1224" y="295"/>
                  <a:pt x="1572" y="277"/>
                  <a:pt x="1687" y="256"/>
                </a:cubicBezTo>
                <a:cubicBezTo>
                  <a:pt x="1741" y="247"/>
                  <a:pt x="1788" y="236"/>
                  <a:pt x="1830" y="218"/>
                </a:cubicBezTo>
                <a:cubicBezTo>
                  <a:pt x="1851" y="209"/>
                  <a:pt x="1871" y="198"/>
                  <a:pt x="1886" y="179"/>
                </a:cubicBezTo>
                <a:cubicBezTo>
                  <a:pt x="1893" y="170"/>
                  <a:pt x="1898" y="155"/>
                  <a:pt x="1893" y="142"/>
                </a:cubicBezTo>
                <a:cubicBezTo>
                  <a:pt x="1889" y="130"/>
                  <a:pt x="1881" y="122"/>
                  <a:pt x="1872" y="115"/>
                </a:cubicBezTo>
                <a:cubicBezTo>
                  <a:pt x="1801" y="69"/>
                  <a:pt x="1724" y="63"/>
                  <a:pt x="1636" y="53"/>
                </a:cubicBezTo>
                <a:cubicBezTo>
                  <a:pt x="1722" y="70"/>
                  <a:pt x="1801" y="83"/>
                  <a:pt x="1862" y="127"/>
                </a:cubicBezTo>
                <a:cubicBezTo>
                  <a:pt x="1876" y="140"/>
                  <a:pt x="1883" y="155"/>
                  <a:pt x="1871" y="168"/>
                </a:cubicBezTo>
                <a:cubicBezTo>
                  <a:pt x="1860" y="182"/>
                  <a:pt x="1842" y="192"/>
                  <a:pt x="1822" y="200"/>
                </a:cubicBezTo>
                <a:cubicBezTo>
                  <a:pt x="1782" y="216"/>
                  <a:pt x="1736" y="226"/>
                  <a:pt x="1684" y="235"/>
                </a:cubicBezTo>
                <a:cubicBezTo>
                  <a:pt x="1571" y="255"/>
                  <a:pt x="1223" y="273"/>
                  <a:pt x="904" y="270"/>
                </a:cubicBezTo>
                <a:cubicBezTo>
                  <a:pt x="585" y="269"/>
                  <a:pt x="296" y="248"/>
                  <a:pt x="296" y="247"/>
                </a:cubicBezTo>
                <a:cubicBezTo>
                  <a:pt x="297" y="245"/>
                  <a:pt x="223" y="245"/>
                  <a:pt x="116" y="217"/>
                </a:cubicBezTo>
                <a:cubicBezTo>
                  <a:pt x="90" y="210"/>
                  <a:pt x="60" y="200"/>
                  <a:pt x="39" y="182"/>
                </a:cubicBezTo>
                <a:cubicBezTo>
                  <a:pt x="14" y="163"/>
                  <a:pt x="39" y="137"/>
                  <a:pt x="70" y="122"/>
                </a:cubicBezTo>
                <a:cubicBezTo>
                  <a:pt x="132" y="90"/>
                  <a:pt x="209" y="75"/>
                  <a:pt x="287" y="63"/>
                </a:cubicBezTo>
                <a:cubicBezTo>
                  <a:pt x="602" y="23"/>
                  <a:pt x="952" y="30"/>
                  <a:pt x="1067" y="31"/>
                </a:cubicBezTo>
                <a:cubicBezTo>
                  <a:pt x="1281" y="36"/>
                  <a:pt x="1402" y="34"/>
                  <a:pt x="1580" y="4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342CED9-E259-4B3A-B65B-08EC37FC005B}"/>
              </a:ext>
            </a:extLst>
          </p:cNvPr>
          <p:cNvGrpSpPr/>
          <p:nvPr/>
        </p:nvGrpSpPr>
        <p:grpSpPr bwMode="gray">
          <a:xfrm>
            <a:off x="10519665" y="3837143"/>
            <a:ext cx="205069" cy="214556"/>
            <a:chOff x="5710238" y="596900"/>
            <a:chExt cx="538163" cy="498475"/>
          </a:xfrm>
          <a:solidFill>
            <a:schemeClr val="accent6"/>
          </a:solidFill>
        </p:grpSpPr>
        <p:sp>
          <p:nvSpPr>
            <p:cNvPr id="207" name="Freeform 63">
              <a:extLst>
                <a:ext uri="{FF2B5EF4-FFF2-40B4-BE49-F238E27FC236}">
                  <a16:creationId xmlns:a16="http://schemas.microsoft.com/office/drawing/2014/main" id="{AAA410A1-0F72-475D-8271-0CA6E8B8C7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596900"/>
              <a:ext cx="430213" cy="479425"/>
            </a:xfrm>
            <a:custGeom>
              <a:avLst/>
              <a:gdLst>
                <a:gd name="T0" fmla="*/ 132 w 132"/>
                <a:gd name="T1" fmla="*/ 0 h 146"/>
                <a:gd name="T2" fmla="*/ 106 w 132"/>
                <a:gd name="T3" fmla="*/ 11 h 146"/>
                <a:gd name="T4" fmla="*/ 56 w 132"/>
                <a:gd name="T5" fmla="*/ 64 h 146"/>
                <a:gd name="T6" fmla="*/ 9 w 132"/>
                <a:gd name="T7" fmla="*/ 119 h 146"/>
                <a:gd name="T8" fmla="*/ 0 w 132"/>
                <a:gd name="T9" fmla="*/ 146 h 146"/>
                <a:gd name="T10" fmla="*/ 25 w 132"/>
                <a:gd name="T11" fmla="*/ 133 h 146"/>
                <a:gd name="T12" fmla="*/ 73 w 132"/>
                <a:gd name="T13" fmla="*/ 79 h 146"/>
                <a:gd name="T14" fmla="*/ 121 w 132"/>
                <a:gd name="T15" fmla="*/ 26 h 146"/>
                <a:gd name="T16" fmla="*/ 132 w 132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46">
                  <a:moveTo>
                    <a:pt x="132" y="0"/>
                  </a:moveTo>
                  <a:cubicBezTo>
                    <a:pt x="121" y="1"/>
                    <a:pt x="114" y="3"/>
                    <a:pt x="106" y="11"/>
                  </a:cubicBezTo>
                  <a:cubicBezTo>
                    <a:pt x="97" y="19"/>
                    <a:pt x="56" y="64"/>
                    <a:pt x="56" y="64"/>
                  </a:cubicBezTo>
                  <a:cubicBezTo>
                    <a:pt x="56" y="64"/>
                    <a:pt x="16" y="109"/>
                    <a:pt x="9" y="119"/>
                  </a:cubicBezTo>
                  <a:cubicBezTo>
                    <a:pt x="2" y="127"/>
                    <a:pt x="1" y="135"/>
                    <a:pt x="0" y="146"/>
                  </a:cubicBezTo>
                  <a:cubicBezTo>
                    <a:pt x="11" y="143"/>
                    <a:pt x="18" y="141"/>
                    <a:pt x="25" y="133"/>
                  </a:cubicBezTo>
                  <a:cubicBezTo>
                    <a:pt x="33" y="123"/>
                    <a:pt x="72" y="78"/>
                    <a:pt x="73" y="79"/>
                  </a:cubicBezTo>
                  <a:cubicBezTo>
                    <a:pt x="72" y="78"/>
                    <a:pt x="113" y="35"/>
                    <a:pt x="121" y="26"/>
                  </a:cubicBezTo>
                  <a:cubicBezTo>
                    <a:pt x="129" y="18"/>
                    <a:pt x="131" y="11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208" name="Freeform 64">
              <a:extLst>
                <a:ext uri="{FF2B5EF4-FFF2-40B4-BE49-F238E27FC236}">
                  <a16:creationId xmlns:a16="http://schemas.microsoft.com/office/drawing/2014/main" id="{F669B215-7A65-4053-86C8-96C255AA83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708025"/>
              <a:ext cx="538163" cy="387350"/>
            </a:xfrm>
            <a:custGeom>
              <a:avLst/>
              <a:gdLst>
                <a:gd name="T0" fmla="*/ 0 w 165"/>
                <a:gd name="T1" fmla="*/ 2 h 118"/>
                <a:gd name="T2" fmla="*/ 19 w 165"/>
                <a:gd name="T3" fmla="*/ 25 h 118"/>
                <a:gd name="T4" fmla="*/ 81 w 165"/>
                <a:gd name="T5" fmla="*/ 63 h 118"/>
                <a:gd name="T6" fmla="*/ 138 w 165"/>
                <a:gd name="T7" fmla="*/ 107 h 118"/>
                <a:gd name="T8" fmla="*/ 165 w 165"/>
                <a:gd name="T9" fmla="*/ 118 h 118"/>
                <a:gd name="T10" fmla="*/ 153 w 165"/>
                <a:gd name="T11" fmla="*/ 91 h 118"/>
                <a:gd name="T12" fmla="*/ 93 w 165"/>
                <a:gd name="T13" fmla="*/ 45 h 118"/>
                <a:gd name="T14" fmla="*/ 30 w 165"/>
                <a:gd name="T15" fmla="*/ 5 h 118"/>
                <a:gd name="T16" fmla="*/ 0 w 165"/>
                <a:gd name="T17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18">
                  <a:moveTo>
                    <a:pt x="0" y="2"/>
                  </a:moveTo>
                  <a:cubicBezTo>
                    <a:pt x="5" y="13"/>
                    <a:pt x="9" y="19"/>
                    <a:pt x="19" y="25"/>
                  </a:cubicBezTo>
                  <a:cubicBezTo>
                    <a:pt x="30" y="30"/>
                    <a:pt x="82" y="62"/>
                    <a:pt x="81" y="63"/>
                  </a:cubicBezTo>
                  <a:cubicBezTo>
                    <a:pt x="82" y="62"/>
                    <a:pt x="130" y="98"/>
                    <a:pt x="138" y="107"/>
                  </a:cubicBezTo>
                  <a:cubicBezTo>
                    <a:pt x="147" y="114"/>
                    <a:pt x="153" y="116"/>
                    <a:pt x="165" y="118"/>
                  </a:cubicBezTo>
                  <a:cubicBezTo>
                    <a:pt x="163" y="107"/>
                    <a:pt x="162" y="98"/>
                    <a:pt x="153" y="91"/>
                  </a:cubicBezTo>
                  <a:cubicBezTo>
                    <a:pt x="144" y="81"/>
                    <a:pt x="94" y="44"/>
                    <a:pt x="93" y="45"/>
                  </a:cubicBezTo>
                  <a:cubicBezTo>
                    <a:pt x="94" y="44"/>
                    <a:pt x="41" y="11"/>
                    <a:pt x="30" y="5"/>
                  </a:cubicBezTo>
                  <a:cubicBezTo>
                    <a:pt x="19" y="0"/>
                    <a:pt x="1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0327EE3-13DB-4642-998D-E50F52CAF316}"/>
              </a:ext>
            </a:extLst>
          </p:cNvPr>
          <p:cNvSpPr>
            <a:spLocks/>
          </p:cNvSpPr>
          <p:nvPr/>
        </p:nvSpPr>
        <p:spPr bwMode="gray">
          <a:xfrm>
            <a:off x="1368813" y="3878951"/>
            <a:ext cx="1873796" cy="102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770</a:t>
            </a:r>
          </a:p>
        </p:txBody>
      </p:sp>
      <p:sp>
        <p:nvSpPr>
          <p:cNvPr id="210" name="Freeform 31">
            <a:extLst>
              <a:ext uri="{FF2B5EF4-FFF2-40B4-BE49-F238E27FC236}">
                <a16:creationId xmlns:a16="http://schemas.microsoft.com/office/drawing/2014/main" id="{C7A1A2E8-80CB-4FF7-8644-8C5CCF2BEB6A}"/>
              </a:ext>
            </a:extLst>
          </p:cNvPr>
          <p:cNvSpPr>
            <a:spLocks/>
          </p:cNvSpPr>
          <p:nvPr/>
        </p:nvSpPr>
        <p:spPr bwMode="gray">
          <a:xfrm rot="21022826">
            <a:off x="2064787" y="4377841"/>
            <a:ext cx="508915" cy="45719"/>
          </a:xfrm>
          <a:custGeom>
            <a:avLst/>
            <a:gdLst>
              <a:gd name="T0" fmla="*/ 467 w 540"/>
              <a:gd name="T1" fmla="*/ 5 h 20"/>
              <a:gd name="T2" fmla="*/ 270 w 540"/>
              <a:gd name="T3" fmla="*/ 3 h 20"/>
              <a:gd name="T4" fmla="*/ 73 w 540"/>
              <a:gd name="T5" fmla="*/ 1 h 20"/>
              <a:gd name="T6" fmla="*/ 0 w 540"/>
              <a:gd name="T7" fmla="*/ 8 h 20"/>
              <a:gd name="T8" fmla="*/ 73 w 540"/>
              <a:gd name="T9" fmla="*/ 16 h 20"/>
              <a:gd name="T10" fmla="*/ 270 w 540"/>
              <a:gd name="T11" fmla="*/ 18 h 20"/>
              <a:gd name="T12" fmla="*/ 467 w 540"/>
              <a:gd name="T13" fmla="*/ 20 h 20"/>
              <a:gd name="T14" fmla="*/ 540 w 540"/>
              <a:gd name="T15" fmla="*/ 13 h 20"/>
              <a:gd name="T16" fmla="*/ 467 w 540"/>
              <a:gd name="T17" fmla="*/ 5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40" h="20">
                <a:moveTo>
                  <a:pt x="467" y="5"/>
                </a:moveTo>
                <a:cubicBezTo>
                  <a:pt x="435" y="5"/>
                  <a:pt x="270" y="3"/>
                  <a:pt x="270" y="3"/>
                </a:cubicBezTo>
                <a:cubicBezTo>
                  <a:pt x="270" y="3"/>
                  <a:pt x="106" y="0"/>
                  <a:pt x="73" y="1"/>
                </a:cubicBezTo>
                <a:cubicBezTo>
                  <a:pt x="43" y="1"/>
                  <a:pt x="26" y="3"/>
                  <a:pt x="0" y="8"/>
                </a:cubicBezTo>
                <a:cubicBezTo>
                  <a:pt x="26" y="13"/>
                  <a:pt x="43" y="16"/>
                  <a:pt x="73" y="16"/>
                </a:cubicBezTo>
                <a:cubicBezTo>
                  <a:pt x="106" y="16"/>
                  <a:pt x="270" y="18"/>
                  <a:pt x="270" y="18"/>
                </a:cubicBezTo>
                <a:cubicBezTo>
                  <a:pt x="270" y="18"/>
                  <a:pt x="434" y="20"/>
                  <a:pt x="467" y="20"/>
                </a:cubicBezTo>
                <a:cubicBezTo>
                  <a:pt x="498" y="20"/>
                  <a:pt x="515" y="18"/>
                  <a:pt x="540" y="13"/>
                </a:cubicBezTo>
                <a:cubicBezTo>
                  <a:pt x="515" y="8"/>
                  <a:pt x="498" y="5"/>
                  <a:pt x="467" y="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7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424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1A246C2-7891-4153-8173-AB72BCCBDA2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1" y="1138299"/>
            <a:ext cx="8600936" cy="334028"/>
          </a:xfrm>
        </p:spPr>
        <p:txBody>
          <a:bodyPr/>
          <a:lstStyle/>
          <a:p>
            <a:endParaRPr lang="de-DE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Holmes Development Lifecycle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97" name="Hexagon 10">
            <a:extLst>
              <a:ext uri="{FF2B5EF4-FFF2-40B4-BE49-F238E27FC236}">
                <a16:creationId xmlns:a16="http://schemas.microsoft.com/office/drawing/2014/main" id="{33B4A255-A42A-47E5-BBF8-450FEC78C35C}"/>
              </a:ext>
            </a:extLst>
          </p:cNvPr>
          <p:cNvSpPr/>
          <p:nvPr/>
        </p:nvSpPr>
        <p:spPr bwMode="gray">
          <a:xfrm rot="5400000">
            <a:off x="1192388" y="2559580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1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8" name="Hexagon 10">
            <a:extLst>
              <a:ext uri="{FF2B5EF4-FFF2-40B4-BE49-F238E27FC236}">
                <a16:creationId xmlns:a16="http://schemas.microsoft.com/office/drawing/2014/main" id="{4FD3C07C-4B78-484D-9648-55078F5DE087}"/>
              </a:ext>
            </a:extLst>
          </p:cNvPr>
          <p:cNvSpPr/>
          <p:nvPr/>
        </p:nvSpPr>
        <p:spPr bwMode="gray">
          <a:xfrm rot="5400000" flipH="1">
            <a:off x="2517909" y="3217712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2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9" name="Hexagon 10">
            <a:extLst>
              <a:ext uri="{FF2B5EF4-FFF2-40B4-BE49-F238E27FC236}">
                <a16:creationId xmlns:a16="http://schemas.microsoft.com/office/drawing/2014/main" id="{2CBD80C7-DE19-41BB-9401-273E837E419D}"/>
              </a:ext>
            </a:extLst>
          </p:cNvPr>
          <p:cNvSpPr/>
          <p:nvPr/>
        </p:nvSpPr>
        <p:spPr bwMode="gray">
          <a:xfrm rot="5400000">
            <a:off x="3820177" y="2559580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4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0" name="Hexagon 10">
            <a:extLst>
              <a:ext uri="{FF2B5EF4-FFF2-40B4-BE49-F238E27FC236}">
                <a16:creationId xmlns:a16="http://schemas.microsoft.com/office/drawing/2014/main" id="{A53386E8-9D04-4401-84C1-CE8DB86499D4}"/>
              </a:ext>
            </a:extLst>
          </p:cNvPr>
          <p:cNvSpPr/>
          <p:nvPr/>
        </p:nvSpPr>
        <p:spPr bwMode="gray">
          <a:xfrm rot="5400000" flipH="1">
            <a:off x="5145698" y="3217712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accent5"/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1" name="Hexagon 10">
            <a:extLst>
              <a:ext uri="{FF2B5EF4-FFF2-40B4-BE49-F238E27FC236}">
                <a16:creationId xmlns:a16="http://schemas.microsoft.com/office/drawing/2014/main" id="{60153D2B-67A4-4BD9-9702-351AD78AD926}"/>
              </a:ext>
            </a:extLst>
          </p:cNvPr>
          <p:cNvSpPr/>
          <p:nvPr/>
        </p:nvSpPr>
        <p:spPr bwMode="gray">
          <a:xfrm rot="5400000">
            <a:off x="6447965" y="2559580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accent6"/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2" name="Hexagon 201">
            <a:extLst>
              <a:ext uri="{FF2B5EF4-FFF2-40B4-BE49-F238E27FC236}">
                <a16:creationId xmlns:a16="http://schemas.microsoft.com/office/drawing/2014/main" id="{02218789-BB2C-4DF6-8226-EB9DB14783D6}"/>
              </a:ext>
            </a:extLst>
          </p:cNvPr>
          <p:cNvSpPr/>
          <p:nvPr/>
        </p:nvSpPr>
        <p:spPr bwMode="gray">
          <a:xfrm rot="16200000">
            <a:off x="1290471" y="2661334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3" name="Hexagon 202">
            <a:extLst>
              <a:ext uri="{FF2B5EF4-FFF2-40B4-BE49-F238E27FC236}">
                <a16:creationId xmlns:a16="http://schemas.microsoft.com/office/drawing/2014/main" id="{574A566D-36B0-4C0D-8434-34E020E4CD2C}"/>
              </a:ext>
            </a:extLst>
          </p:cNvPr>
          <p:cNvSpPr/>
          <p:nvPr/>
        </p:nvSpPr>
        <p:spPr bwMode="gray">
          <a:xfrm rot="16200000">
            <a:off x="2620754" y="3314928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4" name="Hexagon 203">
            <a:extLst>
              <a:ext uri="{FF2B5EF4-FFF2-40B4-BE49-F238E27FC236}">
                <a16:creationId xmlns:a16="http://schemas.microsoft.com/office/drawing/2014/main" id="{C87EE9CE-0A39-42B6-9AE6-CFFD383404CE}"/>
              </a:ext>
            </a:extLst>
          </p:cNvPr>
          <p:cNvSpPr>
            <a:spLocks/>
          </p:cNvSpPr>
          <p:nvPr/>
        </p:nvSpPr>
        <p:spPr bwMode="gray">
          <a:xfrm rot="16200000">
            <a:off x="3923021" y="2656796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5" name="Hexagon 204">
            <a:extLst>
              <a:ext uri="{FF2B5EF4-FFF2-40B4-BE49-F238E27FC236}">
                <a16:creationId xmlns:a16="http://schemas.microsoft.com/office/drawing/2014/main" id="{E1792963-3546-4BFD-8D1A-BA34CA47745D}"/>
              </a:ext>
            </a:extLst>
          </p:cNvPr>
          <p:cNvSpPr>
            <a:spLocks/>
          </p:cNvSpPr>
          <p:nvPr/>
        </p:nvSpPr>
        <p:spPr bwMode="gray">
          <a:xfrm rot="16200000">
            <a:off x="5248543" y="3314928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6" name="Hexagon 205">
            <a:extLst>
              <a:ext uri="{FF2B5EF4-FFF2-40B4-BE49-F238E27FC236}">
                <a16:creationId xmlns:a16="http://schemas.microsoft.com/office/drawing/2014/main" id="{4B3C7CAF-5C5E-47C4-8C7B-72CDF41A670A}"/>
              </a:ext>
            </a:extLst>
          </p:cNvPr>
          <p:cNvSpPr>
            <a:spLocks/>
          </p:cNvSpPr>
          <p:nvPr/>
        </p:nvSpPr>
        <p:spPr bwMode="gray">
          <a:xfrm rot="16200000">
            <a:off x="6550810" y="2656797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BE75C26D-288F-4048-BAF5-13CDAB244A66}"/>
              </a:ext>
            </a:extLst>
          </p:cNvPr>
          <p:cNvGrpSpPr/>
          <p:nvPr/>
        </p:nvGrpSpPr>
        <p:grpSpPr>
          <a:xfrm>
            <a:off x="1840997" y="2306089"/>
            <a:ext cx="5266309" cy="199404"/>
            <a:chOff x="1425933" y="1146206"/>
            <a:chExt cx="6282218" cy="1374704"/>
          </a:xfrm>
        </p:grpSpPr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71F48747-AE2E-45BD-9F8C-8099EA6125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5933" y="1146206"/>
              <a:ext cx="688" cy="1374704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2CBEF1FD-75A0-43E4-8BC3-0E04C7EB8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66698" y="1146206"/>
              <a:ext cx="688" cy="1374704"/>
            </a:xfrm>
            <a:prstGeom prst="line">
              <a:avLst/>
            </a:prstGeom>
            <a:ln>
              <a:solidFill>
                <a:schemeClr val="accent4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D8F66EB9-E612-4CDF-B613-F04B582CBF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07463" y="1146206"/>
              <a:ext cx="688" cy="1374704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9089C857-37A3-4736-929C-6D0D47610D60}"/>
              </a:ext>
            </a:extLst>
          </p:cNvPr>
          <p:cNvGrpSpPr/>
          <p:nvPr/>
        </p:nvGrpSpPr>
        <p:grpSpPr>
          <a:xfrm>
            <a:off x="3171428" y="4480396"/>
            <a:ext cx="2623921" cy="166857"/>
            <a:chOff x="3013013" y="5005847"/>
            <a:chExt cx="3130094" cy="938942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097C9AE1-C019-4ECF-9A3D-A604F9CA8C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2419" y="5005849"/>
              <a:ext cx="688" cy="938940"/>
            </a:xfrm>
            <a:prstGeom prst="line">
              <a:avLst/>
            </a:prstGeom>
            <a:ln>
              <a:solidFill>
                <a:schemeClr val="accent5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C355E85-2FD9-401F-AF69-354C5EE8C0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3013" y="5005847"/>
              <a:ext cx="688" cy="938939"/>
            </a:xfrm>
            <a:prstGeom prst="line">
              <a:avLst/>
            </a:prstGeom>
            <a:ln>
              <a:solidFill>
                <a:schemeClr val="accent2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1DB6B88C-ECB5-4448-BD58-2C51BDCEE0A5}"/>
              </a:ext>
            </a:extLst>
          </p:cNvPr>
          <p:cNvSpPr/>
          <p:nvPr/>
        </p:nvSpPr>
        <p:spPr>
          <a:xfrm>
            <a:off x="1130630" y="1975066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Planning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5ECADE8-3103-4B20-BA19-0554069258A4}"/>
              </a:ext>
            </a:extLst>
          </p:cNvPr>
          <p:cNvSpPr/>
          <p:nvPr/>
        </p:nvSpPr>
        <p:spPr>
          <a:xfrm>
            <a:off x="3878800" y="1975066"/>
            <a:ext cx="119901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Modelling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06935711-88E4-4E58-B4C9-4F9FF8B6A7E7}"/>
              </a:ext>
            </a:extLst>
          </p:cNvPr>
          <p:cNvSpPr/>
          <p:nvPr/>
        </p:nvSpPr>
        <p:spPr>
          <a:xfrm>
            <a:off x="5969299" y="1975066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Validation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D0E0F0B-E0A5-4F35-8CFB-F5AB6D6FB554}"/>
              </a:ext>
            </a:extLst>
          </p:cNvPr>
          <p:cNvSpPr/>
          <p:nvPr/>
        </p:nvSpPr>
        <p:spPr>
          <a:xfrm>
            <a:off x="2450028" y="4645728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Explor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1EA8D65-1C1C-4350-95E1-07A4491AF15C}"/>
              </a:ext>
            </a:extLst>
          </p:cNvPr>
          <p:cNvSpPr/>
          <p:nvPr/>
        </p:nvSpPr>
        <p:spPr>
          <a:xfrm>
            <a:off x="4656148" y="4645728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Engineering</a:t>
            </a:r>
          </a:p>
        </p:txBody>
      </p:sp>
      <p:sp>
        <p:nvSpPr>
          <p:cNvPr id="226" name="Hexagon 58">
            <a:extLst>
              <a:ext uri="{FF2B5EF4-FFF2-40B4-BE49-F238E27FC236}">
                <a16:creationId xmlns:a16="http://schemas.microsoft.com/office/drawing/2014/main" id="{4608056B-4104-4663-94D5-07B238D0A2C6}"/>
              </a:ext>
            </a:extLst>
          </p:cNvPr>
          <p:cNvSpPr/>
          <p:nvPr/>
        </p:nvSpPr>
        <p:spPr bwMode="gray">
          <a:xfrm rot="16200000">
            <a:off x="1705714" y="3207830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7" name="Hexagon 58">
            <a:extLst>
              <a:ext uri="{FF2B5EF4-FFF2-40B4-BE49-F238E27FC236}">
                <a16:creationId xmlns:a16="http://schemas.microsoft.com/office/drawing/2014/main" id="{7FEDA1E9-9025-4222-8B3E-007DABE933E3}"/>
              </a:ext>
            </a:extLst>
          </p:cNvPr>
          <p:cNvSpPr/>
          <p:nvPr/>
        </p:nvSpPr>
        <p:spPr bwMode="gray">
          <a:xfrm rot="16200000">
            <a:off x="4328679" y="320329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8" name="Hexagon 58">
            <a:extLst>
              <a:ext uri="{FF2B5EF4-FFF2-40B4-BE49-F238E27FC236}">
                <a16:creationId xmlns:a16="http://schemas.microsoft.com/office/drawing/2014/main" id="{341DB174-C2B6-4609-9BEA-1A41A014DFF6}"/>
              </a:ext>
            </a:extLst>
          </p:cNvPr>
          <p:cNvSpPr/>
          <p:nvPr/>
        </p:nvSpPr>
        <p:spPr bwMode="gray">
          <a:xfrm rot="16200000">
            <a:off x="6951643" y="319875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9" name="Hexagon 58">
            <a:extLst>
              <a:ext uri="{FF2B5EF4-FFF2-40B4-BE49-F238E27FC236}">
                <a16:creationId xmlns:a16="http://schemas.microsoft.com/office/drawing/2014/main" id="{F2AE54A5-748B-45B5-8772-7F29C09500DB}"/>
              </a:ext>
            </a:extLst>
          </p:cNvPr>
          <p:cNvSpPr/>
          <p:nvPr/>
        </p:nvSpPr>
        <p:spPr bwMode="gray">
          <a:xfrm rot="5400000" flipV="1">
            <a:off x="5637999" y="253801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0" name="Hexagon 58">
            <a:extLst>
              <a:ext uri="{FF2B5EF4-FFF2-40B4-BE49-F238E27FC236}">
                <a16:creationId xmlns:a16="http://schemas.microsoft.com/office/drawing/2014/main" id="{71248B5A-4534-4A22-B526-3476100187D4}"/>
              </a:ext>
            </a:extLst>
          </p:cNvPr>
          <p:cNvSpPr/>
          <p:nvPr/>
        </p:nvSpPr>
        <p:spPr bwMode="gray">
          <a:xfrm rot="5400000" flipV="1">
            <a:off x="3029004" y="255131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1" name="Hexagon 10">
            <a:extLst>
              <a:ext uri="{FF2B5EF4-FFF2-40B4-BE49-F238E27FC236}">
                <a16:creationId xmlns:a16="http://schemas.microsoft.com/office/drawing/2014/main" id="{CC251BAF-13A4-4ECA-A47E-A0853474ED72}"/>
              </a:ext>
            </a:extLst>
          </p:cNvPr>
          <p:cNvSpPr/>
          <p:nvPr/>
        </p:nvSpPr>
        <p:spPr bwMode="gray">
          <a:xfrm rot="5400000" flipH="1">
            <a:off x="7768866" y="3231415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2" name="Hexagon 231">
            <a:extLst>
              <a:ext uri="{FF2B5EF4-FFF2-40B4-BE49-F238E27FC236}">
                <a16:creationId xmlns:a16="http://schemas.microsoft.com/office/drawing/2014/main" id="{2EF3E5C7-1C8A-47E8-8105-E633AC406B0F}"/>
              </a:ext>
            </a:extLst>
          </p:cNvPr>
          <p:cNvSpPr/>
          <p:nvPr/>
        </p:nvSpPr>
        <p:spPr bwMode="gray">
          <a:xfrm rot="16200000">
            <a:off x="7871711" y="3328631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F6ADF69-A80C-40A4-9F54-E20D16DB37A7}"/>
              </a:ext>
            </a:extLst>
          </p:cNvPr>
          <p:cNvSpPr/>
          <p:nvPr/>
        </p:nvSpPr>
        <p:spPr>
          <a:xfrm>
            <a:off x="7279316" y="4659431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Deployment</a:t>
            </a:r>
          </a:p>
        </p:txBody>
      </p:sp>
      <p:sp>
        <p:nvSpPr>
          <p:cNvPr id="236" name="Hexagon 58">
            <a:extLst>
              <a:ext uri="{FF2B5EF4-FFF2-40B4-BE49-F238E27FC236}">
                <a16:creationId xmlns:a16="http://schemas.microsoft.com/office/drawing/2014/main" id="{47E1E454-6BC6-4FE5-A45F-0AAE081AFE7A}"/>
              </a:ext>
            </a:extLst>
          </p:cNvPr>
          <p:cNvSpPr/>
          <p:nvPr/>
        </p:nvSpPr>
        <p:spPr bwMode="gray">
          <a:xfrm rot="5400000" flipV="1">
            <a:off x="8261167" y="2551715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0AD7F1F-DECA-4AA0-953E-372CA19338A9}"/>
              </a:ext>
            </a:extLst>
          </p:cNvPr>
          <p:cNvCxnSpPr>
            <a:cxnSpLocks/>
          </p:cNvCxnSpPr>
          <p:nvPr/>
        </p:nvCxnSpPr>
        <p:spPr>
          <a:xfrm flipH="1">
            <a:off x="8425800" y="4480396"/>
            <a:ext cx="577" cy="166857"/>
          </a:xfrm>
          <a:prstGeom prst="line">
            <a:avLst/>
          </a:prstGeom>
          <a:ln>
            <a:solidFill>
              <a:schemeClr val="accent5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myP_Server">
            <a:extLst>
              <a:ext uri="{FF2B5EF4-FFF2-40B4-BE49-F238E27FC236}">
                <a16:creationId xmlns:a16="http://schemas.microsoft.com/office/drawing/2014/main" id="{9B40E6A5-1B02-42DD-9A18-9A5F72D94E4A}"/>
              </a:ext>
            </a:extLst>
          </p:cNvPr>
          <p:cNvGrpSpPr/>
          <p:nvPr/>
        </p:nvGrpSpPr>
        <p:grpSpPr>
          <a:xfrm>
            <a:off x="3030897" y="3670257"/>
            <a:ext cx="355758" cy="354868"/>
            <a:chOff x="4972448" y="2995216"/>
            <a:chExt cx="533564" cy="532230"/>
          </a:xfrm>
          <a:solidFill>
            <a:schemeClr val="tx1"/>
          </a:solidFill>
        </p:grpSpPr>
        <p:sp>
          <p:nvSpPr>
            <p:cNvPr id="98" name="Freeform 619">
              <a:extLst>
                <a:ext uri="{FF2B5EF4-FFF2-40B4-BE49-F238E27FC236}">
                  <a16:creationId xmlns:a16="http://schemas.microsoft.com/office/drawing/2014/main" id="{075E3DA4-0DFF-4CFA-A8A9-971D98F0E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448" y="2995216"/>
              <a:ext cx="344149" cy="125387"/>
            </a:xfrm>
            <a:custGeom>
              <a:avLst/>
              <a:gdLst>
                <a:gd name="T0" fmla="*/ 22 w 297"/>
                <a:gd name="T1" fmla="*/ 81 h 108"/>
                <a:gd name="T2" fmla="*/ 45 w 297"/>
                <a:gd name="T3" fmla="*/ 91 h 108"/>
                <a:gd name="T4" fmla="*/ 54 w 297"/>
                <a:gd name="T5" fmla="*/ 95 h 108"/>
                <a:gd name="T6" fmla="*/ 74 w 297"/>
                <a:gd name="T7" fmla="*/ 100 h 108"/>
                <a:gd name="T8" fmla="*/ 85 w 297"/>
                <a:gd name="T9" fmla="*/ 102 h 108"/>
                <a:gd name="T10" fmla="*/ 97 w 297"/>
                <a:gd name="T11" fmla="*/ 104 h 108"/>
                <a:gd name="T12" fmla="*/ 109 w 297"/>
                <a:gd name="T13" fmla="*/ 105 h 108"/>
                <a:gd name="T14" fmla="*/ 122 w 297"/>
                <a:gd name="T15" fmla="*/ 107 h 108"/>
                <a:gd name="T16" fmla="*/ 136 w 297"/>
                <a:gd name="T17" fmla="*/ 107 h 108"/>
                <a:gd name="T18" fmla="*/ 161 w 297"/>
                <a:gd name="T19" fmla="*/ 107 h 108"/>
                <a:gd name="T20" fmla="*/ 174 w 297"/>
                <a:gd name="T21" fmla="*/ 107 h 108"/>
                <a:gd name="T22" fmla="*/ 188 w 297"/>
                <a:gd name="T23" fmla="*/ 105 h 108"/>
                <a:gd name="T24" fmla="*/ 200 w 297"/>
                <a:gd name="T25" fmla="*/ 104 h 108"/>
                <a:gd name="T26" fmla="*/ 211 w 297"/>
                <a:gd name="T27" fmla="*/ 102 h 108"/>
                <a:gd name="T28" fmla="*/ 223 w 297"/>
                <a:gd name="T29" fmla="*/ 100 h 108"/>
                <a:gd name="T30" fmla="*/ 243 w 297"/>
                <a:gd name="T31" fmla="*/ 95 h 108"/>
                <a:gd name="T32" fmla="*/ 252 w 297"/>
                <a:gd name="T33" fmla="*/ 91 h 108"/>
                <a:gd name="T34" fmla="*/ 275 w 297"/>
                <a:gd name="T35" fmla="*/ 81 h 108"/>
                <a:gd name="T36" fmla="*/ 297 w 297"/>
                <a:gd name="T37" fmla="*/ 54 h 108"/>
                <a:gd name="T38" fmla="*/ 275 w 297"/>
                <a:gd name="T39" fmla="*/ 27 h 108"/>
                <a:gd name="T40" fmla="*/ 252 w 297"/>
                <a:gd name="T41" fmla="*/ 16 h 108"/>
                <a:gd name="T42" fmla="*/ 243 w 297"/>
                <a:gd name="T43" fmla="*/ 13 h 108"/>
                <a:gd name="T44" fmla="*/ 223 w 297"/>
                <a:gd name="T45" fmla="*/ 8 h 108"/>
                <a:gd name="T46" fmla="*/ 211 w 297"/>
                <a:gd name="T47" fmla="*/ 5 h 108"/>
                <a:gd name="T48" fmla="*/ 200 w 297"/>
                <a:gd name="T49" fmla="*/ 4 h 108"/>
                <a:gd name="T50" fmla="*/ 188 w 297"/>
                <a:gd name="T51" fmla="*/ 2 h 108"/>
                <a:gd name="T52" fmla="*/ 174 w 297"/>
                <a:gd name="T53" fmla="*/ 1 h 108"/>
                <a:gd name="T54" fmla="*/ 161 w 297"/>
                <a:gd name="T55" fmla="*/ 0 h 108"/>
                <a:gd name="T56" fmla="*/ 136 w 297"/>
                <a:gd name="T57" fmla="*/ 0 h 108"/>
                <a:gd name="T58" fmla="*/ 122 w 297"/>
                <a:gd name="T59" fmla="*/ 1 h 108"/>
                <a:gd name="T60" fmla="*/ 109 w 297"/>
                <a:gd name="T61" fmla="*/ 2 h 108"/>
                <a:gd name="T62" fmla="*/ 97 w 297"/>
                <a:gd name="T63" fmla="*/ 4 h 108"/>
                <a:gd name="T64" fmla="*/ 85 w 297"/>
                <a:gd name="T65" fmla="*/ 5 h 108"/>
                <a:gd name="T66" fmla="*/ 74 w 297"/>
                <a:gd name="T67" fmla="*/ 8 h 108"/>
                <a:gd name="T68" fmla="*/ 54 w 297"/>
                <a:gd name="T69" fmla="*/ 13 h 108"/>
                <a:gd name="T70" fmla="*/ 45 w 297"/>
                <a:gd name="T71" fmla="*/ 16 h 108"/>
                <a:gd name="T72" fmla="*/ 22 w 297"/>
                <a:gd name="T73" fmla="*/ 27 h 108"/>
                <a:gd name="T74" fmla="*/ 4 w 297"/>
                <a:gd name="T75" fmla="*/ 43 h 108"/>
                <a:gd name="T76" fmla="*/ 0 w 297"/>
                <a:gd name="T77" fmla="*/ 54 h 108"/>
                <a:gd name="T78" fmla="*/ 22 w 297"/>
                <a:gd name="T7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108">
                  <a:moveTo>
                    <a:pt x="22" y="81"/>
                  </a:move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4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5"/>
                    <a:pt x="109" y="105"/>
                  </a:cubicBezTo>
                  <a:cubicBezTo>
                    <a:pt x="112" y="106"/>
                    <a:pt x="116" y="106"/>
                    <a:pt x="120" y="106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7" y="107"/>
                    <a:pt x="171" y="107"/>
                    <a:pt x="174" y="107"/>
                  </a:cubicBezTo>
                  <a:cubicBezTo>
                    <a:pt x="175" y="107"/>
                    <a:pt x="176" y="107"/>
                    <a:pt x="177" y="106"/>
                  </a:cubicBezTo>
                  <a:cubicBezTo>
                    <a:pt x="180" y="106"/>
                    <a:pt x="184" y="106"/>
                    <a:pt x="188" y="105"/>
                  </a:cubicBezTo>
                  <a:cubicBezTo>
                    <a:pt x="188" y="105"/>
                    <a:pt x="189" y="105"/>
                    <a:pt x="189" y="105"/>
                  </a:cubicBezTo>
                  <a:cubicBezTo>
                    <a:pt x="193" y="105"/>
                    <a:pt x="196" y="105"/>
                    <a:pt x="200" y="104"/>
                  </a:cubicBezTo>
                  <a:cubicBezTo>
                    <a:pt x="200" y="104"/>
                    <a:pt x="200" y="104"/>
                    <a:pt x="201" y="104"/>
                  </a:cubicBezTo>
                  <a:cubicBezTo>
                    <a:pt x="204" y="103"/>
                    <a:pt x="208" y="103"/>
                    <a:pt x="211" y="102"/>
                  </a:cubicBezTo>
                  <a:cubicBezTo>
                    <a:pt x="212" y="102"/>
                    <a:pt x="212" y="102"/>
                    <a:pt x="213" y="102"/>
                  </a:cubicBezTo>
                  <a:cubicBezTo>
                    <a:pt x="216" y="101"/>
                    <a:pt x="220" y="101"/>
                    <a:pt x="223" y="100"/>
                  </a:cubicBezTo>
                  <a:cubicBezTo>
                    <a:pt x="223" y="100"/>
                    <a:pt x="224" y="100"/>
                    <a:pt x="224" y="100"/>
                  </a:cubicBezTo>
                  <a:cubicBezTo>
                    <a:pt x="231" y="98"/>
                    <a:pt x="237" y="96"/>
                    <a:pt x="243" y="95"/>
                  </a:cubicBezTo>
                  <a:cubicBezTo>
                    <a:pt x="243" y="94"/>
                    <a:pt x="243" y="94"/>
                    <a:pt x="244" y="94"/>
                  </a:cubicBezTo>
                  <a:cubicBezTo>
                    <a:pt x="247" y="93"/>
                    <a:pt x="249" y="92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61" y="88"/>
                    <a:pt x="269" y="85"/>
                    <a:pt x="275" y="81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89" y="72"/>
                    <a:pt x="297" y="63"/>
                    <a:pt x="297" y="54"/>
                  </a:cubicBezTo>
                  <a:cubicBezTo>
                    <a:pt x="297" y="45"/>
                    <a:pt x="289" y="35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23"/>
                    <a:pt x="261" y="20"/>
                    <a:pt x="253" y="16"/>
                  </a:cubicBezTo>
                  <a:cubicBezTo>
                    <a:pt x="253" y="16"/>
                    <a:pt x="252" y="16"/>
                    <a:pt x="252" y="16"/>
                  </a:cubicBezTo>
                  <a:cubicBezTo>
                    <a:pt x="249" y="15"/>
                    <a:pt x="247" y="14"/>
                    <a:pt x="244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37" y="11"/>
                    <a:pt x="231" y="9"/>
                    <a:pt x="224" y="8"/>
                  </a:cubicBezTo>
                  <a:cubicBezTo>
                    <a:pt x="224" y="8"/>
                    <a:pt x="223" y="8"/>
                    <a:pt x="223" y="8"/>
                  </a:cubicBezTo>
                  <a:cubicBezTo>
                    <a:pt x="220" y="7"/>
                    <a:pt x="216" y="6"/>
                    <a:pt x="213" y="6"/>
                  </a:cubicBezTo>
                  <a:cubicBezTo>
                    <a:pt x="212" y="6"/>
                    <a:pt x="212" y="5"/>
                    <a:pt x="211" y="5"/>
                  </a:cubicBezTo>
                  <a:cubicBezTo>
                    <a:pt x="208" y="5"/>
                    <a:pt x="204" y="4"/>
                    <a:pt x="201" y="4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6" y="3"/>
                    <a:pt x="193" y="3"/>
                    <a:pt x="189" y="2"/>
                  </a:cubicBezTo>
                  <a:cubicBezTo>
                    <a:pt x="189" y="2"/>
                    <a:pt x="188" y="2"/>
                    <a:pt x="188" y="2"/>
                  </a:cubicBezTo>
                  <a:cubicBezTo>
                    <a:pt x="184" y="2"/>
                    <a:pt x="180" y="1"/>
                    <a:pt x="177" y="1"/>
                  </a:cubicBezTo>
                  <a:cubicBezTo>
                    <a:pt x="176" y="1"/>
                    <a:pt x="175" y="1"/>
                    <a:pt x="174" y="1"/>
                  </a:cubicBezTo>
                  <a:cubicBezTo>
                    <a:pt x="171" y="1"/>
                    <a:pt x="167" y="0"/>
                    <a:pt x="163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7" y="0"/>
                    <a:pt x="153" y="0"/>
                    <a:pt x="148" y="0"/>
                  </a:cubicBezTo>
                  <a:cubicBezTo>
                    <a:pt x="144" y="0"/>
                    <a:pt x="140" y="0"/>
                    <a:pt x="136" y="0"/>
                  </a:cubicBezTo>
                  <a:cubicBezTo>
                    <a:pt x="135" y="0"/>
                    <a:pt x="134" y="0"/>
                    <a:pt x="134" y="0"/>
                  </a:cubicBezTo>
                  <a:cubicBezTo>
                    <a:pt x="130" y="0"/>
                    <a:pt x="126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cubicBezTo>
                    <a:pt x="116" y="1"/>
                    <a:pt x="112" y="2"/>
                    <a:pt x="109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4" y="3"/>
                    <a:pt x="100" y="3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2" y="4"/>
                    <a:pt x="89" y="5"/>
                    <a:pt x="85" y="5"/>
                  </a:cubicBezTo>
                  <a:cubicBezTo>
                    <a:pt x="85" y="5"/>
                    <a:pt x="84" y="6"/>
                    <a:pt x="84" y="6"/>
                  </a:cubicBezTo>
                  <a:cubicBezTo>
                    <a:pt x="80" y="6"/>
                    <a:pt x="77" y="7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6" y="9"/>
                    <a:pt x="60" y="11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0" y="14"/>
                    <a:pt x="47" y="15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5" y="20"/>
                    <a:pt x="28" y="2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32"/>
                    <a:pt x="7" y="37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6"/>
                    <a:pt x="0" y="50"/>
                    <a:pt x="0" y="54"/>
                  </a:cubicBezTo>
                  <a:cubicBezTo>
                    <a:pt x="0" y="57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20">
              <a:extLst>
                <a:ext uri="{FF2B5EF4-FFF2-40B4-BE49-F238E27FC236}">
                  <a16:creationId xmlns:a16="http://schemas.microsoft.com/office/drawing/2014/main" id="{163E925F-D17A-4792-922A-A65FA851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877" y="3291343"/>
              <a:ext cx="90706" cy="90706"/>
            </a:xfrm>
            <a:custGeom>
              <a:avLst/>
              <a:gdLst>
                <a:gd name="T0" fmla="*/ 65 w 78"/>
                <a:gd name="T1" fmla="*/ 52 h 78"/>
                <a:gd name="T2" fmla="*/ 26 w 78"/>
                <a:gd name="T3" fmla="*/ 13 h 78"/>
                <a:gd name="T4" fmla="*/ 13 w 78"/>
                <a:gd name="T5" fmla="*/ 0 h 78"/>
                <a:gd name="T6" fmla="*/ 0 w 78"/>
                <a:gd name="T7" fmla="*/ 13 h 78"/>
                <a:gd name="T8" fmla="*/ 65 w 78"/>
                <a:gd name="T9" fmla="*/ 78 h 78"/>
                <a:gd name="T10" fmla="*/ 78 w 78"/>
                <a:gd name="T11" fmla="*/ 65 h 78"/>
                <a:gd name="T12" fmla="*/ 65 w 78"/>
                <a:gd name="T13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8">
                  <a:moveTo>
                    <a:pt x="65" y="52"/>
                  </a:moveTo>
                  <a:cubicBezTo>
                    <a:pt x="44" y="52"/>
                    <a:pt x="26" y="34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9"/>
                    <a:pt x="29" y="78"/>
                    <a:pt x="65" y="78"/>
                  </a:cubicBezTo>
                  <a:cubicBezTo>
                    <a:pt x="72" y="78"/>
                    <a:pt x="78" y="72"/>
                    <a:pt x="78" y="65"/>
                  </a:cubicBezTo>
                  <a:cubicBezTo>
                    <a:pt x="78" y="58"/>
                    <a:pt x="72" y="52"/>
                    <a:pt x="6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621">
              <a:extLst>
                <a:ext uri="{FF2B5EF4-FFF2-40B4-BE49-F238E27FC236}">
                  <a16:creationId xmlns:a16="http://schemas.microsoft.com/office/drawing/2014/main" id="{4CF9EE24-0E4F-47B8-9FDC-34D8FF119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547" y="3253994"/>
              <a:ext cx="32014" cy="2934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22">
              <a:extLst>
                <a:ext uri="{FF2B5EF4-FFF2-40B4-BE49-F238E27FC236}">
                  <a16:creationId xmlns:a16="http://schemas.microsoft.com/office/drawing/2014/main" id="{C6A6DC49-10A5-45D6-8E0C-0BFE0F757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448" y="3091257"/>
              <a:ext cx="533564" cy="436189"/>
            </a:xfrm>
            <a:custGeom>
              <a:avLst/>
              <a:gdLst>
                <a:gd name="T0" fmla="*/ 384 w 460"/>
                <a:gd name="T1" fmla="*/ 180 h 378"/>
                <a:gd name="T2" fmla="*/ 297 w 460"/>
                <a:gd name="T3" fmla="*/ 0 h 378"/>
                <a:gd name="T4" fmla="*/ 244 w 460"/>
                <a:gd name="T5" fmla="*/ 41 h 378"/>
                <a:gd name="T6" fmla="*/ 211 w 460"/>
                <a:gd name="T7" fmla="*/ 49 h 378"/>
                <a:gd name="T8" fmla="*/ 177 w 460"/>
                <a:gd name="T9" fmla="*/ 53 h 378"/>
                <a:gd name="T10" fmla="*/ 136 w 460"/>
                <a:gd name="T11" fmla="*/ 54 h 378"/>
                <a:gd name="T12" fmla="*/ 107 w 460"/>
                <a:gd name="T13" fmla="*/ 52 h 378"/>
                <a:gd name="T14" fmla="*/ 74 w 460"/>
                <a:gd name="T15" fmla="*/ 46 h 378"/>
                <a:gd name="T16" fmla="*/ 44 w 460"/>
                <a:gd name="T17" fmla="*/ 37 h 378"/>
                <a:gd name="T18" fmla="*/ 0 w 460"/>
                <a:gd name="T19" fmla="*/ 54 h 378"/>
                <a:gd name="T20" fmla="*/ 44 w 460"/>
                <a:gd name="T21" fmla="*/ 91 h 378"/>
                <a:gd name="T22" fmla="*/ 74 w 460"/>
                <a:gd name="T23" fmla="*/ 100 h 378"/>
                <a:gd name="T24" fmla="*/ 107 w 460"/>
                <a:gd name="T25" fmla="*/ 105 h 378"/>
                <a:gd name="T26" fmla="*/ 136 w 460"/>
                <a:gd name="T27" fmla="*/ 107 h 378"/>
                <a:gd name="T28" fmla="*/ 166 w 460"/>
                <a:gd name="T29" fmla="*/ 107 h 378"/>
                <a:gd name="T30" fmla="*/ 134 w 460"/>
                <a:gd name="T31" fmla="*/ 136 h 378"/>
                <a:gd name="T32" fmla="*/ 97 w 460"/>
                <a:gd name="T33" fmla="*/ 132 h 378"/>
                <a:gd name="T34" fmla="*/ 73 w 460"/>
                <a:gd name="T35" fmla="*/ 128 h 378"/>
                <a:gd name="T36" fmla="*/ 22 w 460"/>
                <a:gd name="T37" fmla="*/ 109 h 378"/>
                <a:gd name="T38" fmla="*/ 0 w 460"/>
                <a:gd name="T39" fmla="*/ 136 h 378"/>
                <a:gd name="T40" fmla="*/ 45 w 460"/>
                <a:gd name="T41" fmla="*/ 174 h 378"/>
                <a:gd name="T42" fmla="*/ 84 w 460"/>
                <a:gd name="T43" fmla="*/ 184 h 378"/>
                <a:gd name="T44" fmla="*/ 109 w 460"/>
                <a:gd name="T45" fmla="*/ 188 h 378"/>
                <a:gd name="T46" fmla="*/ 142 w 460"/>
                <a:gd name="T47" fmla="*/ 190 h 378"/>
                <a:gd name="T48" fmla="*/ 120 w 460"/>
                <a:gd name="T49" fmla="*/ 217 h 378"/>
                <a:gd name="T50" fmla="*/ 85 w 460"/>
                <a:gd name="T51" fmla="*/ 213 h 378"/>
                <a:gd name="T52" fmla="*/ 53 w 460"/>
                <a:gd name="T53" fmla="*/ 205 h 378"/>
                <a:gd name="T54" fmla="*/ 3 w 460"/>
                <a:gd name="T55" fmla="*/ 175 h 378"/>
                <a:gd name="T56" fmla="*/ 22 w 460"/>
                <a:gd name="T57" fmla="*/ 245 h 378"/>
                <a:gd name="T58" fmla="*/ 54 w 460"/>
                <a:gd name="T59" fmla="*/ 259 h 378"/>
                <a:gd name="T60" fmla="*/ 96 w 460"/>
                <a:gd name="T61" fmla="*/ 268 h 378"/>
                <a:gd name="T62" fmla="*/ 122 w 460"/>
                <a:gd name="T63" fmla="*/ 271 h 378"/>
                <a:gd name="T64" fmla="*/ 163 w 460"/>
                <a:gd name="T65" fmla="*/ 271 h 378"/>
                <a:gd name="T66" fmla="*/ 213 w 460"/>
                <a:gd name="T67" fmla="*/ 294 h 378"/>
                <a:gd name="T68" fmla="*/ 188 w 460"/>
                <a:gd name="T69" fmla="*/ 298 h 378"/>
                <a:gd name="T70" fmla="*/ 148 w 460"/>
                <a:gd name="T71" fmla="*/ 300 h 378"/>
                <a:gd name="T72" fmla="*/ 109 w 460"/>
                <a:gd name="T73" fmla="*/ 298 h 378"/>
                <a:gd name="T74" fmla="*/ 84 w 460"/>
                <a:gd name="T75" fmla="*/ 294 h 378"/>
                <a:gd name="T76" fmla="*/ 45 w 460"/>
                <a:gd name="T77" fmla="*/ 284 h 378"/>
                <a:gd name="T78" fmla="*/ 0 w 460"/>
                <a:gd name="T79" fmla="*/ 246 h 378"/>
                <a:gd name="T80" fmla="*/ 22 w 460"/>
                <a:gd name="T81" fmla="*/ 327 h 378"/>
                <a:gd name="T82" fmla="*/ 73 w 460"/>
                <a:gd name="T83" fmla="*/ 346 h 378"/>
                <a:gd name="T84" fmla="*/ 97 w 460"/>
                <a:gd name="T85" fmla="*/ 350 h 378"/>
                <a:gd name="T86" fmla="*/ 134 w 460"/>
                <a:gd name="T87" fmla="*/ 353 h 378"/>
                <a:gd name="T88" fmla="*/ 174 w 460"/>
                <a:gd name="T89" fmla="*/ 353 h 378"/>
                <a:gd name="T90" fmla="*/ 201 w 460"/>
                <a:gd name="T91" fmla="*/ 350 h 378"/>
                <a:gd name="T92" fmla="*/ 243 w 460"/>
                <a:gd name="T93" fmla="*/ 341 h 378"/>
                <a:gd name="T94" fmla="*/ 275 w 460"/>
                <a:gd name="T95" fmla="*/ 327 h 378"/>
                <a:gd name="T96" fmla="*/ 349 w 460"/>
                <a:gd name="T97" fmla="*/ 291 h 378"/>
                <a:gd name="T98" fmla="*/ 454 w 460"/>
                <a:gd name="T99" fmla="*/ 347 h 378"/>
                <a:gd name="T100" fmla="*/ 358 w 460"/>
                <a:gd name="T101" fmla="*/ 18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0" h="378">
                  <a:moveTo>
                    <a:pt x="460" y="341"/>
                  </a:moveTo>
                  <a:cubicBezTo>
                    <a:pt x="380" y="260"/>
                    <a:pt x="380" y="260"/>
                    <a:pt x="380" y="260"/>
                  </a:cubicBezTo>
                  <a:cubicBezTo>
                    <a:pt x="374" y="267"/>
                    <a:pt x="374" y="267"/>
                    <a:pt x="374" y="267"/>
                  </a:cubicBezTo>
                  <a:cubicBezTo>
                    <a:pt x="360" y="253"/>
                    <a:pt x="360" y="253"/>
                    <a:pt x="360" y="253"/>
                  </a:cubicBezTo>
                  <a:cubicBezTo>
                    <a:pt x="375" y="233"/>
                    <a:pt x="384" y="207"/>
                    <a:pt x="384" y="180"/>
                  </a:cubicBezTo>
                  <a:cubicBezTo>
                    <a:pt x="384" y="124"/>
                    <a:pt x="346" y="77"/>
                    <a:pt x="294" y="63"/>
                  </a:cubicBezTo>
                  <a:cubicBezTo>
                    <a:pt x="294" y="63"/>
                    <a:pt x="294" y="63"/>
                    <a:pt x="294" y="63"/>
                  </a:cubicBezTo>
                  <a:cubicBezTo>
                    <a:pt x="296" y="60"/>
                    <a:pt x="297" y="57"/>
                    <a:pt x="297" y="54"/>
                  </a:cubicBezTo>
                  <a:cubicBezTo>
                    <a:pt x="297" y="54"/>
                    <a:pt x="297" y="54"/>
                    <a:pt x="297" y="54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9"/>
                    <a:pt x="289" y="19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31"/>
                    <a:pt x="261" y="34"/>
                    <a:pt x="253" y="37"/>
                  </a:cubicBezTo>
                  <a:cubicBezTo>
                    <a:pt x="253" y="38"/>
                    <a:pt x="252" y="38"/>
                    <a:pt x="252" y="38"/>
                  </a:cubicBezTo>
                  <a:cubicBezTo>
                    <a:pt x="249" y="39"/>
                    <a:pt x="247" y="40"/>
                    <a:pt x="244" y="4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37" y="43"/>
                    <a:pt x="231" y="44"/>
                    <a:pt x="224" y="46"/>
                  </a:cubicBezTo>
                  <a:cubicBezTo>
                    <a:pt x="224" y="46"/>
                    <a:pt x="223" y="46"/>
                    <a:pt x="223" y="46"/>
                  </a:cubicBezTo>
                  <a:cubicBezTo>
                    <a:pt x="220" y="47"/>
                    <a:pt x="216" y="48"/>
                    <a:pt x="213" y="48"/>
                  </a:cubicBezTo>
                  <a:cubicBezTo>
                    <a:pt x="212" y="48"/>
                    <a:pt x="212" y="48"/>
                    <a:pt x="211" y="49"/>
                  </a:cubicBezTo>
                  <a:cubicBezTo>
                    <a:pt x="208" y="49"/>
                    <a:pt x="204" y="50"/>
                    <a:pt x="201" y="50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6" y="51"/>
                    <a:pt x="193" y="51"/>
                    <a:pt x="189" y="52"/>
                  </a:cubicBezTo>
                  <a:cubicBezTo>
                    <a:pt x="189" y="52"/>
                    <a:pt x="188" y="52"/>
                    <a:pt x="188" y="52"/>
                  </a:cubicBezTo>
                  <a:cubicBezTo>
                    <a:pt x="184" y="52"/>
                    <a:pt x="180" y="53"/>
                    <a:pt x="177" y="53"/>
                  </a:cubicBezTo>
                  <a:cubicBezTo>
                    <a:pt x="176" y="53"/>
                    <a:pt x="175" y="53"/>
                    <a:pt x="174" y="53"/>
                  </a:cubicBezTo>
                  <a:cubicBezTo>
                    <a:pt x="171" y="53"/>
                    <a:pt x="167" y="53"/>
                    <a:pt x="163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57" y="54"/>
                    <a:pt x="153" y="54"/>
                    <a:pt x="148" y="54"/>
                  </a:cubicBezTo>
                  <a:cubicBezTo>
                    <a:pt x="144" y="54"/>
                    <a:pt x="140" y="54"/>
                    <a:pt x="136" y="54"/>
                  </a:cubicBezTo>
                  <a:cubicBezTo>
                    <a:pt x="135" y="54"/>
                    <a:pt x="134" y="54"/>
                    <a:pt x="134" y="54"/>
                  </a:cubicBezTo>
                  <a:cubicBezTo>
                    <a:pt x="130" y="53"/>
                    <a:pt x="126" y="53"/>
                    <a:pt x="122" y="53"/>
                  </a:cubicBezTo>
                  <a:cubicBezTo>
                    <a:pt x="121" y="53"/>
                    <a:pt x="121" y="53"/>
                    <a:pt x="120" y="53"/>
                  </a:cubicBezTo>
                  <a:cubicBezTo>
                    <a:pt x="116" y="53"/>
                    <a:pt x="112" y="52"/>
                    <a:pt x="109" y="52"/>
                  </a:cubicBezTo>
                  <a:cubicBezTo>
                    <a:pt x="108" y="52"/>
                    <a:pt x="108" y="52"/>
                    <a:pt x="107" y="52"/>
                  </a:cubicBezTo>
                  <a:cubicBezTo>
                    <a:pt x="104" y="51"/>
                    <a:pt x="100" y="51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2" y="50"/>
                    <a:pt x="89" y="49"/>
                    <a:pt x="85" y="49"/>
                  </a:cubicBezTo>
                  <a:cubicBezTo>
                    <a:pt x="85" y="48"/>
                    <a:pt x="84" y="48"/>
                    <a:pt x="84" y="48"/>
                  </a:cubicBezTo>
                  <a:cubicBezTo>
                    <a:pt x="80" y="48"/>
                    <a:pt x="77" y="47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6" y="44"/>
                    <a:pt x="60" y="43"/>
                    <a:pt x="5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0" y="40"/>
                    <a:pt x="47" y="39"/>
                    <a:pt x="45" y="38"/>
                  </a:cubicBezTo>
                  <a:cubicBezTo>
                    <a:pt x="44" y="38"/>
                    <a:pt x="44" y="38"/>
                    <a:pt x="44" y="37"/>
                  </a:cubicBezTo>
                  <a:cubicBezTo>
                    <a:pt x="35" y="34"/>
                    <a:pt x="28" y="31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22"/>
                    <a:pt x="7" y="17"/>
                    <a:pt x="3" y="11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5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6"/>
                    <a:pt x="109" y="106"/>
                  </a:cubicBezTo>
                  <a:cubicBezTo>
                    <a:pt x="112" y="106"/>
                    <a:pt x="116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59" y="116"/>
                    <a:pt x="154" y="126"/>
                    <a:pt x="149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4" y="136"/>
                    <a:pt x="140" y="136"/>
                    <a:pt x="136" y="136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0" y="135"/>
                    <a:pt x="126" y="135"/>
                    <a:pt x="122" y="135"/>
                  </a:cubicBezTo>
                  <a:cubicBezTo>
                    <a:pt x="121" y="135"/>
                    <a:pt x="121" y="135"/>
                    <a:pt x="120" y="135"/>
                  </a:cubicBezTo>
                  <a:cubicBezTo>
                    <a:pt x="116" y="135"/>
                    <a:pt x="112" y="134"/>
                    <a:pt x="109" y="134"/>
                  </a:cubicBezTo>
                  <a:cubicBezTo>
                    <a:pt x="108" y="134"/>
                    <a:pt x="108" y="134"/>
                    <a:pt x="107" y="134"/>
                  </a:cubicBezTo>
                  <a:cubicBezTo>
                    <a:pt x="104" y="133"/>
                    <a:pt x="100" y="133"/>
                    <a:pt x="97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2" y="132"/>
                    <a:pt x="89" y="131"/>
                    <a:pt x="85" y="131"/>
                  </a:cubicBezTo>
                  <a:cubicBezTo>
                    <a:pt x="85" y="130"/>
                    <a:pt x="84" y="130"/>
                    <a:pt x="84" y="130"/>
                  </a:cubicBezTo>
                  <a:cubicBezTo>
                    <a:pt x="80" y="130"/>
                    <a:pt x="77" y="129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66" y="126"/>
                    <a:pt x="60" y="125"/>
                    <a:pt x="54" y="123"/>
                  </a:cubicBezTo>
                  <a:cubicBezTo>
                    <a:pt x="53" y="123"/>
                    <a:pt x="53" y="123"/>
                    <a:pt x="53" y="123"/>
                  </a:cubicBezTo>
                  <a:cubicBezTo>
                    <a:pt x="50" y="122"/>
                    <a:pt x="47" y="121"/>
                    <a:pt x="45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35" y="116"/>
                    <a:pt x="28" y="113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3" y="104"/>
                    <a:pt x="7" y="99"/>
                    <a:pt x="3" y="93"/>
                  </a:cubicBezTo>
                  <a:cubicBezTo>
                    <a:pt x="1" y="90"/>
                    <a:pt x="0" y="86"/>
                    <a:pt x="0" y="8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0"/>
                    <a:pt x="1" y="143"/>
                    <a:pt x="3" y="147"/>
                  </a:cubicBezTo>
                  <a:cubicBezTo>
                    <a:pt x="7" y="152"/>
                    <a:pt x="13" y="158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8" y="167"/>
                    <a:pt x="35" y="170"/>
                    <a:pt x="44" y="173"/>
                  </a:cubicBezTo>
                  <a:cubicBezTo>
                    <a:pt x="44" y="173"/>
                    <a:pt x="44" y="173"/>
                    <a:pt x="45" y="174"/>
                  </a:cubicBezTo>
                  <a:cubicBezTo>
                    <a:pt x="47" y="175"/>
                    <a:pt x="50" y="175"/>
                    <a:pt x="53" y="176"/>
                  </a:cubicBezTo>
                  <a:cubicBezTo>
                    <a:pt x="53" y="177"/>
                    <a:pt x="53" y="177"/>
                    <a:pt x="54" y="177"/>
                  </a:cubicBezTo>
                  <a:cubicBezTo>
                    <a:pt x="60" y="179"/>
                    <a:pt x="66" y="180"/>
                    <a:pt x="73" y="182"/>
                  </a:cubicBezTo>
                  <a:cubicBezTo>
                    <a:pt x="73" y="182"/>
                    <a:pt x="73" y="182"/>
                    <a:pt x="74" y="182"/>
                  </a:cubicBezTo>
                  <a:cubicBezTo>
                    <a:pt x="77" y="183"/>
                    <a:pt x="80" y="183"/>
                    <a:pt x="84" y="184"/>
                  </a:cubicBezTo>
                  <a:cubicBezTo>
                    <a:pt x="84" y="184"/>
                    <a:pt x="85" y="184"/>
                    <a:pt x="85" y="184"/>
                  </a:cubicBezTo>
                  <a:cubicBezTo>
                    <a:pt x="89" y="185"/>
                    <a:pt x="92" y="185"/>
                    <a:pt x="96" y="186"/>
                  </a:cubicBezTo>
                  <a:cubicBezTo>
                    <a:pt x="96" y="186"/>
                    <a:pt x="96" y="186"/>
                    <a:pt x="97" y="186"/>
                  </a:cubicBezTo>
                  <a:cubicBezTo>
                    <a:pt x="100" y="187"/>
                    <a:pt x="104" y="187"/>
                    <a:pt x="107" y="187"/>
                  </a:cubicBezTo>
                  <a:cubicBezTo>
                    <a:pt x="108" y="188"/>
                    <a:pt x="108" y="188"/>
                    <a:pt x="109" y="188"/>
                  </a:cubicBezTo>
                  <a:cubicBezTo>
                    <a:pt x="112" y="188"/>
                    <a:pt x="116" y="188"/>
                    <a:pt x="120" y="189"/>
                  </a:cubicBezTo>
                  <a:cubicBezTo>
                    <a:pt x="121" y="189"/>
                    <a:pt x="121" y="189"/>
                    <a:pt x="122" y="189"/>
                  </a:cubicBezTo>
                  <a:cubicBezTo>
                    <a:pt x="126" y="189"/>
                    <a:pt x="130" y="189"/>
                    <a:pt x="134" y="189"/>
                  </a:cubicBezTo>
                  <a:cubicBezTo>
                    <a:pt x="134" y="189"/>
                    <a:pt x="135" y="189"/>
                    <a:pt x="136" y="189"/>
                  </a:cubicBezTo>
                  <a:cubicBezTo>
                    <a:pt x="138" y="189"/>
                    <a:pt x="140" y="189"/>
                    <a:pt x="142" y="190"/>
                  </a:cubicBezTo>
                  <a:cubicBezTo>
                    <a:pt x="142" y="199"/>
                    <a:pt x="144" y="209"/>
                    <a:pt x="147" y="218"/>
                  </a:cubicBezTo>
                  <a:cubicBezTo>
                    <a:pt x="143" y="218"/>
                    <a:pt x="139" y="218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130" y="218"/>
                    <a:pt x="126" y="217"/>
                    <a:pt x="122" y="217"/>
                  </a:cubicBezTo>
                  <a:cubicBezTo>
                    <a:pt x="121" y="217"/>
                    <a:pt x="121" y="217"/>
                    <a:pt x="120" y="217"/>
                  </a:cubicBezTo>
                  <a:cubicBezTo>
                    <a:pt x="116" y="217"/>
                    <a:pt x="112" y="216"/>
                    <a:pt x="109" y="216"/>
                  </a:cubicBezTo>
                  <a:cubicBezTo>
                    <a:pt x="108" y="216"/>
                    <a:pt x="108" y="216"/>
                    <a:pt x="107" y="216"/>
                  </a:cubicBezTo>
                  <a:cubicBezTo>
                    <a:pt x="104" y="215"/>
                    <a:pt x="100" y="215"/>
                    <a:pt x="9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2" y="214"/>
                    <a:pt x="89" y="213"/>
                    <a:pt x="85" y="213"/>
                  </a:cubicBezTo>
                  <a:cubicBezTo>
                    <a:pt x="85" y="213"/>
                    <a:pt x="84" y="212"/>
                    <a:pt x="84" y="212"/>
                  </a:cubicBezTo>
                  <a:cubicBezTo>
                    <a:pt x="80" y="212"/>
                    <a:pt x="77" y="211"/>
                    <a:pt x="74" y="210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66" y="209"/>
                    <a:pt x="60" y="207"/>
                    <a:pt x="54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0" y="204"/>
                    <a:pt x="47" y="203"/>
                    <a:pt x="45" y="202"/>
                  </a:cubicBezTo>
                  <a:cubicBezTo>
                    <a:pt x="44" y="202"/>
                    <a:pt x="44" y="202"/>
                    <a:pt x="44" y="202"/>
                  </a:cubicBezTo>
                  <a:cubicBezTo>
                    <a:pt x="35" y="198"/>
                    <a:pt x="28" y="195"/>
                    <a:pt x="22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3" y="186"/>
                    <a:pt x="7" y="181"/>
                    <a:pt x="3" y="175"/>
                  </a:cubicBezTo>
                  <a:cubicBezTo>
                    <a:pt x="1" y="172"/>
                    <a:pt x="0" y="168"/>
                    <a:pt x="0" y="16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2"/>
                    <a:pt x="1" y="225"/>
                    <a:pt x="3" y="229"/>
                  </a:cubicBezTo>
                  <a:cubicBezTo>
                    <a:pt x="7" y="234"/>
                    <a:pt x="13" y="240"/>
                    <a:pt x="22" y="245"/>
                  </a:cubicBezTo>
                  <a:cubicBezTo>
                    <a:pt x="22" y="245"/>
                    <a:pt x="22" y="245"/>
                    <a:pt x="22" y="245"/>
                  </a:cubicBezTo>
                  <a:cubicBezTo>
                    <a:pt x="28" y="249"/>
                    <a:pt x="35" y="252"/>
                    <a:pt x="44" y="255"/>
                  </a:cubicBezTo>
                  <a:cubicBezTo>
                    <a:pt x="44" y="255"/>
                    <a:pt x="44" y="256"/>
                    <a:pt x="45" y="256"/>
                  </a:cubicBezTo>
                  <a:cubicBezTo>
                    <a:pt x="47" y="257"/>
                    <a:pt x="50" y="258"/>
                    <a:pt x="53" y="258"/>
                  </a:cubicBezTo>
                  <a:cubicBezTo>
                    <a:pt x="53" y="259"/>
                    <a:pt x="53" y="259"/>
                    <a:pt x="54" y="259"/>
                  </a:cubicBezTo>
                  <a:cubicBezTo>
                    <a:pt x="60" y="261"/>
                    <a:pt x="66" y="262"/>
                    <a:pt x="73" y="264"/>
                  </a:cubicBezTo>
                  <a:cubicBezTo>
                    <a:pt x="73" y="264"/>
                    <a:pt x="73" y="264"/>
                    <a:pt x="74" y="264"/>
                  </a:cubicBezTo>
                  <a:cubicBezTo>
                    <a:pt x="77" y="265"/>
                    <a:pt x="80" y="265"/>
                    <a:pt x="84" y="266"/>
                  </a:cubicBezTo>
                  <a:cubicBezTo>
                    <a:pt x="84" y="266"/>
                    <a:pt x="85" y="266"/>
                    <a:pt x="85" y="266"/>
                  </a:cubicBezTo>
                  <a:cubicBezTo>
                    <a:pt x="89" y="267"/>
                    <a:pt x="92" y="268"/>
                    <a:pt x="96" y="268"/>
                  </a:cubicBezTo>
                  <a:cubicBezTo>
                    <a:pt x="96" y="268"/>
                    <a:pt x="96" y="268"/>
                    <a:pt x="97" y="268"/>
                  </a:cubicBezTo>
                  <a:cubicBezTo>
                    <a:pt x="100" y="269"/>
                    <a:pt x="104" y="269"/>
                    <a:pt x="107" y="270"/>
                  </a:cubicBezTo>
                  <a:cubicBezTo>
                    <a:pt x="108" y="270"/>
                    <a:pt x="108" y="270"/>
                    <a:pt x="109" y="270"/>
                  </a:cubicBezTo>
                  <a:cubicBezTo>
                    <a:pt x="112" y="270"/>
                    <a:pt x="116" y="270"/>
                    <a:pt x="120" y="271"/>
                  </a:cubicBezTo>
                  <a:cubicBezTo>
                    <a:pt x="121" y="271"/>
                    <a:pt x="121" y="271"/>
                    <a:pt x="122" y="271"/>
                  </a:cubicBezTo>
                  <a:cubicBezTo>
                    <a:pt x="126" y="271"/>
                    <a:pt x="130" y="271"/>
                    <a:pt x="134" y="271"/>
                  </a:cubicBezTo>
                  <a:cubicBezTo>
                    <a:pt x="134" y="271"/>
                    <a:pt x="135" y="271"/>
                    <a:pt x="136" y="271"/>
                  </a:cubicBezTo>
                  <a:cubicBezTo>
                    <a:pt x="140" y="272"/>
                    <a:pt x="144" y="272"/>
                    <a:pt x="148" y="272"/>
                  </a:cubicBezTo>
                  <a:cubicBezTo>
                    <a:pt x="153" y="272"/>
                    <a:pt x="157" y="272"/>
                    <a:pt x="161" y="271"/>
                  </a:cubicBezTo>
                  <a:cubicBezTo>
                    <a:pt x="161" y="271"/>
                    <a:pt x="162" y="271"/>
                    <a:pt x="163" y="271"/>
                  </a:cubicBezTo>
                  <a:cubicBezTo>
                    <a:pt x="167" y="271"/>
                    <a:pt x="171" y="271"/>
                    <a:pt x="174" y="271"/>
                  </a:cubicBezTo>
                  <a:cubicBezTo>
                    <a:pt x="175" y="271"/>
                    <a:pt x="176" y="271"/>
                    <a:pt x="177" y="271"/>
                  </a:cubicBezTo>
                  <a:cubicBezTo>
                    <a:pt x="178" y="271"/>
                    <a:pt x="180" y="270"/>
                    <a:pt x="181" y="270"/>
                  </a:cubicBezTo>
                  <a:cubicBezTo>
                    <a:pt x="192" y="280"/>
                    <a:pt x="204" y="288"/>
                    <a:pt x="218" y="293"/>
                  </a:cubicBezTo>
                  <a:cubicBezTo>
                    <a:pt x="216" y="294"/>
                    <a:pt x="215" y="294"/>
                    <a:pt x="213" y="294"/>
                  </a:cubicBezTo>
                  <a:cubicBezTo>
                    <a:pt x="212" y="294"/>
                    <a:pt x="212" y="295"/>
                    <a:pt x="211" y="295"/>
                  </a:cubicBezTo>
                  <a:cubicBezTo>
                    <a:pt x="208" y="295"/>
                    <a:pt x="204" y="296"/>
                    <a:pt x="201" y="296"/>
                  </a:cubicBezTo>
                  <a:cubicBezTo>
                    <a:pt x="200" y="296"/>
                    <a:pt x="200" y="296"/>
                    <a:pt x="200" y="297"/>
                  </a:cubicBezTo>
                  <a:cubicBezTo>
                    <a:pt x="196" y="297"/>
                    <a:pt x="193" y="297"/>
                    <a:pt x="189" y="298"/>
                  </a:cubicBezTo>
                  <a:cubicBezTo>
                    <a:pt x="189" y="298"/>
                    <a:pt x="188" y="298"/>
                    <a:pt x="188" y="298"/>
                  </a:cubicBezTo>
                  <a:cubicBezTo>
                    <a:pt x="184" y="298"/>
                    <a:pt x="180" y="299"/>
                    <a:pt x="177" y="299"/>
                  </a:cubicBezTo>
                  <a:cubicBezTo>
                    <a:pt x="176" y="299"/>
                    <a:pt x="175" y="299"/>
                    <a:pt x="174" y="299"/>
                  </a:cubicBezTo>
                  <a:cubicBezTo>
                    <a:pt x="171" y="299"/>
                    <a:pt x="167" y="300"/>
                    <a:pt x="163" y="300"/>
                  </a:cubicBezTo>
                  <a:cubicBezTo>
                    <a:pt x="162" y="300"/>
                    <a:pt x="161" y="300"/>
                    <a:pt x="161" y="300"/>
                  </a:cubicBezTo>
                  <a:cubicBezTo>
                    <a:pt x="157" y="300"/>
                    <a:pt x="153" y="300"/>
                    <a:pt x="148" y="300"/>
                  </a:cubicBezTo>
                  <a:cubicBezTo>
                    <a:pt x="144" y="300"/>
                    <a:pt x="140" y="300"/>
                    <a:pt x="136" y="300"/>
                  </a:cubicBezTo>
                  <a:cubicBezTo>
                    <a:pt x="135" y="300"/>
                    <a:pt x="134" y="300"/>
                    <a:pt x="134" y="300"/>
                  </a:cubicBezTo>
                  <a:cubicBezTo>
                    <a:pt x="130" y="300"/>
                    <a:pt x="126" y="299"/>
                    <a:pt x="122" y="299"/>
                  </a:cubicBezTo>
                  <a:cubicBezTo>
                    <a:pt x="121" y="299"/>
                    <a:pt x="121" y="299"/>
                    <a:pt x="120" y="299"/>
                  </a:cubicBezTo>
                  <a:cubicBezTo>
                    <a:pt x="116" y="299"/>
                    <a:pt x="112" y="298"/>
                    <a:pt x="109" y="298"/>
                  </a:cubicBezTo>
                  <a:cubicBezTo>
                    <a:pt x="108" y="298"/>
                    <a:pt x="108" y="298"/>
                    <a:pt x="107" y="298"/>
                  </a:cubicBezTo>
                  <a:cubicBezTo>
                    <a:pt x="104" y="297"/>
                    <a:pt x="100" y="297"/>
                    <a:pt x="97" y="297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2" y="296"/>
                    <a:pt x="89" y="295"/>
                    <a:pt x="85" y="295"/>
                  </a:cubicBezTo>
                  <a:cubicBezTo>
                    <a:pt x="85" y="295"/>
                    <a:pt x="84" y="294"/>
                    <a:pt x="84" y="294"/>
                  </a:cubicBezTo>
                  <a:cubicBezTo>
                    <a:pt x="80" y="294"/>
                    <a:pt x="77" y="293"/>
                    <a:pt x="74" y="292"/>
                  </a:cubicBezTo>
                  <a:cubicBezTo>
                    <a:pt x="73" y="292"/>
                    <a:pt x="73" y="292"/>
                    <a:pt x="73" y="292"/>
                  </a:cubicBezTo>
                  <a:cubicBezTo>
                    <a:pt x="66" y="291"/>
                    <a:pt x="60" y="289"/>
                    <a:pt x="54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0" y="286"/>
                    <a:pt x="47" y="285"/>
                    <a:pt x="45" y="284"/>
                  </a:cubicBezTo>
                  <a:cubicBezTo>
                    <a:pt x="44" y="284"/>
                    <a:pt x="44" y="284"/>
                    <a:pt x="44" y="284"/>
                  </a:cubicBezTo>
                  <a:cubicBezTo>
                    <a:pt x="35" y="280"/>
                    <a:pt x="28" y="277"/>
                    <a:pt x="22" y="273"/>
                  </a:cubicBezTo>
                  <a:cubicBezTo>
                    <a:pt x="22" y="273"/>
                    <a:pt x="22" y="273"/>
                    <a:pt x="22" y="273"/>
                  </a:cubicBezTo>
                  <a:cubicBezTo>
                    <a:pt x="13" y="268"/>
                    <a:pt x="7" y="263"/>
                    <a:pt x="3" y="257"/>
                  </a:cubicBezTo>
                  <a:cubicBezTo>
                    <a:pt x="1" y="254"/>
                    <a:pt x="0" y="250"/>
                    <a:pt x="0" y="246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4"/>
                    <a:pt x="1" y="307"/>
                    <a:pt x="3" y="311"/>
                  </a:cubicBezTo>
                  <a:cubicBezTo>
                    <a:pt x="7" y="317"/>
                    <a:pt x="13" y="322"/>
                    <a:pt x="22" y="327"/>
                  </a:cubicBezTo>
                  <a:cubicBezTo>
                    <a:pt x="22" y="327"/>
                    <a:pt x="22" y="327"/>
                    <a:pt x="22" y="327"/>
                  </a:cubicBezTo>
                  <a:cubicBezTo>
                    <a:pt x="28" y="331"/>
                    <a:pt x="35" y="334"/>
                    <a:pt x="44" y="337"/>
                  </a:cubicBezTo>
                  <a:cubicBezTo>
                    <a:pt x="44" y="337"/>
                    <a:pt x="44" y="338"/>
                    <a:pt x="45" y="338"/>
                  </a:cubicBezTo>
                  <a:cubicBezTo>
                    <a:pt x="47" y="339"/>
                    <a:pt x="50" y="340"/>
                    <a:pt x="53" y="341"/>
                  </a:cubicBezTo>
                  <a:cubicBezTo>
                    <a:pt x="53" y="341"/>
                    <a:pt x="53" y="341"/>
                    <a:pt x="54" y="341"/>
                  </a:cubicBezTo>
                  <a:cubicBezTo>
                    <a:pt x="60" y="343"/>
                    <a:pt x="66" y="344"/>
                    <a:pt x="73" y="346"/>
                  </a:cubicBezTo>
                  <a:cubicBezTo>
                    <a:pt x="73" y="346"/>
                    <a:pt x="73" y="346"/>
                    <a:pt x="74" y="346"/>
                  </a:cubicBezTo>
                  <a:cubicBezTo>
                    <a:pt x="77" y="347"/>
                    <a:pt x="80" y="347"/>
                    <a:pt x="84" y="348"/>
                  </a:cubicBezTo>
                  <a:cubicBezTo>
                    <a:pt x="84" y="348"/>
                    <a:pt x="85" y="348"/>
                    <a:pt x="85" y="348"/>
                  </a:cubicBezTo>
                  <a:cubicBezTo>
                    <a:pt x="89" y="349"/>
                    <a:pt x="92" y="350"/>
                    <a:pt x="96" y="350"/>
                  </a:cubicBezTo>
                  <a:cubicBezTo>
                    <a:pt x="96" y="350"/>
                    <a:pt x="96" y="350"/>
                    <a:pt x="97" y="350"/>
                  </a:cubicBezTo>
                  <a:cubicBezTo>
                    <a:pt x="100" y="351"/>
                    <a:pt x="104" y="351"/>
                    <a:pt x="107" y="352"/>
                  </a:cubicBezTo>
                  <a:cubicBezTo>
                    <a:pt x="108" y="352"/>
                    <a:pt x="108" y="352"/>
                    <a:pt x="109" y="352"/>
                  </a:cubicBezTo>
                  <a:cubicBezTo>
                    <a:pt x="112" y="352"/>
                    <a:pt x="116" y="352"/>
                    <a:pt x="120" y="353"/>
                  </a:cubicBezTo>
                  <a:cubicBezTo>
                    <a:pt x="121" y="353"/>
                    <a:pt x="121" y="353"/>
                    <a:pt x="122" y="353"/>
                  </a:cubicBezTo>
                  <a:cubicBezTo>
                    <a:pt x="126" y="353"/>
                    <a:pt x="130" y="353"/>
                    <a:pt x="134" y="353"/>
                  </a:cubicBezTo>
                  <a:cubicBezTo>
                    <a:pt x="134" y="354"/>
                    <a:pt x="135" y="354"/>
                    <a:pt x="136" y="354"/>
                  </a:cubicBezTo>
                  <a:cubicBezTo>
                    <a:pt x="140" y="354"/>
                    <a:pt x="144" y="354"/>
                    <a:pt x="148" y="354"/>
                  </a:cubicBezTo>
                  <a:cubicBezTo>
                    <a:pt x="153" y="354"/>
                    <a:pt x="157" y="354"/>
                    <a:pt x="161" y="354"/>
                  </a:cubicBezTo>
                  <a:cubicBezTo>
                    <a:pt x="161" y="354"/>
                    <a:pt x="162" y="354"/>
                    <a:pt x="163" y="353"/>
                  </a:cubicBezTo>
                  <a:cubicBezTo>
                    <a:pt x="167" y="353"/>
                    <a:pt x="171" y="353"/>
                    <a:pt x="174" y="353"/>
                  </a:cubicBezTo>
                  <a:cubicBezTo>
                    <a:pt x="175" y="353"/>
                    <a:pt x="176" y="353"/>
                    <a:pt x="177" y="353"/>
                  </a:cubicBezTo>
                  <a:cubicBezTo>
                    <a:pt x="180" y="352"/>
                    <a:pt x="184" y="352"/>
                    <a:pt x="188" y="352"/>
                  </a:cubicBezTo>
                  <a:cubicBezTo>
                    <a:pt x="188" y="352"/>
                    <a:pt x="189" y="352"/>
                    <a:pt x="189" y="352"/>
                  </a:cubicBezTo>
                  <a:cubicBezTo>
                    <a:pt x="193" y="351"/>
                    <a:pt x="196" y="351"/>
                    <a:pt x="200" y="350"/>
                  </a:cubicBezTo>
                  <a:cubicBezTo>
                    <a:pt x="200" y="350"/>
                    <a:pt x="200" y="350"/>
                    <a:pt x="201" y="350"/>
                  </a:cubicBezTo>
                  <a:cubicBezTo>
                    <a:pt x="204" y="350"/>
                    <a:pt x="208" y="349"/>
                    <a:pt x="211" y="348"/>
                  </a:cubicBezTo>
                  <a:cubicBezTo>
                    <a:pt x="212" y="348"/>
                    <a:pt x="212" y="348"/>
                    <a:pt x="213" y="348"/>
                  </a:cubicBezTo>
                  <a:cubicBezTo>
                    <a:pt x="216" y="347"/>
                    <a:pt x="220" y="347"/>
                    <a:pt x="223" y="346"/>
                  </a:cubicBezTo>
                  <a:cubicBezTo>
                    <a:pt x="223" y="346"/>
                    <a:pt x="224" y="346"/>
                    <a:pt x="224" y="346"/>
                  </a:cubicBezTo>
                  <a:cubicBezTo>
                    <a:pt x="231" y="344"/>
                    <a:pt x="237" y="343"/>
                    <a:pt x="243" y="341"/>
                  </a:cubicBezTo>
                  <a:cubicBezTo>
                    <a:pt x="243" y="341"/>
                    <a:pt x="243" y="341"/>
                    <a:pt x="244" y="341"/>
                  </a:cubicBezTo>
                  <a:cubicBezTo>
                    <a:pt x="247" y="340"/>
                    <a:pt x="249" y="339"/>
                    <a:pt x="252" y="338"/>
                  </a:cubicBezTo>
                  <a:cubicBezTo>
                    <a:pt x="252" y="338"/>
                    <a:pt x="253" y="337"/>
                    <a:pt x="253" y="337"/>
                  </a:cubicBezTo>
                  <a:cubicBezTo>
                    <a:pt x="261" y="334"/>
                    <a:pt x="269" y="331"/>
                    <a:pt x="275" y="327"/>
                  </a:cubicBezTo>
                  <a:cubicBezTo>
                    <a:pt x="275" y="327"/>
                    <a:pt x="275" y="327"/>
                    <a:pt x="275" y="327"/>
                  </a:cubicBezTo>
                  <a:cubicBezTo>
                    <a:pt x="289" y="319"/>
                    <a:pt x="297" y="309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311" y="293"/>
                    <a:pt x="324" y="286"/>
                    <a:pt x="335" y="278"/>
                  </a:cubicBezTo>
                  <a:cubicBezTo>
                    <a:pt x="349" y="291"/>
                    <a:pt x="349" y="291"/>
                    <a:pt x="349" y="291"/>
                  </a:cubicBezTo>
                  <a:cubicBezTo>
                    <a:pt x="343" y="297"/>
                    <a:pt x="343" y="297"/>
                    <a:pt x="343" y="297"/>
                  </a:cubicBezTo>
                  <a:cubicBezTo>
                    <a:pt x="423" y="378"/>
                    <a:pt x="423" y="378"/>
                    <a:pt x="423" y="378"/>
                  </a:cubicBezTo>
                  <a:cubicBezTo>
                    <a:pt x="429" y="372"/>
                    <a:pt x="429" y="372"/>
                    <a:pt x="429" y="372"/>
                  </a:cubicBezTo>
                  <a:cubicBezTo>
                    <a:pt x="454" y="347"/>
                    <a:pt x="454" y="347"/>
                    <a:pt x="454" y="347"/>
                  </a:cubicBezTo>
                  <a:cubicBezTo>
                    <a:pt x="454" y="347"/>
                    <a:pt x="454" y="347"/>
                    <a:pt x="454" y="347"/>
                  </a:cubicBezTo>
                  <a:lnTo>
                    <a:pt x="460" y="341"/>
                  </a:lnTo>
                  <a:close/>
                  <a:moveTo>
                    <a:pt x="263" y="276"/>
                  </a:moveTo>
                  <a:cubicBezTo>
                    <a:pt x="210" y="276"/>
                    <a:pt x="167" y="233"/>
                    <a:pt x="167" y="180"/>
                  </a:cubicBezTo>
                  <a:cubicBezTo>
                    <a:pt x="167" y="128"/>
                    <a:pt x="210" y="85"/>
                    <a:pt x="263" y="85"/>
                  </a:cubicBezTo>
                  <a:cubicBezTo>
                    <a:pt x="315" y="85"/>
                    <a:pt x="358" y="128"/>
                    <a:pt x="358" y="180"/>
                  </a:cubicBezTo>
                  <a:cubicBezTo>
                    <a:pt x="358" y="233"/>
                    <a:pt x="315" y="276"/>
                    <a:pt x="263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myP_Bulb">
            <a:extLst>
              <a:ext uri="{FF2B5EF4-FFF2-40B4-BE49-F238E27FC236}">
                <a16:creationId xmlns:a16="http://schemas.microsoft.com/office/drawing/2014/main" id="{30514568-999C-43A9-BF17-5674020DDC87}"/>
              </a:ext>
            </a:extLst>
          </p:cNvPr>
          <p:cNvGrpSpPr/>
          <p:nvPr/>
        </p:nvGrpSpPr>
        <p:grpSpPr>
          <a:xfrm>
            <a:off x="1636178" y="2878398"/>
            <a:ext cx="379307" cy="476272"/>
            <a:chOff x="1174750" y="1774825"/>
            <a:chExt cx="1266825" cy="1590676"/>
          </a:xfrm>
          <a:solidFill>
            <a:schemeClr val="tx1"/>
          </a:solidFill>
        </p:grpSpPr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DD9697EF-AB95-4A53-B8DC-7E02AB9B8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4750" y="2408238"/>
              <a:ext cx="881063" cy="957263"/>
            </a:xfrm>
            <a:custGeom>
              <a:avLst/>
              <a:gdLst>
                <a:gd name="T0" fmla="*/ 223 w 456"/>
                <a:gd name="T1" fmla="*/ 245 h 493"/>
                <a:gd name="T2" fmla="*/ 223 w 456"/>
                <a:gd name="T3" fmla="*/ 110 h 493"/>
                <a:gd name="T4" fmla="*/ 154 w 456"/>
                <a:gd name="T5" fmla="*/ 37 h 493"/>
                <a:gd name="T6" fmla="*/ 85 w 456"/>
                <a:gd name="T7" fmla="*/ 109 h 493"/>
                <a:gd name="T8" fmla="*/ 85 w 456"/>
                <a:gd name="T9" fmla="*/ 347 h 493"/>
                <a:gd name="T10" fmla="*/ 100 w 456"/>
                <a:gd name="T11" fmla="*/ 372 h 493"/>
                <a:gd name="T12" fmla="*/ 131 w 456"/>
                <a:gd name="T13" fmla="*/ 447 h 493"/>
                <a:gd name="T14" fmla="*/ 70 w 456"/>
                <a:gd name="T15" fmla="*/ 493 h 493"/>
                <a:gd name="T16" fmla="*/ 9 w 456"/>
                <a:gd name="T17" fmla="*/ 447 h 493"/>
                <a:gd name="T18" fmla="*/ 40 w 456"/>
                <a:gd name="T19" fmla="*/ 372 h 493"/>
                <a:gd name="T20" fmla="*/ 55 w 456"/>
                <a:gd name="T21" fmla="*/ 344 h 493"/>
                <a:gd name="T22" fmla="*/ 55 w 456"/>
                <a:gd name="T23" fmla="*/ 104 h 493"/>
                <a:gd name="T24" fmla="*/ 145 w 456"/>
                <a:gd name="T25" fmla="*/ 6 h 493"/>
                <a:gd name="T26" fmla="*/ 249 w 456"/>
                <a:gd name="T27" fmla="*/ 75 h 493"/>
                <a:gd name="T28" fmla="*/ 253 w 456"/>
                <a:gd name="T29" fmla="*/ 111 h 493"/>
                <a:gd name="T30" fmla="*/ 253 w 456"/>
                <a:gd name="T31" fmla="*/ 377 h 493"/>
                <a:gd name="T32" fmla="*/ 304 w 456"/>
                <a:gd name="T33" fmla="*/ 452 h 493"/>
                <a:gd name="T34" fmla="*/ 391 w 456"/>
                <a:gd name="T35" fmla="*/ 394 h 493"/>
                <a:gd name="T36" fmla="*/ 392 w 456"/>
                <a:gd name="T37" fmla="*/ 336 h 493"/>
                <a:gd name="T38" fmla="*/ 374 w 456"/>
                <a:gd name="T39" fmla="*/ 318 h 493"/>
                <a:gd name="T40" fmla="*/ 364 w 456"/>
                <a:gd name="T41" fmla="*/ 300 h 493"/>
                <a:gd name="T42" fmla="*/ 399 w 456"/>
                <a:gd name="T43" fmla="*/ 230 h 493"/>
                <a:gd name="T44" fmla="*/ 415 w 456"/>
                <a:gd name="T45" fmla="*/ 229 h 493"/>
                <a:gd name="T46" fmla="*/ 451 w 456"/>
                <a:gd name="T47" fmla="*/ 302 h 493"/>
                <a:gd name="T48" fmla="*/ 442 w 456"/>
                <a:gd name="T49" fmla="*/ 317 h 493"/>
                <a:gd name="T50" fmla="*/ 424 w 456"/>
                <a:gd name="T51" fmla="*/ 339 h 493"/>
                <a:gd name="T52" fmla="*/ 422 w 456"/>
                <a:gd name="T53" fmla="*/ 399 h 493"/>
                <a:gd name="T54" fmla="*/ 315 w 456"/>
                <a:gd name="T55" fmla="*/ 486 h 493"/>
                <a:gd name="T56" fmla="*/ 223 w 456"/>
                <a:gd name="T57" fmla="*/ 385 h 493"/>
                <a:gd name="T58" fmla="*/ 223 w 456"/>
                <a:gd name="T59" fmla="*/ 245 h 493"/>
                <a:gd name="T60" fmla="*/ 223 w 456"/>
                <a:gd name="T61" fmla="*/ 245 h 493"/>
                <a:gd name="T62" fmla="*/ 70 w 456"/>
                <a:gd name="T63" fmla="*/ 461 h 493"/>
                <a:gd name="T64" fmla="*/ 103 w 456"/>
                <a:gd name="T65" fmla="*/ 429 h 493"/>
                <a:gd name="T66" fmla="*/ 69 w 456"/>
                <a:gd name="T67" fmla="*/ 395 h 493"/>
                <a:gd name="T68" fmla="*/ 37 w 456"/>
                <a:gd name="T69" fmla="*/ 429 h 493"/>
                <a:gd name="T70" fmla="*/ 70 w 456"/>
                <a:gd name="T71" fmla="*/ 461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6" h="493">
                  <a:moveTo>
                    <a:pt x="223" y="245"/>
                  </a:moveTo>
                  <a:cubicBezTo>
                    <a:pt x="223" y="200"/>
                    <a:pt x="223" y="155"/>
                    <a:pt x="223" y="110"/>
                  </a:cubicBezTo>
                  <a:cubicBezTo>
                    <a:pt x="223" y="67"/>
                    <a:pt x="195" y="37"/>
                    <a:pt x="154" y="37"/>
                  </a:cubicBezTo>
                  <a:cubicBezTo>
                    <a:pt x="115" y="37"/>
                    <a:pt x="86" y="67"/>
                    <a:pt x="85" y="109"/>
                  </a:cubicBezTo>
                  <a:cubicBezTo>
                    <a:pt x="85" y="189"/>
                    <a:pt x="85" y="268"/>
                    <a:pt x="85" y="347"/>
                  </a:cubicBezTo>
                  <a:cubicBezTo>
                    <a:pt x="85" y="359"/>
                    <a:pt x="89" y="366"/>
                    <a:pt x="100" y="372"/>
                  </a:cubicBezTo>
                  <a:cubicBezTo>
                    <a:pt x="128" y="387"/>
                    <a:pt x="140" y="416"/>
                    <a:pt x="131" y="447"/>
                  </a:cubicBezTo>
                  <a:cubicBezTo>
                    <a:pt x="124" y="472"/>
                    <a:pt x="97" y="493"/>
                    <a:pt x="70" y="493"/>
                  </a:cubicBezTo>
                  <a:cubicBezTo>
                    <a:pt x="43" y="493"/>
                    <a:pt x="16" y="473"/>
                    <a:pt x="9" y="447"/>
                  </a:cubicBezTo>
                  <a:cubicBezTo>
                    <a:pt x="0" y="417"/>
                    <a:pt x="11" y="387"/>
                    <a:pt x="40" y="372"/>
                  </a:cubicBezTo>
                  <a:cubicBezTo>
                    <a:pt x="53" y="365"/>
                    <a:pt x="55" y="357"/>
                    <a:pt x="55" y="344"/>
                  </a:cubicBezTo>
                  <a:cubicBezTo>
                    <a:pt x="55" y="264"/>
                    <a:pt x="54" y="184"/>
                    <a:pt x="55" y="104"/>
                  </a:cubicBezTo>
                  <a:cubicBezTo>
                    <a:pt x="55" y="52"/>
                    <a:pt x="92" y="13"/>
                    <a:pt x="145" y="6"/>
                  </a:cubicBezTo>
                  <a:cubicBezTo>
                    <a:pt x="189" y="0"/>
                    <a:pt x="235" y="30"/>
                    <a:pt x="249" y="75"/>
                  </a:cubicBezTo>
                  <a:cubicBezTo>
                    <a:pt x="253" y="87"/>
                    <a:pt x="253" y="99"/>
                    <a:pt x="253" y="111"/>
                  </a:cubicBezTo>
                  <a:cubicBezTo>
                    <a:pt x="253" y="200"/>
                    <a:pt x="253" y="288"/>
                    <a:pt x="253" y="377"/>
                  </a:cubicBezTo>
                  <a:cubicBezTo>
                    <a:pt x="254" y="417"/>
                    <a:pt x="271" y="442"/>
                    <a:pt x="304" y="452"/>
                  </a:cubicBezTo>
                  <a:cubicBezTo>
                    <a:pt x="344" y="464"/>
                    <a:pt x="388" y="436"/>
                    <a:pt x="391" y="394"/>
                  </a:cubicBezTo>
                  <a:cubicBezTo>
                    <a:pt x="392" y="374"/>
                    <a:pt x="391" y="355"/>
                    <a:pt x="392" y="336"/>
                  </a:cubicBezTo>
                  <a:cubicBezTo>
                    <a:pt x="392" y="323"/>
                    <a:pt x="387" y="317"/>
                    <a:pt x="374" y="318"/>
                  </a:cubicBezTo>
                  <a:cubicBezTo>
                    <a:pt x="360" y="318"/>
                    <a:pt x="359" y="311"/>
                    <a:pt x="364" y="300"/>
                  </a:cubicBezTo>
                  <a:cubicBezTo>
                    <a:pt x="376" y="277"/>
                    <a:pt x="388" y="254"/>
                    <a:pt x="399" y="230"/>
                  </a:cubicBezTo>
                  <a:cubicBezTo>
                    <a:pt x="404" y="221"/>
                    <a:pt x="408" y="217"/>
                    <a:pt x="415" y="229"/>
                  </a:cubicBezTo>
                  <a:cubicBezTo>
                    <a:pt x="427" y="254"/>
                    <a:pt x="439" y="278"/>
                    <a:pt x="451" y="302"/>
                  </a:cubicBezTo>
                  <a:cubicBezTo>
                    <a:pt x="456" y="312"/>
                    <a:pt x="454" y="318"/>
                    <a:pt x="442" y="317"/>
                  </a:cubicBezTo>
                  <a:cubicBezTo>
                    <a:pt x="426" y="317"/>
                    <a:pt x="424" y="326"/>
                    <a:pt x="424" y="339"/>
                  </a:cubicBezTo>
                  <a:cubicBezTo>
                    <a:pt x="424" y="359"/>
                    <a:pt x="425" y="379"/>
                    <a:pt x="422" y="399"/>
                  </a:cubicBezTo>
                  <a:cubicBezTo>
                    <a:pt x="414" y="453"/>
                    <a:pt x="369" y="490"/>
                    <a:pt x="315" y="486"/>
                  </a:cubicBezTo>
                  <a:cubicBezTo>
                    <a:pt x="264" y="482"/>
                    <a:pt x="224" y="439"/>
                    <a:pt x="223" y="385"/>
                  </a:cubicBezTo>
                  <a:cubicBezTo>
                    <a:pt x="223" y="339"/>
                    <a:pt x="223" y="292"/>
                    <a:pt x="223" y="245"/>
                  </a:cubicBezTo>
                  <a:cubicBezTo>
                    <a:pt x="223" y="245"/>
                    <a:pt x="223" y="245"/>
                    <a:pt x="223" y="245"/>
                  </a:cubicBezTo>
                  <a:close/>
                  <a:moveTo>
                    <a:pt x="70" y="461"/>
                  </a:moveTo>
                  <a:cubicBezTo>
                    <a:pt x="89" y="461"/>
                    <a:pt x="103" y="448"/>
                    <a:pt x="103" y="429"/>
                  </a:cubicBezTo>
                  <a:cubicBezTo>
                    <a:pt x="103" y="410"/>
                    <a:pt x="87" y="394"/>
                    <a:pt x="69" y="395"/>
                  </a:cubicBezTo>
                  <a:cubicBezTo>
                    <a:pt x="52" y="395"/>
                    <a:pt x="37" y="411"/>
                    <a:pt x="37" y="429"/>
                  </a:cubicBezTo>
                  <a:cubicBezTo>
                    <a:pt x="37" y="447"/>
                    <a:pt x="51" y="461"/>
                    <a:pt x="70" y="4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D6978589-4486-4893-AF25-2BC23D761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1992313"/>
              <a:ext cx="541338" cy="596900"/>
            </a:xfrm>
            <a:custGeom>
              <a:avLst/>
              <a:gdLst>
                <a:gd name="T0" fmla="*/ 146 w 280"/>
                <a:gd name="T1" fmla="*/ 308 h 308"/>
                <a:gd name="T2" fmla="*/ 140 w 280"/>
                <a:gd name="T3" fmla="*/ 308 h 308"/>
                <a:gd name="T4" fmla="*/ 94 w 280"/>
                <a:gd name="T5" fmla="*/ 267 h 308"/>
                <a:gd name="T6" fmla="*/ 74 w 280"/>
                <a:gd name="T7" fmla="*/ 242 h 308"/>
                <a:gd name="T8" fmla="*/ 41 w 280"/>
                <a:gd name="T9" fmla="*/ 63 h 308"/>
                <a:gd name="T10" fmla="*/ 175 w 280"/>
                <a:gd name="T11" fmla="*/ 12 h 308"/>
                <a:gd name="T12" fmla="*/ 271 w 280"/>
                <a:gd name="T13" fmla="*/ 113 h 308"/>
                <a:gd name="T14" fmla="*/ 215 w 280"/>
                <a:gd name="T15" fmla="*/ 243 h 308"/>
                <a:gd name="T16" fmla="*/ 195 w 280"/>
                <a:gd name="T17" fmla="*/ 281 h 308"/>
                <a:gd name="T18" fmla="*/ 168 w 280"/>
                <a:gd name="T19" fmla="*/ 308 h 308"/>
                <a:gd name="T20" fmla="*/ 146 w 280"/>
                <a:gd name="T21" fmla="*/ 308 h 308"/>
                <a:gd name="T22" fmla="*/ 145 w 280"/>
                <a:gd name="T23" fmla="*/ 40 h 308"/>
                <a:gd name="T24" fmla="*/ 52 w 280"/>
                <a:gd name="T25" fmla="*/ 110 h 308"/>
                <a:gd name="T26" fmla="*/ 102 w 280"/>
                <a:gd name="T27" fmla="*/ 223 h 308"/>
                <a:gd name="T28" fmla="*/ 126 w 280"/>
                <a:gd name="T29" fmla="*/ 260 h 308"/>
                <a:gd name="T30" fmla="*/ 146 w 280"/>
                <a:gd name="T31" fmla="*/ 276 h 308"/>
                <a:gd name="T32" fmla="*/ 165 w 280"/>
                <a:gd name="T33" fmla="*/ 260 h 308"/>
                <a:gd name="T34" fmla="*/ 190 w 280"/>
                <a:gd name="T35" fmla="*/ 221 h 308"/>
                <a:gd name="T36" fmla="*/ 239 w 280"/>
                <a:gd name="T37" fmla="*/ 112 h 308"/>
                <a:gd name="T38" fmla="*/ 145 w 280"/>
                <a:gd name="T39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308">
                  <a:moveTo>
                    <a:pt x="146" y="308"/>
                  </a:moveTo>
                  <a:cubicBezTo>
                    <a:pt x="144" y="308"/>
                    <a:pt x="142" y="308"/>
                    <a:pt x="140" y="308"/>
                  </a:cubicBezTo>
                  <a:cubicBezTo>
                    <a:pt x="98" y="308"/>
                    <a:pt x="97" y="308"/>
                    <a:pt x="94" y="267"/>
                  </a:cubicBezTo>
                  <a:cubicBezTo>
                    <a:pt x="93" y="253"/>
                    <a:pt x="83" y="248"/>
                    <a:pt x="74" y="242"/>
                  </a:cubicBezTo>
                  <a:cubicBezTo>
                    <a:pt x="14" y="201"/>
                    <a:pt x="0" y="122"/>
                    <a:pt x="41" y="63"/>
                  </a:cubicBezTo>
                  <a:cubicBezTo>
                    <a:pt x="72" y="20"/>
                    <a:pt x="123" y="0"/>
                    <a:pt x="175" y="12"/>
                  </a:cubicBezTo>
                  <a:cubicBezTo>
                    <a:pt x="223" y="23"/>
                    <a:pt x="262" y="64"/>
                    <a:pt x="271" y="113"/>
                  </a:cubicBezTo>
                  <a:cubicBezTo>
                    <a:pt x="280" y="164"/>
                    <a:pt x="259" y="216"/>
                    <a:pt x="215" y="243"/>
                  </a:cubicBezTo>
                  <a:cubicBezTo>
                    <a:pt x="199" y="253"/>
                    <a:pt x="194" y="264"/>
                    <a:pt x="195" y="281"/>
                  </a:cubicBezTo>
                  <a:cubicBezTo>
                    <a:pt x="196" y="307"/>
                    <a:pt x="194" y="308"/>
                    <a:pt x="168" y="308"/>
                  </a:cubicBezTo>
                  <a:cubicBezTo>
                    <a:pt x="160" y="308"/>
                    <a:pt x="153" y="308"/>
                    <a:pt x="146" y="308"/>
                  </a:cubicBezTo>
                  <a:close/>
                  <a:moveTo>
                    <a:pt x="145" y="40"/>
                  </a:moveTo>
                  <a:cubicBezTo>
                    <a:pt x="101" y="40"/>
                    <a:pt x="62" y="69"/>
                    <a:pt x="52" y="110"/>
                  </a:cubicBezTo>
                  <a:cubicBezTo>
                    <a:pt x="40" y="157"/>
                    <a:pt x="60" y="202"/>
                    <a:pt x="102" y="223"/>
                  </a:cubicBezTo>
                  <a:cubicBezTo>
                    <a:pt x="120" y="231"/>
                    <a:pt x="129" y="240"/>
                    <a:pt x="126" y="260"/>
                  </a:cubicBezTo>
                  <a:cubicBezTo>
                    <a:pt x="125" y="274"/>
                    <a:pt x="134" y="276"/>
                    <a:pt x="146" y="276"/>
                  </a:cubicBezTo>
                  <a:cubicBezTo>
                    <a:pt x="157" y="276"/>
                    <a:pt x="167" y="274"/>
                    <a:pt x="165" y="260"/>
                  </a:cubicBezTo>
                  <a:cubicBezTo>
                    <a:pt x="162" y="239"/>
                    <a:pt x="173" y="230"/>
                    <a:pt x="190" y="221"/>
                  </a:cubicBezTo>
                  <a:cubicBezTo>
                    <a:pt x="231" y="202"/>
                    <a:pt x="251" y="156"/>
                    <a:pt x="239" y="112"/>
                  </a:cubicBezTo>
                  <a:cubicBezTo>
                    <a:pt x="229" y="69"/>
                    <a:pt x="191" y="40"/>
                    <a:pt x="14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CAFD4B65-703F-4177-80E6-27B239D5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636838"/>
              <a:ext cx="195263" cy="61913"/>
            </a:xfrm>
            <a:custGeom>
              <a:avLst/>
              <a:gdLst>
                <a:gd name="T0" fmla="*/ 49 w 101"/>
                <a:gd name="T1" fmla="*/ 32 h 32"/>
                <a:gd name="T2" fmla="*/ 15 w 101"/>
                <a:gd name="T3" fmla="*/ 32 h 32"/>
                <a:gd name="T4" fmla="*/ 0 w 101"/>
                <a:gd name="T5" fmla="*/ 18 h 32"/>
                <a:gd name="T6" fmla="*/ 15 w 101"/>
                <a:gd name="T7" fmla="*/ 0 h 32"/>
                <a:gd name="T8" fmla="*/ 87 w 101"/>
                <a:gd name="T9" fmla="*/ 0 h 32"/>
                <a:gd name="T10" fmla="*/ 101 w 101"/>
                <a:gd name="T11" fmla="*/ 16 h 32"/>
                <a:gd name="T12" fmla="*/ 85 w 101"/>
                <a:gd name="T13" fmla="*/ 32 h 32"/>
                <a:gd name="T14" fmla="*/ 49 w 10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2">
                  <a:moveTo>
                    <a:pt x="49" y="32"/>
                  </a:moveTo>
                  <a:cubicBezTo>
                    <a:pt x="38" y="32"/>
                    <a:pt x="27" y="32"/>
                    <a:pt x="15" y="32"/>
                  </a:cubicBezTo>
                  <a:cubicBezTo>
                    <a:pt x="6" y="32"/>
                    <a:pt x="1" y="28"/>
                    <a:pt x="0" y="18"/>
                  </a:cubicBezTo>
                  <a:cubicBezTo>
                    <a:pt x="0" y="8"/>
                    <a:pt x="4" y="1"/>
                    <a:pt x="15" y="0"/>
                  </a:cubicBezTo>
                  <a:cubicBezTo>
                    <a:pt x="39" y="0"/>
                    <a:pt x="63" y="0"/>
                    <a:pt x="87" y="0"/>
                  </a:cubicBezTo>
                  <a:cubicBezTo>
                    <a:pt x="97" y="1"/>
                    <a:pt x="101" y="6"/>
                    <a:pt x="101" y="16"/>
                  </a:cubicBezTo>
                  <a:cubicBezTo>
                    <a:pt x="101" y="27"/>
                    <a:pt x="96" y="32"/>
                    <a:pt x="85" y="32"/>
                  </a:cubicBezTo>
                  <a:cubicBezTo>
                    <a:pt x="73" y="32"/>
                    <a:pt x="61" y="32"/>
                    <a:pt x="4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859E827F-9AC1-40FD-B6DC-AC6FBFAB9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138" y="2239963"/>
              <a:ext cx="173038" cy="61913"/>
            </a:xfrm>
            <a:custGeom>
              <a:avLst/>
              <a:gdLst>
                <a:gd name="T0" fmla="*/ 46 w 89"/>
                <a:gd name="T1" fmla="*/ 0 h 32"/>
                <a:gd name="T2" fmla="*/ 68 w 89"/>
                <a:gd name="T3" fmla="*/ 0 h 32"/>
                <a:gd name="T4" fmla="*/ 89 w 89"/>
                <a:gd name="T5" fmla="*/ 17 h 32"/>
                <a:gd name="T6" fmla="*/ 67 w 89"/>
                <a:gd name="T7" fmla="*/ 32 h 32"/>
                <a:gd name="T8" fmla="*/ 21 w 89"/>
                <a:gd name="T9" fmla="*/ 32 h 32"/>
                <a:gd name="T10" fmla="*/ 1 w 89"/>
                <a:gd name="T11" fmla="*/ 16 h 32"/>
                <a:gd name="T12" fmla="*/ 20 w 89"/>
                <a:gd name="T13" fmla="*/ 0 h 32"/>
                <a:gd name="T14" fmla="*/ 46 w 89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4" y="0"/>
                    <a:pt x="61" y="0"/>
                    <a:pt x="68" y="0"/>
                  </a:cubicBezTo>
                  <a:cubicBezTo>
                    <a:pt x="80" y="0"/>
                    <a:pt x="89" y="1"/>
                    <a:pt x="89" y="17"/>
                  </a:cubicBezTo>
                  <a:cubicBezTo>
                    <a:pt x="89" y="32"/>
                    <a:pt x="78" y="32"/>
                    <a:pt x="67" y="32"/>
                  </a:cubicBezTo>
                  <a:cubicBezTo>
                    <a:pt x="52" y="32"/>
                    <a:pt x="37" y="32"/>
                    <a:pt x="21" y="32"/>
                  </a:cubicBezTo>
                  <a:cubicBezTo>
                    <a:pt x="10" y="32"/>
                    <a:pt x="0" y="31"/>
                    <a:pt x="1" y="16"/>
                  </a:cubicBezTo>
                  <a:cubicBezTo>
                    <a:pt x="1" y="1"/>
                    <a:pt x="10" y="0"/>
                    <a:pt x="20" y="0"/>
                  </a:cubicBezTo>
                  <a:cubicBezTo>
                    <a:pt x="29" y="0"/>
                    <a:pt x="38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06E4E2F0-9B6D-4381-8FD1-085450B20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125" y="2239963"/>
              <a:ext cx="171450" cy="61913"/>
            </a:xfrm>
            <a:custGeom>
              <a:avLst/>
              <a:gdLst>
                <a:gd name="T0" fmla="*/ 46 w 89"/>
                <a:gd name="T1" fmla="*/ 0 h 32"/>
                <a:gd name="T2" fmla="*/ 72 w 89"/>
                <a:gd name="T3" fmla="*/ 0 h 32"/>
                <a:gd name="T4" fmla="*/ 89 w 89"/>
                <a:gd name="T5" fmla="*/ 17 h 32"/>
                <a:gd name="T6" fmla="*/ 73 w 89"/>
                <a:gd name="T7" fmla="*/ 32 h 32"/>
                <a:gd name="T8" fmla="*/ 15 w 89"/>
                <a:gd name="T9" fmla="*/ 32 h 32"/>
                <a:gd name="T10" fmla="*/ 1 w 89"/>
                <a:gd name="T11" fmla="*/ 16 h 32"/>
                <a:gd name="T12" fmla="*/ 15 w 89"/>
                <a:gd name="T13" fmla="*/ 0 h 32"/>
                <a:gd name="T14" fmla="*/ 46 w 89"/>
                <a:gd name="T15" fmla="*/ 0 h 32"/>
                <a:gd name="T16" fmla="*/ 46 w 8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5" y="0"/>
                    <a:pt x="63" y="0"/>
                    <a:pt x="72" y="0"/>
                  </a:cubicBezTo>
                  <a:cubicBezTo>
                    <a:pt x="84" y="0"/>
                    <a:pt x="89" y="5"/>
                    <a:pt x="89" y="17"/>
                  </a:cubicBezTo>
                  <a:cubicBezTo>
                    <a:pt x="89" y="28"/>
                    <a:pt x="83" y="32"/>
                    <a:pt x="73" y="32"/>
                  </a:cubicBezTo>
                  <a:cubicBezTo>
                    <a:pt x="54" y="32"/>
                    <a:pt x="34" y="32"/>
                    <a:pt x="15" y="32"/>
                  </a:cubicBezTo>
                  <a:cubicBezTo>
                    <a:pt x="4" y="32"/>
                    <a:pt x="0" y="26"/>
                    <a:pt x="1" y="16"/>
                  </a:cubicBezTo>
                  <a:cubicBezTo>
                    <a:pt x="1" y="6"/>
                    <a:pt x="5" y="1"/>
                    <a:pt x="15" y="0"/>
                  </a:cubicBezTo>
                  <a:cubicBezTo>
                    <a:pt x="25" y="0"/>
                    <a:pt x="3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BC3004E6-6155-4B7F-9C05-78E06942F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1774825"/>
              <a:ext cx="61913" cy="173038"/>
            </a:xfrm>
            <a:custGeom>
              <a:avLst/>
              <a:gdLst>
                <a:gd name="T0" fmla="*/ 32 w 32"/>
                <a:gd name="T1" fmla="*/ 46 h 89"/>
                <a:gd name="T2" fmla="*/ 32 w 32"/>
                <a:gd name="T3" fmla="*/ 74 h 89"/>
                <a:gd name="T4" fmla="*/ 15 w 32"/>
                <a:gd name="T5" fmla="*/ 89 h 89"/>
                <a:gd name="T6" fmla="*/ 0 w 32"/>
                <a:gd name="T7" fmla="*/ 73 h 89"/>
                <a:gd name="T8" fmla="*/ 0 w 32"/>
                <a:gd name="T9" fmla="*/ 17 h 89"/>
                <a:gd name="T10" fmla="*/ 15 w 32"/>
                <a:gd name="T11" fmla="*/ 1 h 89"/>
                <a:gd name="T12" fmla="*/ 32 w 32"/>
                <a:gd name="T13" fmla="*/ 18 h 89"/>
                <a:gd name="T14" fmla="*/ 32 w 32"/>
                <a:gd name="T15" fmla="*/ 46 h 89"/>
                <a:gd name="T16" fmla="*/ 32 w 32"/>
                <a:gd name="T1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89">
                  <a:moveTo>
                    <a:pt x="32" y="46"/>
                  </a:moveTo>
                  <a:cubicBezTo>
                    <a:pt x="32" y="55"/>
                    <a:pt x="32" y="65"/>
                    <a:pt x="32" y="74"/>
                  </a:cubicBezTo>
                  <a:cubicBezTo>
                    <a:pt x="32" y="85"/>
                    <a:pt x="26" y="89"/>
                    <a:pt x="15" y="89"/>
                  </a:cubicBezTo>
                  <a:cubicBezTo>
                    <a:pt x="4" y="89"/>
                    <a:pt x="0" y="84"/>
                    <a:pt x="0" y="73"/>
                  </a:cubicBezTo>
                  <a:cubicBezTo>
                    <a:pt x="0" y="55"/>
                    <a:pt x="0" y="36"/>
                    <a:pt x="0" y="17"/>
                  </a:cubicBezTo>
                  <a:cubicBezTo>
                    <a:pt x="0" y="7"/>
                    <a:pt x="4" y="1"/>
                    <a:pt x="15" y="1"/>
                  </a:cubicBezTo>
                  <a:cubicBezTo>
                    <a:pt x="27" y="0"/>
                    <a:pt x="32" y="7"/>
                    <a:pt x="32" y="18"/>
                  </a:cubicBezTo>
                  <a:cubicBezTo>
                    <a:pt x="32" y="27"/>
                    <a:pt x="32" y="37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AC8FF4A2-D156-4EB5-8E67-637EA1846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88" y="1827213"/>
              <a:ext cx="127000" cy="177800"/>
            </a:xfrm>
            <a:custGeom>
              <a:avLst/>
              <a:gdLst>
                <a:gd name="T0" fmla="*/ 65 w 66"/>
                <a:gd name="T1" fmla="*/ 69 h 92"/>
                <a:gd name="T2" fmla="*/ 55 w 66"/>
                <a:gd name="T3" fmla="*/ 85 h 92"/>
                <a:gd name="T4" fmla="*/ 39 w 66"/>
                <a:gd name="T5" fmla="*/ 85 h 92"/>
                <a:gd name="T6" fmla="*/ 3 w 66"/>
                <a:gd name="T7" fmla="*/ 23 h 92"/>
                <a:gd name="T8" fmla="*/ 12 w 66"/>
                <a:gd name="T9" fmla="*/ 9 h 92"/>
                <a:gd name="T10" fmla="*/ 28 w 66"/>
                <a:gd name="T11" fmla="*/ 7 h 92"/>
                <a:gd name="T12" fmla="*/ 65 w 66"/>
                <a:gd name="T13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92">
                  <a:moveTo>
                    <a:pt x="65" y="69"/>
                  </a:moveTo>
                  <a:cubicBezTo>
                    <a:pt x="66" y="80"/>
                    <a:pt x="60" y="82"/>
                    <a:pt x="55" y="85"/>
                  </a:cubicBezTo>
                  <a:cubicBezTo>
                    <a:pt x="50" y="88"/>
                    <a:pt x="43" y="92"/>
                    <a:pt x="39" y="85"/>
                  </a:cubicBezTo>
                  <a:cubicBezTo>
                    <a:pt x="26" y="64"/>
                    <a:pt x="14" y="44"/>
                    <a:pt x="3" y="23"/>
                  </a:cubicBezTo>
                  <a:cubicBezTo>
                    <a:pt x="0" y="16"/>
                    <a:pt x="7" y="12"/>
                    <a:pt x="12" y="9"/>
                  </a:cubicBezTo>
                  <a:cubicBezTo>
                    <a:pt x="17" y="6"/>
                    <a:pt x="23" y="0"/>
                    <a:pt x="28" y="7"/>
                  </a:cubicBezTo>
                  <a:cubicBezTo>
                    <a:pt x="41" y="28"/>
                    <a:pt x="54" y="50"/>
                    <a:pt x="65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3D55B0CD-A0FE-4553-9ABC-D4FC35FF4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1835150"/>
              <a:ext cx="130175" cy="168275"/>
            </a:xfrm>
            <a:custGeom>
              <a:avLst/>
              <a:gdLst>
                <a:gd name="T0" fmla="*/ 46 w 68"/>
                <a:gd name="T1" fmla="*/ 0 h 87"/>
                <a:gd name="T2" fmla="*/ 62 w 68"/>
                <a:gd name="T3" fmla="*/ 26 h 87"/>
                <a:gd name="T4" fmla="*/ 33 w 68"/>
                <a:gd name="T5" fmla="*/ 76 h 87"/>
                <a:gd name="T6" fmla="*/ 11 w 68"/>
                <a:gd name="T7" fmla="*/ 80 h 87"/>
                <a:gd name="T8" fmla="*/ 5 w 68"/>
                <a:gd name="T9" fmla="*/ 60 h 87"/>
                <a:gd name="T10" fmla="*/ 36 w 68"/>
                <a:gd name="T11" fmla="*/ 9 h 87"/>
                <a:gd name="T12" fmla="*/ 46 w 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87">
                  <a:moveTo>
                    <a:pt x="46" y="0"/>
                  </a:moveTo>
                  <a:cubicBezTo>
                    <a:pt x="59" y="0"/>
                    <a:pt x="68" y="15"/>
                    <a:pt x="62" y="26"/>
                  </a:cubicBezTo>
                  <a:cubicBezTo>
                    <a:pt x="52" y="43"/>
                    <a:pt x="42" y="59"/>
                    <a:pt x="33" y="76"/>
                  </a:cubicBezTo>
                  <a:cubicBezTo>
                    <a:pt x="27" y="87"/>
                    <a:pt x="20" y="85"/>
                    <a:pt x="11" y="80"/>
                  </a:cubicBezTo>
                  <a:cubicBezTo>
                    <a:pt x="3" y="75"/>
                    <a:pt x="0" y="69"/>
                    <a:pt x="5" y="60"/>
                  </a:cubicBezTo>
                  <a:cubicBezTo>
                    <a:pt x="16" y="43"/>
                    <a:pt x="26" y="26"/>
                    <a:pt x="36" y="9"/>
                  </a:cubicBezTo>
                  <a:cubicBezTo>
                    <a:pt x="38" y="5"/>
                    <a:pt x="4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4A7B0B0E-4DB1-4E26-8B44-E686F5216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50" y="2012950"/>
              <a:ext cx="173038" cy="130175"/>
            </a:xfrm>
            <a:custGeom>
              <a:avLst/>
              <a:gdLst>
                <a:gd name="T0" fmla="*/ 16 w 90"/>
                <a:gd name="T1" fmla="*/ 67 h 67"/>
                <a:gd name="T2" fmla="*/ 3 w 90"/>
                <a:gd name="T3" fmla="*/ 52 h 67"/>
                <a:gd name="T4" fmla="*/ 7 w 90"/>
                <a:gd name="T5" fmla="*/ 38 h 67"/>
                <a:gd name="T6" fmla="*/ 64 w 90"/>
                <a:gd name="T7" fmla="*/ 5 h 67"/>
                <a:gd name="T8" fmla="*/ 81 w 90"/>
                <a:gd name="T9" fmla="*/ 13 h 67"/>
                <a:gd name="T10" fmla="*/ 81 w 90"/>
                <a:gd name="T11" fmla="*/ 30 h 67"/>
                <a:gd name="T12" fmla="*/ 21 w 90"/>
                <a:gd name="T13" fmla="*/ 65 h 67"/>
                <a:gd name="T14" fmla="*/ 16 w 90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67">
                  <a:moveTo>
                    <a:pt x="16" y="67"/>
                  </a:moveTo>
                  <a:cubicBezTo>
                    <a:pt x="8" y="64"/>
                    <a:pt x="6" y="57"/>
                    <a:pt x="3" y="52"/>
                  </a:cubicBezTo>
                  <a:cubicBezTo>
                    <a:pt x="0" y="46"/>
                    <a:pt x="2" y="41"/>
                    <a:pt x="7" y="38"/>
                  </a:cubicBezTo>
                  <a:cubicBezTo>
                    <a:pt x="26" y="27"/>
                    <a:pt x="45" y="16"/>
                    <a:pt x="64" y="5"/>
                  </a:cubicBezTo>
                  <a:cubicBezTo>
                    <a:pt x="73" y="0"/>
                    <a:pt x="78" y="6"/>
                    <a:pt x="81" y="13"/>
                  </a:cubicBezTo>
                  <a:cubicBezTo>
                    <a:pt x="85" y="19"/>
                    <a:pt x="90" y="25"/>
                    <a:pt x="81" y="30"/>
                  </a:cubicBezTo>
                  <a:cubicBezTo>
                    <a:pt x="62" y="42"/>
                    <a:pt x="41" y="54"/>
                    <a:pt x="21" y="65"/>
                  </a:cubicBezTo>
                  <a:cubicBezTo>
                    <a:pt x="19" y="66"/>
                    <a:pt x="17" y="66"/>
                    <a:pt x="1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05C393B9-3BA7-484C-ACA1-ED7E8D7CA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2011363"/>
              <a:ext cx="169863" cy="134938"/>
            </a:xfrm>
            <a:custGeom>
              <a:avLst/>
              <a:gdLst>
                <a:gd name="T0" fmla="*/ 87 w 88"/>
                <a:gd name="T1" fmla="*/ 46 h 70"/>
                <a:gd name="T2" fmla="*/ 62 w 88"/>
                <a:gd name="T3" fmla="*/ 63 h 70"/>
                <a:gd name="T4" fmla="*/ 10 w 88"/>
                <a:gd name="T5" fmla="*/ 33 h 70"/>
                <a:gd name="T6" fmla="*/ 7 w 88"/>
                <a:gd name="T7" fmla="*/ 15 h 70"/>
                <a:gd name="T8" fmla="*/ 24 w 88"/>
                <a:gd name="T9" fmla="*/ 6 h 70"/>
                <a:gd name="T10" fmla="*/ 82 w 88"/>
                <a:gd name="T11" fmla="*/ 39 h 70"/>
                <a:gd name="T12" fmla="*/ 87 w 88"/>
                <a:gd name="T13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70">
                  <a:moveTo>
                    <a:pt x="87" y="46"/>
                  </a:moveTo>
                  <a:cubicBezTo>
                    <a:pt x="88" y="61"/>
                    <a:pt x="74" y="70"/>
                    <a:pt x="62" y="63"/>
                  </a:cubicBezTo>
                  <a:cubicBezTo>
                    <a:pt x="44" y="53"/>
                    <a:pt x="27" y="43"/>
                    <a:pt x="10" y="33"/>
                  </a:cubicBezTo>
                  <a:cubicBezTo>
                    <a:pt x="0" y="28"/>
                    <a:pt x="3" y="22"/>
                    <a:pt x="7" y="15"/>
                  </a:cubicBezTo>
                  <a:cubicBezTo>
                    <a:pt x="11" y="8"/>
                    <a:pt x="14" y="0"/>
                    <a:pt x="24" y="6"/>
                  </a:cubicBezTo>
                  <a:cubicBezTo>
                    <a:pt x="43" y="17"/>
                    <a:pt x="63" y="28"/>
                    <a:pt x="82" y="39"/>
                  </a:cubicBezTo>
                  <a:cubicBezTo>
                    <a:pt x="85" y="41"/>
                    <a:pt x="87" y="44"/>
                    <a:pt x="8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E57234CA-100B-4ACA-8A3B-F32D78CAD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2174875"/>
              <a:ext cx="290513" cy="211138"/>
            </a:xfrm>
            <a:custGeom>
              <a:avLst/>
              <a:gdLst>
                <a:gd name="T0" fmla="*/ 60 w 150"/>
                <a:gd name="T1" fmla="*/ 109 h 109"/>
                <a:gd name="T2" fmla="*/ 57 w 150"/>
                <a:gd name="T3" fmla="*/ 109 h 109"/>
                <a:gd name="T4" fmla="*/ 1 w 150"/>
                <a:gd name="T5" fmla="*/ 52 h 109"/>
                <a:gd name="T6" fmla="*/ 11 w 150"/>
                <a:gd name="T7" fmla="*/ 36 h 109"/>
                <a:gd name="T8" fmla="*/ 25 w 150"/>
                <a:gd name="T9" fmla="*/ 37 h 109"/>
                <a:gd name="T10" fmla="*/ 30 w 150"/>
                <a:gd name="T11" fmla="*/ 41 h 109"/>
                <a:gd name="T12" fmla="*/ 87 w 150"/>
                <a:gd name="T13" fmla="*/ 40 h 109"/>
                <a:gd name="T14" fmla="*/ 120 w 150"/>
                <a:gd name="T15" fmla="*/ 7 h 109"/>
                <a:gd name="T16" fmla="*/ 139 w 150"/>
                <a:gd name="T17" fmla="*/ 10 h 109"/>
                <a:gd name="T18" fmla="*/ 142 w 150"/>
                <a:gd name="T19" fmla="*/ 29 h 109"/>
                <a:gd name="T20" fmla="*/ 66 w 150"/>
                <a:gd name="T21" fmla="*/ 105 h 109"/>
                <a:gd name="T22" fmla="*/ 60 w 150"/>
                <a:gd name="T2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09">
                  <a:moveTo>
                    <a:pt x="60" y="109"/>
                  </a:moveTo>
                  <a:cubicBezTo>
                    <a:pt x="58" y="109"/>
                    <a:pt x="58" y="109"/>
                    <a:pt x="57" y="109"/>
                  </a:cubicBezTo>
                  <a:cubicBezTo>
                    <a:pt x="53" y="108"/>
                    <a:pt x="1" y="57"/>
                    <a:pt x="1" y="52"/>
                  </a:cubicBezTo>
                  <a:cubicBezTo>
                    <a:pt x="0" y="45"/>
                    <a:pt x="7" y="41"/>
                    <a:pt x="11" y="36"/>
                  </a:cubicBezTo>
                  <a:cubicBezTo>
                    <a:pt x="16" y="32"/>
                    <a:pt x="21" y="32"/>
                    <a:pt x="25" y="37"/>
                  </a:cubicBezTo>
                  <a:cubicBezTo>
                    <a:pt x="27" y="38"/>
                    <a:pt x="28" y="39"/>
                    <a:pt x="30" y="41"/>
                  </a:cubicBezTo>
                  <a:cubicBezTo>
                    <a:pt x="59" y="68"/>
                    <a:pt x="59" y="68"/>
                    <a:pt x="87" y="40"/>
                  </a:cubicBezTo>
                  <a:cubicBezTo>
                    <a:pt x="98" y="29"/>
                    <a:pt x="109" y="18"/>
                    <a:pt x="120" y="7"/>
                  </a:cubicBezTo>
                  <a:cubicBezTo>
                    <a:pt x="128" y="0"/>
                    <a:pt x="133" y="5"/>
                    <a:pt x="139" y="10"/>
                  </a:cubicBezTo>
                  <a:cubicBezTo>
                    <a:pt x="144" y="16"/>
                    <a:pt x="150" y="21"/>
                    <a:pt x="142" y="29"/>
                  </a:cubicBezTo>
                  <a:cubicBezTo>
                    <a:pt x="117" y="54"/>
                    <a:pt x="91" y="80"/>
                    <a:pt x="66" y="105"/>
                  </a:cubicBezTo>
                  <a:cubicBezTo>
                    <a:pt x="64" y="107"/>
                    <a:pt x="62" y="108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uppieren 215">
            <a:extLst>
              <a:ext uri="{FF2B5EF4-FFF2-40B4-BE49-F238E27FC236}">
                <a16:creationId xmlns:a16="http://schemas.microsoft.com/office/drawing/2014/main" id="{0C14F3EA-29DE-4135-B1CF-DB39D859A514}"/>
              </a:ext>
            </a:extLst>
          </p:cNvPr>
          <p:cNvGrpSpPr/>
          <p:nvPr/>
        </p:nvGrpSpPr>
        <p:grpSpPr bwMode="gray">
          <a:xfrm>
            <a:off x="8209968" y="3637388"/>
            <a:ext cx="362354" cy="372190"/>
            <a:chOff x="-16246475" y="1563688"/>
            <a:chExt cx="701675" cy="720725"/>
          </a:xfrm>
          <a:solidFill>
            <a:schemeClr val="tx1"/>
          </a:solidFill>
        </p:grpSpPr>
        <p:sp>
          <p:nvSpPr>
            <p:cNvPr id="121" name="Freeform 81">
              <a:extLst>
                <a:ext uri="{FF2B5EF4-FFF2-40B4-BE49-F238E27FC236}">
                  <a16:creationId xmlns:a16="http://schemas.microsoft.com/office/drawing/2014/main" id="{7894F3AC-C42B-49C0-94B8-62DF10325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2">
              <a:extLst>
                <a:ext uri="{FF2B5EF4-FFF2-40B4-BE49-F238E27FC236}">
                  <a16:creationId xmlns:a16="http://schemas.microsoft.com/office/drawing/2014/main" id="{0A170C37-853C-4A5D-A421-35A0B97A75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Freeform 47">
            <a:extLst>
              <a:ext uri="{FF2B5EF4-FFF2-40B4-BE49-F238E27FC236}">
                <a16:creationId xmlns:a16="http://schemas.microsoft.com/office/drawing/2014/main" id="{DA1FD08E-1B8F-4D25-96F9-987E35946207}"/>
              </a:ext>
            </a:extLst>
          </p:cNvPr>
          <p:cNvSpPr>
            <a:spLocks noEditPoints="1"/>
          </p:cNvSpPr>
          <p:nvPr/>
        </p:nvSpPr>
        <p:spPr bwMode="gray">
          <a:xfrm>
            <a:off x="6974523" y="2993212"/>
            <a:ext cx="263146" cy="331754"/>
          </a:xfrm>
          <a:custGeom>
            <a:avLst/>
            <a:gdLst>
              <a:gd name="T0" fmla="*/ 16 w 128"/>
              <a:gd name="T1" fmla="*/ 132 h 162"/>
              <a:gd name="T2" fmla="*/ 20 w 128"/>
              <a:gd name="T3" fmla="*/ 140 h 162"/>
              <a:gd name="T4" fmla="*/ 19 w 128"/>
              <a:gd name="T5" fmla="*/ 137 h 162"/>
              <a:gd name="T6" fmla="*/ 94 w 128"/>
              <a:gd name="T7" fmla="*/ 46 h 162"/>
              <a:gd name="T8" fmla="*/ 83 w 128"/>
              <a:gd name="T9" fmla="*/ 0 h 162"/>
              <a:gd name="T10" fmla="*/ 0 w 128"/>
              <a:gd name="T11" fmla="*/ 9 h 162"/>
              <a:gd name="T12" fmla="*/ 7 w 128"/>
              <a:gd name="T13" fmla="*/ 162 h 162"/>
              <a:gd name="T14" fmla="*/ 128 w 128"/>
              <a:gd name="T15" fmla="*/ 153 h 162"/>
              <a:gd name="T16" fmla="*/ 94 w 128"/>
              <a:gd name="T17" fmla="*/ 46 h 162"/>
              <a:gd name="T18" fmla="*/ 20 w 128"/>
              <a:gd name="T19" fmla="*/ 59 h 162"/>
              <a:gd name="T20" fmla="*/ 43 w 128"/>
              <a:gd name="T21" fmla="*/ 65 h 162"/>
              <a:gd name="T22" fmla="*/ 37 w 128"/>
              <a:gd name="T23" fmla="*/ 89 h 162"/>
              <a:gd name="T24" fmla="*/ 14 w 128"/>
              <a:gd name="T25" fmla="*/ 83 h 162"/>
              <a:gd name="T26" fmla="*/ 42 w 128"/>
              <a:gd name="T27" fmla="*/ 115 h 162"/>
              <a:gd name="T28" fmla="*/ 43 w 128"/>
              <a:gd name="T29" fmla="*/ 137 h 162"/>
              <a:gd name="T30" fmla="*/ 20 w 128"/>
              <a:gd name="T31" fmla="*/ 143 h 162"/>
              <a:gd name="T32" fmla="*/ 14 w 128"/>
              <a:gd name="T33" fmla="*/ 128 h 162"/>
              <a:gd name="T34" fmla="*/ 14 w 128"/>
              <a:gd name="T35" fmla="*/ 126 h 162"/>
              <a:gd name="T36" fmla="*/ 20 w 128"/>
              <a:gd name="T37" fmla="*/ 113 h 162"/>
              <a:gd name="T38" fmla="*/ 39 w 128"/>
              <a:gd name="T39" fmla="*/ 114 h 162"/>
              <a:gd name="T40" fmla="*/ 52 w 128"/>
              <a:gd name="T41" fmla="*/ 106 h 162"/>
              <a:gd name="T42" fmla="*/ 109 w 128"/>
              <a:gd name="T43" fmla="*/ 139 h 162"/>
              <a:gd name="T44" fmla="*/ 58 w 128"/>
              <a:gd name="T45" fmla="*/ 118 h 162"/>
              <a:gd name="T46" fmla="*/ 109 w 128"/>
              <a:gd name="T47" fmla="*/ 139 h 162"/>
              <a:gd name="T48" fmla="*/ 58 w 128"/>
              <a:gd name="T49" fmla="*/ 85 h 162"/>
              <a:gd name="T50" fmla="*/ 109 w 128"/>
              <a:gd name="T51" fmla="*/ 63 h 162"/>
              <a:gd name="T52" fmla="*/ 94 w 128"/>
              <a:gd name="T53" fmla="*/ 41 h 162"/>
              <a:gd name="T54" fmla="*/ 88 w 128"/>
              <a:gd name="T55" fmla="*/ 5 h 162"/>
              <a:gd name="T56" fmla="*/ 94 w 128"/>
              <a:gd name="T57" fmla="*/ 41 h 162"/>
              <a:gd name="T58" fmla="*/ 37 w 128"/>
              <a:gd name="T59" fmla="*/ 86 h 162"/>
              <a:gd name="T60" fmla="*/ 40 w 128"/>
              <a:gd name="T61" fmla="*/ 65 h 162"/>
              <a:gd name="T62" fmla="*/ 20 w 128"/>
              <a:gd name="T63" fmla="*/ 62 h 162"/>
              <a:gd name="T64" fmla="*/ 16 w 128"/>
              <a:gd name="T65" fmla="*/ 83 h 162"/>
              <a:gd name="T66" fmla="*/ 38 w 128"/>
              <a:gd name="T67" fmla="*/ 120 h 162"/>
              <a:gd name="T68" fmla="*/ 24 w 128"/>
              <a:gd name="T69" fmla="*/ 139 h 162"/>
              <a:gd name="T70" fmla="*/ 37 w 128"/>
              <a:gd name="T71" fmla="*/ 140 h 162"/>
              <a:gd name="T72" fmla="*/ 40 w 128"/>
              <a:gd name="T73" fmla="*/ 119 h 162"/>
              <a:gd name="T74" fmla="*/ 38 w 128"/>
              <a:gd name="T75" fmla="*/ 120 h 162"/>
              <a:gd name="T76" fmla="*/ 20 w 128"/>
              <a:gd name="T77" fmla="*/ 116 h 162"/>
              <a:gd name="T78" fmla="*/ 16 w 128"/>
              <a:gd name="T79" fmla="*/ 124 h 162"/>
              <a:gd name="T80" fmla="*/ 22 w 128"/>
              <a:gd name="T81" fmla="*/ 130 h 162"/>
              <a:gd name="T82" fmla="*/ 36 w 128"/>
              <a:gd name="T83" fmla="*/ 11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8" h="162">
                <a:moveTo>
                  <a:pt x="18" y="136"/>
                </a:moveTo>
                <a:cubicBezTo>
                  <a:pt x="18" y="134"/>
                  <a:pt x="17" y="133"/>
                  <a:pt x="16" y="132"/>
                </a:cubicBezTo>
                <a:cubicBezTo>
                  <a:pt x="16" y="137"/>
                  <a:pt x="16" y="137"/>
                  <a:pt x="16" y="137"/>
                </a:cubicBezTo>
                <a:cubicBezTo>
                  <a:pt x="16" y="139"/>
                  <a:pt x="18" y="140"/>
                  <a:pt x="20" y="140"/>
                </a:cubicBezTo>
                <a:cubicBezTo>
                  <a:pt x="20" y="140"/>
                  <a:pt x="20" y="140"/>
                  <a:pt x="20" y="140"/>
                </a:cubicBezTo>
                <a:cubicBezTo>
                  <a:pt x="20" y="140"/>
                  <a:pt x="19" y="139"/>
                  <a:pt x="19" y="137"/>
                </a:cubicBezTo>
                <a:cubicBezTo>
                  <a:pt x="18" y="136"/>
                  <a:pt x="18" y="136"/>
                  <a:pt x="18" y="136"/>
                </a:cubicBezTo>
                <a:close/>
                <a:moveTo>
                  <a:pt x="94" y="46"/>
                </a:moveTo>
                <a:cubicBezTo>
                  <a:pt x="88" y="46"/>
                  <a:pt x="83" y="41"/>
                  <a:pt x="83" y="33"/>
                </a:cubicBezTo>
                <a:cubicBezTo>
                  <a:pt x="83" y="33"/>
                  <a:pt x="83" y="3"/>
                  <a:pt x="83" y="0"/>
                </a:cubicBezTo>
                <a:cubicBezTo>
                  <a:pt x="81" y="0"/>
                  <a:pt x="7" y="0"/>
                  <a:pt x="7" y="0"/>
                </a:cubicBezTo>
                <a:cubicBezTo>
                  <a:pt x="2" y="0"/>
                  <a:pt x="0" y="4"/>
                  <a:pt x="0" y="9"/>
                </a:cubicBezTo>
                <a:cubicBezTo>
                  <a:pt x="0" y="9"/>
                  <a:pt x="0" y="9"/>
                  <a:pt x="0" y="153"/>
                </a:cubicBezTo>
                <a:cubicBezTo>
                  <a:pt x="0" y="158"/>
                  <a:pt x="2" y="162"/>
                  <a:pt x="7" y="162"/>
                </a:cubicBezTo>
                <a:cubicBezTo>
                  <a:pt x="7" y="162"/>
                  <a:pt x="7" y="162"/>
                  <a:pt x="121" y="162"/>
                </a:cubicBezTo>
                <a:cubicBezTo>
                  <a:pt x="125" y="162"/>
                  <a:pt x="128" y="158"/>
                  <a:pt x="128" y="153"/>
                </a:cubicBezTo>
                <a:cubicBezTo>
                  <a:pt x="128" y="153"/>
                  <a:pt x="128" y="48"/>
                  <a:pt x="128" y="46"/>
                </a:cubicBezTo>
                <a:cubicBezTo>
                  <a:pt x="126" y="46"/>
                  <a:pt x="94" y="46"/>
                  <a:pt x="94" y="46"/>
                </a:cubicBezTo>
                <a:close/>
                <a:moveTo>
                  <a:pt x="14" y="65"/>
                </a:moveTo>
                <a:cubicBezTo>
                  <a:pt x="14" y="62"/>
                  <a:pt x="16" y="59"/>
                  <a:pt x="20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41" y="59"/>
                  <a:pt x="43" y="62"/>
                  <a:pt x="43" y="65"/>
                </a:cubicBezTo>
                <a:cubicBezTo>
                  <a:pt x="43" y="83"/>
                  <a:pt x="43" y="83"/>
                  <a:pt x="43" y="83"/>
                </a:cubicBezTo>
                <a:cubicBezTo>
                  <a:pt x="43" y="86"/>
                  <a:pt x="41" y="89"/>
                  <a:pt x="37" y="89"/>
                </a:cubicBezTo>
                <a:cubicBezTo>
                  <a:pt x="20" y="89"/>
                  <a:pt x="20" y="89"/>
                  <a:pt x="20" y="89"/>
                </a:cubicBezTo>
                <a:cubicBezTo>
                  <a:pt x="16" y="89"/>
                  <a:pt x="14" y="86"/>
                  <a:pt x="14" y="83"/>
                </a:cubicBezTo>
                <a:lnTo>
                  <a:pt x="14" y="65"/>
                </a:lnTo>
                <a:close/>
                <a:moveTo>
                  <a:pt x="42" y="115"/>
                </a:moveTo>
                <a:cubicBezTo>
                  <a:pt x="43" y="116"/>
                  <a:pt x="43" y="118"/>
                  <a:pt x="43" y="119"/>
                </a:cubicBezTo>
                <a:cubicBezTo>
                  <a:pt x="43" y="137"/>
                  <a:pt x="43" y="137"/>
                  <a:pt x="43" y="137"/>
                </a:cubicBezTo>
                <a:cubicBezTo>
                  <a:pt x="43" y="141"/>
                  <a:pt x="41" y="143"/>
                  <a:pt x="37" y="143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16" y="143"/>
                  <a:pt x="14" y="141"/>
                  <a:pt x="14" y="137"/>
                </a:cubicBezTo>
                <a:cubicBezTo>
                  <a:pt x="14" y="128"/>
                  <a:pt x="14" y="128"/>
                  <a:pt x="14" y="128"/>
                </a:cubicBezTo>
                <a:cubicBezTo>
                  <a:pt x="13" y="128"/>
                  <a:pt x="12" y="127"/>
                  <a:pt x="12" y="127"/>
                </a:cubicBezTo>
                <a:cubicBezTo>
                  <a:pt x="12" y="127"/>
                  <a:pt x="13" y="126"/>
                  <a:pt x="14" y="126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4" y="116"/>
                  <a:pt x="16" y="113"/>
                  <a:pt x="20" y="113"/>
                </a:cubicBezTo>
                <a:cubicBezTo>
                  <a:pt x="37" y="113"/>
                  <a:pt x="37" y="113"/>
                  <a:pt x="37" y="113"/>
                </a:cubicBezTo>
                <a:cubicBezTo>
                  <a:pt x="38" y="113"/>
                  <a:pt x="38" y="113"/>
                  <a:pt x="39" y="114"/>
                </a:cubicBezTo>
                <a:cubicBezTo>
                  <a:pt x="43" y="110"/>
                  <a:pt x="47" y="106"/>
                  <a:pt x="50" y="104"/>
                </a:cubicBezTo>
                <a:cubicBezTo>
                  <a:pt x="52" y="106"/>
                  <a:pt x="52" y="106"/>
                  <a:pt x="52" y="106"/>
                </a:cubicBezTo>
                <a:cubicBezTo>
                  <a:pt x="49" y="108"/>
                  <a:pt x="45" y="111"/>
                  <a:pt x="42" y="115"/>
                </a:cubicBezTo>
                <a:close/>
                <a:moveTo>
                  <a:pt x="109" y="139"/>
                </a:moveTo>
                <a:cubicBezTo>
                  <a:pt x="58" y="139"/>
                  <a:pt x="58" y="139"/>
                  <a:pt x="58" y="139"/>
                </a:cubicBezTo>
                <a:cubicBezTo>
                  <a:pt x="58" y="118"/>
                  <a:pt x="58" y="118"/>
                  <a:pt x="58" y="118"/>
                </a:cubicBezTo>
                <a:cubicBezTo>
                  <a:pt x="109" y="118"/>
                  <a:pt x="109" y="118"/>
                  <a:pt x="109" y="118"/>
                </a:cubicBezTo>
                <a:lnTo>
                  <a:pt x="109" y="139"/>
                </a:lnTo>
                <a:close/>
                <a:moveTo>
                  <a:pt x="109" y="85"/>
                </a:moveTo>
                <a:cubicBezTo>
                  <a:pt x="58" y="85"/>
                  <a:pt x="58" y="85"/>
                  <a:pt x="58" y="85"/>
                </a:cubicBezTo>
                <a:cubicBezTo>
                  <a:pt x="58" y="63"/>
                  <a:pt x="58" y="63"/>
                  <a:pt x="58" y="63"/>
                </a:cubicBezTo>
                <a:cubicBezTo>
                  <a:pt x="109" y="63"/>
                  <a:pt x="109" y="63"/>
                  <a:pt x="109" y="63"/>
                </a:cubicBezTo>
                <a:lnTo>
                  <a:pt x="109" y="85"/>
                </a:lnTo>
                <a:close/>
                <a:moveTo>
                  <a:pt x="94" y="41"/>
                </a:moveTo>
                <a:cubicBezTo>
                  <a:pt x="94" y="41"/>
                  <a:pt x="119" y="41"/>
                  <a:pt x="124" y="41"/>
                </a:cubicBezTo>
                <a:cubicBezTo>
                  <a:pt x="88" y="5"/>
                  <a:pt x="88" y="5"/>
                  <a:pt x="88" y="5"/>
                </a:cubicBezTo>
                <a:cubicBezTo>
                  <a:pt x="88" y="10"/>
                  <a:pt x="88" y="33"/>
                  <a:pt x="88" y="33"/>
                </a:cubicBezTo>
                <a:cubicBezTo>
                  <a:pt x="88" y="38"/>
                  <a:pt x="91" y="41"/>
                  <a:pt x="94" y="41"/>
                </a:cubicBezTo>
                <a:close/>
                <a:moveTo>
                  <a:pt x="2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39" y="86"/>
                  <a:pt x="40" y="85"/>
                  <a:pt x="40" y="83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3"/>
                  <a:pt x="39" y="62"/>
                  <a:pt x="37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18" y="62"/>
                  <a:pt x="16" y="63"/>
                  <a:pt x="16" y="65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5"/>
                  <a:pt x="18" y="86"/>
                  <a:pt x="20" y="86"/>
                </a:cubicBezTo>
                <a:close/>
                <a:moveTo>
                  <a:pt x="38" y="120"/>
                </a:moveTo>
                <a:cubicBezTo>
                  <a:pt x="33" y="126"/>
                  <a:pt x="29" y="132"/>
                  <a:pt x="26" y="138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4" y="140"/>
                  <a:pt x="23" y="140"/>
                  <a:pt x="23" y="140"/>
                </a:cubicBezTo>
                <a:cubicBezTo>
                  <a:pt x="37" y="140"/>
                  <a:pt x="37" y="140"/>
                  <a:pt x="37" y="140"/>
                </a:cubicBezTo>
                <a:cubicBezTo>
                  <a:pt x="39" y="140"/>
                  <a:pt x="40" y="139"/>
                  <a:pt x="40" y="137"/>
                </a:cubicBezTo>
                <a:cubicBezTo>
                  <a:pt x="40" y="119"/>
                  <a:pt x="40" y="119"/>
                  <a:pt x="40" y="119"/>
                </a:cubicBezTo>
                <a:cubicBezTo>
                  <a:pt x="40" y="119"/>
                  <a:pt x="40" y="118"/>
                  <a:pt x="40" y="118"/>
                </a:cubicBezTo>
                <a:cubicBezTo>
                  <a:pt x="39" y="118"/>
                  <a:pt x="39" y="119"/>
                  <a:pt x="38" y="120"/>
                </a:cubicBezTo>
                <a:close/>
                <a:moveTo>
                  <a:pt x="36" y="116"/>
                </a:moveTo>
                <a:cubicBezTo>
                  <a:pt x="20" y="116"/>
                  <a:pt x="20" y="116"/>
                  <a:pt x="20" y="116"/>
                </a:cubicBezTo>
                <a:cubicBezTo>
                  <a:pt x="18" y="116"/>
                  <a:pt x="16" y="118"/>
                  <a:pt x="16" y="119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9" y="124"/>
                  <a:pt x="21" y="126"/>
                  <a:pt x="22" y="130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6" y="126"/>
                  <a:pt x="31" y="121"/>
                  <a:pt x="36" y="1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myP_Data tool">
            <a:extLst>
              <a:ext uri="{FF2B5EF4-FFF2-40B4-BE49-F238E27FC236}">
                <a16:creationId xmlns:a16="http://schemas.microsoft.com/office/drawing/2014/main" id="{D21FA75F-E9AC-4F20-83E0-A8AE4E36331F}"/>
              </a:ext>
            </a:extLst>
          </p:cNvPr>
          <p:cNvSpPr>
            <a:spLocks noEditPoints="1"/>
          </p:cNvSpPr>
          <p:nvPr/>
        </p:nvSpPr>
        <p:spPr bwMode="auto">
          <a:xfrm>
            <a:off x="5632183" y="3640298"/>
            <a:ext cx="343292" cy="353844"/>
          </a:xfrm>
          <a:custGeom>
            <a:avLst/>
            <a:gdLst>
              <a:gd name="T0" fmla="*/ 770 w 891"/>
              <a:gd name="T1" fmla="*/ 485 h 914"/>
              <a:gd name="T2" fmla="*/ 799 w 891"/>
              <a:gd name="T3" fmla="*/ 675 h 914"/>
              <a:gd name="T4" fmla="*/ 883 w 891"/>
              <a:gd name="T5" fmla="*/ 817 h 914"/>
              <a:gd name="T6" fmla="*/ 683 w 891"/>
              <a:gd name="T7" fmla="*/ 828 h 914"/>
              <a:gd name="T8" fmla="*/ 766 w 891"/>
              <a:gd name="T9" fmla="*/ 661 h 914"/>
              <a:gd name="T10" fmla="*/ 744 w 891"/>
              <a:gd name="T11" fmla="*/ 519 h 914"/>
              <a:gd name="T12" fmla="*/ 576 w 891"/>
              <a:gd name="T13" fmla="*/ 540 h 914"/>
              <a:gd name="T14" fmla="*/ 542 w 891"/>
              <a:gd name="T15" fmla="*/ 635 h 914"/>
              <a:gd name="T16" fmla="*/ 460 w 891"/>
              <a:gd name="T17" fmla="*/ 654 h 914"/>
              <a:gd name="T18" fmla="*/ 486 w 891"/>
              <a:gd name="T19" fmla="*/ 708 h 914"/>
              <a:gd name="T20" fmla="*/ 438 w 891"/>
              <a:gd name="T21" fmla="*/ 903 h 914"/>
              <a:gd name="T22" fmla="*/ 407 w 891"/>
              <a:gd name="T23" fmla="*/ 705 h 914"/>
              <a:gd name="T24" fmla="*/ 426 w 891"/>
              <a:gd name="T25" fmla="*/ 658 h 914"/>
              <a:gd name="T26" fmla="*/ 342 w 891"/>
              <a:gd name="T27" fmla="*/ 635 h 914"/>
              <a:gd name="T28" fmla="*/ 310 w 891"/>
              <a:gd name="T29" fmla="*/ 537 h 914"/>
              <a:gd name="T30" fmla="*/ 148 w 891"/>
              <a:gd name="T31" fmla="*/ 519 h 914"/>
              <a:gd name="T32" fmla="*/ 132 w 891"/>
              <a:gd name="T33" fmla="*/ 683 h 914"/>
              <a:gd name="T34" fmla="*/ 219 w 891"/>
              <a:gd name="T35" fmla="*/ 805 h 914"/>
              <a:gd name="T36" fmla="*/ 18 w 891"/>
              <a:gd name="T37" fmla="*/ 834 h 914"/>
              <a:gd name="T38" fmla="*/ 98 w 891"/>
              <a:gd name="T39" fmla="*/ 674 h 914"/>
              <a:gd name="T40" fmla="*/ 132 w 891"/>
              <a:gd name="T41" fmla="*/ 485 h 914"/>
              <a:gd name="T42" fmla="*/ 310 w 891"/>
              <a:gd name="T43" fmla="*/ 463 h 914"/>
              <a:gd name="T44" fmla="*/ 351 w 891"/>
              <a:gd name="T45" fmla="*/ 369 h 914"/>
              <a:gd name="T46" fmla="*/ 426 w 891"/>
              <a:gd name="T47" fmla="*/ 352 h 914"/>
              <a:gd name="T48" fmla="*/ 276 w 891"/>
              <a:gd name="T49" fmla="*/ 303 h 914"/>
              <a:gd name="T50" fmla="*/ 284 w 891"/>
              <a:gd name="T51" fmla="*/ 113 h 914"/>
              <a:gd name="T52" fmla="*/ 502 w 891"/>
              <a:gd name="T53" fmla="*/ 59 h 914"/>
              <a:gd name="T54" fmla="*/ 635 w 891"/>
              <a:gd name="T55" fmla="*/ 126 h 914"/>
              <a:gd name="T56" fmla="*/ 694 w 891"/>
              <a:gd name="T57" fmla="*/ 240 h 914"/>
              <a:gd name="T58" fmla="*/ 480 w 891"/>
              <a:gd name="T59" fmla="*/ 303 h 914"/>
              <a:gd name="T60" fmla="*/ 504 w 891"/>
              <a:gd name="T61" fmla="*/ 369 h 914"/>
              <a:gd name="T62" fmla="*/ 576 w 891"/>
              <a:gd name="T63" fmla="*/ 398 h 914"/>
              <a:gd name="T64" fmla="*/ 598 w 891"/>
              <a:gd name="T65" fmla="*/ 485 h 914"/>
              <a:gd name="T66" fmla="*/ 440 w 891"/>
              <a:gd name="T67" fmla="*/ 261 h 914"/>
              <a:gd name="T68" fmla="*/ 633 w 891"/>
              <a:gd name="T69" fmla="*/ 254 h 914"/>
              <a:gd name="T70" fmla="*/ 622 w 891"/>
              <a:gd name="T71" fmla="*/ 182 h 914"/>
              <a:gd name="T72" fmla="*/ 576 w 891"/>
              <a:gd name="T73" fmla="*/ 112 h 914"/>
              <a:gd name="T74" fmla="*/ 534 w 891"/>
              <a:gd name="T75" fmla="*/ 135 h 914"/>
              <a:gd name="T76" fmla="*/ 511 w 891"/>
              <a:gd name="T77" fmla="*/ 170 h 914"/>
              <a:gd name="T78" fmla="*/ 489 w 891"/>
              <a:gd name="T79" fmla="*/ 130 h 914"/>
              <a:gd name="T80" fmla="*/ 339 w 891"/>
              <a:gd name="T81" fmla="*/ 140 h 914"/>
              <a:gd name="T82" fmla="*/ 285 w 891"/>
              <a:gd name="T83" fmla="*/ 159 h 914"/>
              <a:gd name="T84" fmla="*/ 282 w 891"/>
              <a:gd name="T85" fmla="*/ 260 h 914"/>
              <a:gd name="T86" fmla="*/ 354 w 891"/>
              <a:gd name="T87" fmla="*/ 500 h 914"/>
              <a:gd name="T88" fmla="*/ 373 w 891"/>
              <a:gd name="T89" fmla="*/ 593 h 914"/>
              <a:gd name="T90" fmla="*/ 533 w 891"/>
              <a:gd name="T91" fmla="*/ 577 h 914"/>
              <a:gd name="T92" fmla="*/ 517 w 891"/>
              <a:gd name="T93" fmla="*/ 411 h 914"/>
              <a:gd name="T94" fmla="*/ 354 w 891"/>
              <a:gd name="T95" fmla="*/ 428 h 914"/>
              <a:gd name="T96" fmla="*/ 444 w 891"/>
              <a:gd name="T97" fmla="*/ 742 h 914"/>
              <a:gd name="T98" fmla="*/ 443 w 891"/>
              <a:gd name="T99" fmla="*/ 860 h 914"/>
              <a:gd name="T100" fmla="*/ 444 w 891"/>
              <a:gd name="T101" fmla="*/ 742 h 914"/>
              <a:gd name="T102" fmla="*/ 56 w 891"/>
              <a:gd name="T103" fmla="*/ 800 h 914"/>
              <a:gd name="T104" fmla="*/ 174 w 891"/>
              <a:gd name="T105" fmla="*/ 799 h 914"/>
              <a:gd name="T106" fmla="*/ 723 w 891"/>
              <a:gd name="T107" fmla="*/ 801 h 914"/>
              <a:gd name="T108" fmla="*/ 841 w 891"/>
              <a:gd name="T109" fmla="*/ 800 h 914"/>
              <a:gd name="T110" fmla="*/ 723 w 891"/>
              <a:gd name="T111" fmla="*/ 801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91" h="914">
                <a:moveTo>
                  <a:pt x="684" y="485"/>
                </a:moveTo>
                <a:cubicBezTo>
                  <a:pt x="712" y="485"/>
                  <a:pt x="741" y="485"/>
                  <a:pt x="770" y="485"/>
                </a:cubicBezTo>
                <a:cubicBezTo>
                  <a:pt x="794" y="485"/>
                  <a:pt x="799" y="490"/>
                  <a:pt x="799" y="515"/>
                </a:cubicBezTo>
                <a:cubicBezTo>
                  <a:pt x="799" y="568"/>
                  <a:pt x="799" y="621"/>
                  <a:pt x="799" y="675"/>
                </a:cubicBezTo>
                <a:cubicBezTo>
                  <a:pt x="798" y="691"/>
                  <a:pt x="802" y="699"/>
                  <a:pt x="819" y="705"/>
                </a:cubicBezTo>
                <a:cubicBezTo>
                  <a:pt x="865" y="721"/>
                  <a:pt x="891" y="768"/>
                  <a:pt x="883" y="817"/>
                </a:cubicBezTo>
                <a:cubicBezTo>
                  <a:pt x="876" y="863"/>
                  <a:pt x="835" y="901"/>
                  <a:pt x="788" y="903"/>
                </a:cubicBezTo>
                <a:cubicBezTo>
                  <a:pt x="740" y="906"/>
                  <a:pt x="695" y="874"/>
                  <a:pt x="683" y="828"/>
                </a:cubicBezTo>
                <a:cubicBezTo>
                  <a:pt x="670" y="780"/>
                  <a:pt x="690" y="728"/>
                  <a:pt x="736" y="710"/>
                </a:cubicBezTo>
                <a:cubicBezTo>
                  <a:pt x="762" y="699"/>
                  <a:pt x="767" y="685"/>
                  <a:pt x="766" y="661"/>
                </a:cubicBezTo>
                <a:cubicBezTo>
                  <a:pt x="764" y="621"/>
                  <a:pt x="765" y="581"/>
                  <a:pt x="765" y="541"/>
                </a:cubicBezTo>
                <a:cubicBezTo>
                  <a:pt x="766" y="525"/>
                  <a:pt x="761" y="518"/>
                  <a:pt x="744" y="519"/>
                </a:cubicBezTo>
                <a:cubicBezTo>
                  <a:pt x="695" y="520"/>
                  <a:pt x="646" y="520"/>
                  <a:pt x="596" y="519"/>
                </a:cubicBezTo>
                <a:cubicBezTo>
                  <a:pt x="579" y="518"/>
                  <a:pt x="576" y="525"/>
                  <a:pt x="576" y="540"/>
                </a:cubicBezTo>
                <a:cubicBezTo>
                  <a:pt x="577" y="560"/>
                  <a:pt x="577" y="581"/>
                  <a:pt x="577" y="602"/>
                </a:cubicBezTo>
                <a:cubicBezTo>
                  <a:pt x="576" y="631"/>
                  <a:pt x="571" y="635"/>
                  <a:pt x="542" y="635"/>
                </a:cubicBezTo>
                <a:cubicBezTo>
                  <a:pt x="521" y="635"/>
                  <a:pt x="500" y="636"/>
                  <a:pt x="478" y="635"/>
                </a:cubicBezTo>
                <a:cubicBezTo>
                  <a:pt x="464" y="635"/>
                  <a:pt x="458" y="640"/>
                  <a:pt x="460" y="654"/>
                </a:cubicBezTo>
                <a:cubicBezTo>
                  <a:pt x="460" y="658"/>
                  <a:pt x="460" y="662"/>
                  <a:pt x="460" y="666"/>
                </a:cubicBezTo>
                <a:cubicBezTo>
                  <a:pt x="456" y="688"/>
                  <a:pt x="464" y="699"/>
                  <a:pt x="486" y="708"/>
                </a:cubicBezTo>
                <a:cubicBezTo>
                  <a:pt x="533" y="727"/>
                  <a:pt x="555" y="778"/>
                  <a:pt x="543" y="827"/>
                </a:cubicBezTo>
                <a:cubicBezTo>
                  <a:pt x="531" y="873"/>
                  <a:pt x="486" y="905"/>
                  <a:pt x="438" y="903"/>
                </a:cubicBezTo>
                <a:cubicBezTo>
                  <a:pt x="391" y="901"/>
                  <a:pt x="350" y="864"/>
                  <a:pt x="342" y="818"/>
                </a:cubicBezTo>
                <a:cubicBezTo>
                  <a:pt x="334" y="770"/>
                  <a:pt x="360" y="721"/>
                  <a:pt x="407" y="705"/>
                </a:cubicBezTo>
                <a:cubicBezTo>
                  <a:pt x="421" y="700"/>
                  <a:pt x="428" y="693"/>
                  <a:pt x="426" y="678"/>
                </a:cubicBezTo>
                <a:cubicBezTo>
                  <a:pt x="425" y="671"/>
                  <a:pt x="425" y="665"/>
                  <a:pt x="426" y="658"/>
                </a:cubicBezTo>
                <a:cubicBezTo>
                  <a:pt x="428" y="641"/>
                  <a:pt x="421" y="634"/>
                  <a:pt x="403" y="635"/>
                </a:cubicBezTo>
                <a:cubicBezTo>
                  <a:pt x="383" y="636"/>
                  <a:pt x="362" y="636"/>
                  <a:pt x="342" y="635"/>
                </a:cubicBezTo>
                <a:cubicBezTo>
                  <a:pt x="317" y="635"/>
                  <a:pt x="310" y="628"/>
                  <a:pt x="310" y="603"/>
                </a:cubicBezTo>
                <a:cubicBezTo>
                  <a:pt x="309" y="581"/>
                  <a:pt x="309" y="559"/>
                  <a:pt x="310" y="537"/>
                </a:cubicBezTo>
                <a:cubicBezTo>
                  <a:pt x="310" y="524"/>
                  <a:pt x="305" y="519"/>
                  <a:pt x="292" y="519"/>
                </a:cubicBezTo>
                <a:cubicBezTo>
                  <a:pt x="244" y="519"/>
                  <a:pt x="196" y="519"/>
                  <a:pt x="148" y="519"/>
                </a:cubicBezTo>
                <a:cubicBezTo>
                  <a:pt x="136" y="519"/>
                  <a:pt x="132" y="523"/>
                  <a:pt x="132" y="535"/>
                </a:cubicBezTo>
                <a:cubicBezTo>
                  <a:pt x="132" y="585"/>
                  <a:pt x="132" y="634"/>
                  <a:pt x="132" y="683"/>
                </a:cubicBezTo>
                <a:cubicBezTo>
                  <a:pt x="131" y="698"/>
                  <a:pt x="141" y="700"/>
                  <a:pt x="151" y="704"/>
                </a:cubicBezTo>
                <a:cubicBezTo>
                  <a:pt x="193" y="721"/>
                  <a:pt x="221" y="762"/>
                  <a:pt x="219" y="805"/>
                </a:cubicBezTo>
                <a:cubicBezTo>
                  <a:pt x="216" y="849"/>
                  <a:pt x="186" y="887"/>
                  <a:pt x="143" y="899"/>
                </a:cubicBezTo>
                <a:cubicBezTo>
                  <a:pt x="91" y="914"/>
                  <a:pt x="36" y="886"/>
                  <a:pt x="18" y="834"/>
                </a:cubicBezTo>
                <a:cubicBezTo>
                  <a:pt x="0" y="782"/>
                  <a:pt x="26" y="724"/>
                  <a:pt x="77" y="706"/>
                </a:cubicBezTo>
                <a:cubicBezTo>
                  <a:pt x="94" y="699"/>
                  <a:pt x="99" y="691"/>
                  <a:pt x="98" y="674"/>
                </a:cubicBezTo>
                <a:cubicBezTo>
                  <a:pt x="97" y="622"/>
                  <a:pt x="98" y="570"/>
                  <a:pt x="98" y="518"/>
                </a:cubicBezTo>
                <a:cubicBezTo>
                  <a:pt x="98" y="489"/>
                  <a:pt x="103" y="485"/>
                  <a:pt x="132" y="485"/>
                </a:cubicBezTo>
                <a:cubicBezTo>
                  <a:pt x="184" y="485"/>
                  <a:pt x="236" y="484"/>
                  <a:pt x="288" y="485"/>
                </a:cubicBezTo>
                <a:cubicBezTo>
                  <a:pt x="305" y="486"/>
                  <a:pt x="311" y="480"/>
                  <a:pt x="310" y="463"/>
                </a:cubicBezTo>
                <a:cubicBezTo>
                  <a:pt x="309" y="446"/>
                  <a:pt x="309" y="428"/>
                  <a:pt x="310" y="410"/>
                </a:cubicBezTo>
                <a:cubicBezTo>
                  <a:pt x="310" y="373"/>
                  <a:pt x="314" y="369"/>
                  <a:pt x="351" y="369"/>
                </a:cubicBezTo>
                <a:cubicBezTo>
                  <a:pt x="371" y="369"/>
                  <a:pt x="390" y="368"/>
                  <a:pt x="409" y="369"/>
                </a:cubicBezTo>
                <a:cubicBezTo>
                  <a:pt x="421" y="369"/>
                  <a:pt x="426" y="364"/>
                  <a:pt x="426" y="352"/>
                </a:cubicBezTo>
                <a:cubicBezTo>
                  <a:pt x="426" y="292"/>
                  <a:pt x="432" y="304"/>
                  <a:pt x="380" y="303"/>
                </a:cubicBezTo>
                <a:cubicBezTo>
                  <a:pt x="345" y="303"/>
                  <a:pt x="311" y="303"/>
                  <a:pt x="276" y="303"/>
                </a:cubicBezTo>
                <a:cubicBezTo>
                  <a:pt x="223" y="303"/>
                  <a:pt x="189" y="270"/>
                  <a:pt x="190" y="217"/>
                </a:cubicBezTo>
                <a:cubicBezTo>
                  <a:pt x="191" y="158"/>
                  <a:pt x="229" y="113"/>
                  <a:pt x="284" y="113"/>
                </a:cubicBezTo>
                <a:cubicBezTo>
                  <a:pt x="295" y="113"/>
                  <a:pt x="299" y="108"/>
                  <a:pt x="302" y="99"/>
                </a:cubicBezTo>
                <a:cubicBezTo>
                  <a:pt x="330" y="19"/>
                  <a:pt x="443" y="0"/>
                  <a:pt x="502" y="59"/>
                </a:cubicBezTo>
                <a:cubicBezTo>
                  <a:pt x="510" y="68"/>
                  <a:pt x="516" y="70"/>
                  <a:pt x="529" y="66"/>
                </a:cubicBezTo>
                <a:cubicBezTo>
                  <a:pt x="576" y="50"/>
                  <a:pt x="623" y="77"/>
                  <a:pt x="635" y="126"/>
                </a:cubicBezTo>
                <a:cubicBezTo>
                  <a:pt x="637" y="135"/>
                  <a:pt x="641" y="139"/>
                  <a:pt x="649" y="143"/>
                </a:cubicBezTo>
                <a:cubicBezTo>
                  <a:pt x="686" y="162"/>
                  <a:pt x="703" y="200"/>
                  <a:pt x="694" y="240"/>
                </a:cubicBezTo>
                <a:cubicBezTo>
                  <a:pt x="686" y="278"/>
                  <a:pt x="654" y="302"/>
                  <a:pt x="612" y="303"/>
                </a:cubicBezTo>
                <a:cubicBezTo>
                  <a:pt x="568" y="304"/>
                  <a:pt x="524" y="304"/>
                  <a:pt x="480" y="303"/>
                </a:cubicBezTo>
                <a:cubicBezTo>
                  <a:pt x="464" y="303"/>
                  <a:pt x="459" y="308"/>
                  <a:pt x="460" y="324"/>
                </a:cubicBezTo>
                <a:cubicBezTo>
                  <a:pt x="461" y="378"/>
                  <a:pt x="454" y="367"/>
                  <a:pt x="504" y="369"/>
                </a:cubicBezTo>
                <a:cubicBezTo>
                  <a:pt x="518" y="369"/>
                  <a:pt x="532" y="369"/>
                  <a:pt x="546" y="369"/>
                </a:cubicBezTo>
                <a:cubicBezTo>
                  <a:pt x="570" y="369"/>
                  <a:pt x="576" y="374"/>
                  <a:pt x="576" y="398"/>
                </a:cubicBezTo>
                <a:cubicBezTo>
                  <a:pt x="576" y="420"/>
                  <a:pt x="577" y="442"/>
                  <a:pt x="576" y="464"/>
                </a:cubicBezTo>
                <a:cubicBezTo>
                  <a:pt x="575" y="481"/>
                  <a:pt x="581" y="486"/>
                  <a:pt x="598" y="485"/>
                </a:cubicBezTo>
                <a:cubicBezTo>
                  <a:pt x="626" y="484"/>
                  <a:pt x="655" y="485"/>
                  <a:pt x="684" y="485"/>
                </a:cubicBezTo>
                <a:close/>
                <a:moveTo>
                  <a:pt x="440" y="261"/>
                </a:moveTo>
                <a:cubicBezTo>
                  <a:pt x="493" y="261"/>
                  <a:pt x="547" y="260"/>
                  <a:pt x="600" y="261"/>
                </a:cubicBezTo>
                <a:cubicBezTo>
                  <a:pt x="612" y="261"/>
                  <a:pt x="623" y="260"/>
                  <a:pt x="633" y="254"/>
                </a:cubicBezTo>
                <a:cubicBezTo>
                  <a:pt x="650" y="245"/>
                  <a:pt x="656" y="230"/>
                  <a:pt x="652" y="212"/>
                </a:cubicBezTo>
                <a:cubicBezTo>
                  <a:pt x="649" y="196"/>
                  <a:pt x="641" y="184"/>
                  <a:pt x="622" y="182"/>
                </a:cubicBezTo>
                <a:cubicBezTo>
                  <a:pt x="585" y="178"/>
                  <a:pt x="585" y="177"/>
                  <a:pt x="591" y="141"/>
                </a:cubicBezTo>
                <a:cubicBezTo>
                  <a:pt x="593" y="128"/>
                  <a:pt x="587" y="119"/>
                  <a:pt x="576" y="112"/>
                </a:cubicBezTo>
                <a:cubicBezTo>
                  <a:pt x="565" y="105"/>
                  <a:pt x="552" y="104"/>
                  <a:pt x="540" y="109"/>
                </a:cubicBezTo>
                <a:cubicBezTo>
                  <a:pt x="527" y="114"/>
                  <a:pt x="533" y="126"/>
                  <a:pt x="534" y="135"/>
                </a:cubicBezTo>
                <a:cubicBezTo>
                  <a:pt x="534" y="140"/>
                  <a:pt x="534" y="145"/>
                  <a:pt x="533" y="149"/>
                </a:cubicBezTo>
                <a:cubicBezTo>
                  <a:pt x="531" y="162"/>
                  <a:pt x="525" y="171"/>
                  <a:pt x="511" y="170"/>
                </a:cubicBezTo>
                <a:cubicBezTo>
                  <a:pt x="498" y="170"/>
                  <a:pt x="491" y="160"/>
                  <a:pt x="490" y="148"/>
                </a:cubicBezTo>
                <a:cubicBezTo>
                  <a:pt x="489" y="142"/>
                  <a:pt x="490" y="136"/>
                  <a:pt x="489" y="130"/>
                </a:cubicBezTo>
                <a:cubicBezTo>
                  <a:pt x="486" y="103"/>
                  <a:pt x="472" y="84"/>
                  <a:pt x="447" y="74"/>
                </a:cubicBezTo>
                <a:cubicBezTo>
                  <a:pt x="402" y="56"/>
                  <a:pt x="336" y="80"/>
                  <a:pt x="339" y="140"/>
                </a:cubicBezTo>
                <a:cubicBezTo>
                  <a:pt x="340" y="158"/>
                  <a:pt x="329" y="165"/>
                  <a:pt x="310" y="163"/>
                </a:cubicBezTo>
                <a:cubicBezTo>
                  <a:pt x="302" y="161"/>
                  <a:pt x="293" y="159"/>
                  <a:pt x="285" y="159"/>
                </a:cubicBezTo>
                <a:cubicBezTo>
                  <a:pt x="254" y="159"/>
                  <a:pt x="232" y="185"/>
                  <a:pt x="233" y="218"/>
                </a:cubicBezTo>
                <a:cubicBezTo>
                  <a:pt x="234" y="246"/>
                  <a:pt x="250" y="260"/>
                  <a:pt x="282" y="260"/>
                </a:cubicBezTo>
                <a:cubicBezTo>
                  <a:pt x="335" y="261"/>
                  <a:pt x="387" y="261"/>
                  <a:pt x="440" y="261"/>
                </a:cubicBezTo>
                <a:close/>
                <a:moveTo>
                  <a:pt x="354" y="500"/>
                </a:moveTo>
                <a:cubicBezTo>
                  <a:pt x="354" y="525"/>
                  <a:pt x="355" y="549"/>
                  <a:pt x="354" y="574"/>
                </a:cubicBezTo>
                <a:cubicBezTo>
                  <a:pt x="354" y="587"/>
                  <a:pt x="359" y="593"/>
                  <a:pt x="373" y="593"/>
                </a:cubicBezTo>
                <a:cubicBezTo>
                  <a:pt x="421" y="592"/>
                  <a:pt x="468" y="592"/>
                  <a:pt x="516" y="593"/>
                </a:cubicBezTo>
                <a:cubicBezTo>
                  <a:pt x="528" y="593"/>
                  <a:pt x="534" y="589"/>
                  <a:pt x="533" y="577"/>
                </a:cubicBezTo>
                <a:cubicBezTo>
                  <a:pt x="533" y="527"/>
                  <a:pt x="533" y="477"/>
                  <a:pt x="533" y="427"/>
                </a:cubicBezTo>
                <a:cubicBezTo>
                  <a:pt x="534" y="415"/>
                  <a:pt x="528" y="411"/>
                  <a:pt x="517" y="411"/>
                </a:cubicBezTo>
                <a:cubicBezTo>
                  <a:pt x="468" y="412"/>
                  <a:pt x="419" y="412"/>
                  <a:pt x="371" y="411"/>
                </a:cubicBezTo>
                <a:cubicBezTo>
                  <a:pt x="359" y="411"/>
                  <a:pt x="354" y="417"/>
                  <a:pt x="354" y="428"/>
                </a:cubicBezTo>
                <a:cubicBezTo>
                  <a:pt x="355" y="452"/>
                  <a:pt x="354" y="476"/>
                  <a:pt x="354" y="500"/>
                </a:cubicBezTo>
                <a:close/>
                <a:moveTo>
                  <a:pt x="444" y="742"/>
                </a:moveTo>
                <a:cubicBezTo>
                  <a:pt x="410" y="742"/>
                  <a:pt x="384" y="768"/>
                  <a:pt x="384" y="801"/>
                </a:cubicBezTo>
                <a:cubicBezTo>
                  <a:pt x="384" y="832"/>
                  <a:pt x="412" y="860"/>
                  <a:pt x="443" y="860"/>
                </a:cubicBezTo>
                <a:cubicBezTo>
                  <a:pt x="476" y="860"/>
                  <a:pt x="502" y="833"/>
                  <a:pt x="502" y="800"/>
                </a:cubicBezTo>
                <a:cubicBezTo>
                  <a:pt x="502" y="766"/>
                  <a:pt x="477" y="742"/>
                  <a:pt x="444" y="742"/>
                </a:cubicBezTo>
                <a:close/>
                <a:moveTo>
                  <a:pt x="114" y="742"/>
                </a:moveTo>
                <a:cubicBezTo>
                  <a:pt x="81" y="742"/>
                  <a:pt x="56" y="768"/>
                  <a:pt x="56" y="800"/>
                </a:cubicBezTo>
                <a:cubicBezTo>
                  <a:pt x="56" y="833"/>
                  <a:pt x="84" y="861"/>
                  <a:pt x="116" y="860"/>
                </a:cubicBezTo>
                <a:cubicBezTo>
                  <a:pt x="149" y="860"/>
                  <a:pt x="175" y="832"/>
                  <a:pt x="174" y="799"/>
                </a:cubicBezTo>
                <a:cubicBezTo>
                  <a:pt x="173" y="766"/>
                  <a:pt x="148" y="742"/>
                  <a:pt x="114" y="742"/>
                </a:cubicBezTo>
                <a:close/>
                <a:moveTo>
                  <a:pt x="723" y="801"/>
                </a:moveTo>
                <a:cubicBezTo>
                  <a:pt x="723" y="834"/>
                  <a:pt x="750" y="861"/>
                  <a:pt x="783" y="860"/>
                </a:cubicBezTo>
                <a:cubicBezTo>
                  <a:pt x="814" y="860"/>
                  <a:pt x="842" y="831"/>
                  <a:pt x="841" y="800"/>
                </a:cubicBezTo>
                <a:cubicBezTo>
                  <a:pt x="840" y="766"/>
                  <a:pt x="815" y="742"/>
                  <a:pt x="780" y="742"/>
                </a:cubicBezTo>
                <a:cubicBezTo>
                  <a:pt x="747" y="743"/>
                  <a:pt x="723" y="767"/>
                  <a:pt x="723" y="80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5" name="myP_Gear">
            <a:extLst>
              <a:ext uri="{FF2B5EF4-FFF2-40B4-BE49-F238E27FC236}">
                <a16:creationId xmlns:a16="http://schemas.microsoft.com/office/drawing/2014/main" id="{A311A645-0F3A-49A7-B8F0-A3134A32483B}"/>
              </a:ext>
            </a:extLst>
          </p:cNvPr>
          <p:cNvGrpSpPr>
            <a:grpSpLocks/>
          </p:cNvGrpSpPr>
          <p:nvPr/>
        </p:nvGrpSpPr>
        <p:grpSpPr>
          <a:xfrm>
            <a:off x="4285452" y="2940137"/>
            <a:ext cx="338082" cy="437902"/>
            <a:chOff x="6074146" y="4571873"/>
            <a:chExt cx="680014" cy="880788"/>
          </a:xfrm>
          <a:solidFill>
            <a:schemeClr val="tx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CDC4544E-680A-4FA2-A92E-1AE6E69C5E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11921" y="4897821"/>
              <a:ext cx="633823" cy="475858"/>
            </a:xfrm>
            <a:custGeom>
              <a:avLst/>
              <a:gdLst>
                <a:gd name="T0" fmla="*/ 1 w 743"/>
                <a:gd name="T1" fmla="*/ 392 h 558"/>
                <a:gd name="T2" fmla="*/ 20 w 743"/>
                <a:gd name="T3" fmla="*/ 379 h 558"/>
                <a:gd name="T4" fmla="*/ 92 w 743"/>
                <a:gd name="T5" fmla="*/ 377 h 558"/>
                <a:gd name="T6" fmla="*/ 118 w 743"/>
                <a:gd name="T7" fmla="*/ 397 h 558"/>
                <a:gd name="T8" fmla="*/ 91 w 743"/>
                <a:gd name="T9" fmla="*/ 416 h 558"/>
                <a:gd name="T10" fmla="*/ 71 w 743"/>
                <a:gd name="T11" fmla="*/ 416 h 558"/>
                <a:gd name="T12" fmla="*/ 79 w 743"/>
                <a:gd name="T13" fmla="*/ 428 h 558"/>
                <a:gd name="T14" fmla="*/ 254 w 743"/>
                <a:gd name="T15" fmla="*/ 508 h 558"/>
                <a:gd name="T16" fmla="*/ 668 w 743"/>
                <a:gd name="T17" fmla="*/ 201 h 558"/>
                <a:gd name="T18" fmla="*/ 672 w 743"/>
                <a:gd name="T19" fmla="*/ 184 h 558"/>
                <a:gd name="T20" fmla="*/ 672 w 743"/>
                <a:gd name="T21" fmla="*/ 168 h 558"/>
                <a:gd name="T22" fmla="*/ 672 w 743"/>
                <a:gd name="T23" fmla="*/ 136 h 558"/>
                <a:gd name="T24" fmla="*/ 672 w 743"/>
                <a:gd name="T25" fmla="*/ 120 h 558"/>
                <a:gd name="T26" fmla="*/ 652 w 743"/>
                <a:gd name="T27" fmla="*/ 33 h 558"/>
                <a:gd name="T28" fmla="*/ 662 w 743"/>
                <a:gd name="T29" fmla="*/ 5 h 558"/>
                <a:gd name="T30" fmla="*/ 689 w 743"/>
                <a:gd name="T31" fmla="*/ 21 h 558"/>
                <a:gd name="T32" fmla="*/ 578 w 743"/>
                <a:gd name="T33" fmla="*/ 451 h 558"/>
                <a:gd name="T34" fmla="*/ 284 w 743"/>
                <a:gd name="T35" fmla="*/ 551 h 558"/>
                <a:gd name="T36" fmla="*/ 62 w 743"/>
                <a:gd name="T37" fmla="*/ 464 h 558"/>
                <a:gd name="T38" fmla="*/ 40 w 743"/>
                <a:gd name="T39" fmla="*/ 447 h 558"/>
                <a:gd name="T40" fmla="*/ 21 w 743"/>
                <a:gd name="T41" fmla="*/ 495 h 558"/>
                <a:gd name="T42" fmla="*/ 0 w 743"/>
                <a:gd name="T43" fmla="*/ 479 h 558"/>
                <a:gd name="T44" fmla="*/ 1 w 743"/>
                <a:gd name="T45" fmla="*/ 39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3" h="558">
                  <a:moveTo>
                    <a:pt x="1" y="392"/>
                  </a:moveTo>
                  <a:cubicBezTo>
                    <a:pt x="3" y="382"/>
                    <a:pt x="10" y="379"/>
                    <a:pt x="20" y="379"/>
                  </a:cubicBezTo>
                  <a:cubicBezTo>
                    <a:pt x="44" y="378"/>
                    <a:pt x="68" y="378"/>
                    <a:pt x="92" y="377"/>
                  </a:cubicBezTo>
                  <a:cubicBezTo>
                    <a:pt x="106" y="376"/>
                    <a:pt x="118" y="381"/>
                    <a:pt x="118" y="397"/>
                  </a:cubicBezTo>
                  <a:cubicBezTo>
                    <a:pt x="118" y="413"/>
                    <a:pt x="106" y="417"/>
                    <a:pt x="91" y="416"/>
                  </a:cubicBezTo>
                  <a:cubicBezTo>
                    <a:pt x="85" y="415"/>
                    <a:pt x="78" y="416"/>
                    <a:pt x="71" y="416"/>
                  </a:cubicBezTo>
                  <a:cubicBezTo>
                    <a:pt x="69" y="423"/>
                    <a:pt x="76" y="425"/>
                    <a:pt x="79" y="428"/>
                  </a:cubicBezTo>
                  <a:cubicBezTo>
                    <a:pt x="130" y="470"/>
                    <a:pt x="189" y="497"/>
                    <a:pt x="254" y="508"/>
                  </a:cubicBezTo>
                  <a:cubicBezTo>
                    <a:pt x="461" y="540"/>
                    <a:pt x="643" y="394"/>
                    <a:pt x="668" y="201"/>
                  </a:cubicBezTo>
                  <a:cubicBezTo>
                    <a:pt x="669" y="195"/>
                    <a:pt x="671" y="189"/>
                    <a:pt x="672" y="184"/>
                  </a:cubicBezTo>
                  <a:cubicBezTo>
                    <a:pt x="677" y="178"/>
                    <a:pt x="677" y="173"/>
                    <a:pt x="672" y="168"/>
                  </a:cubicBezTo>
                  <a:cubicBezTo>
                    <a:pt x="672" y="157"/>
                    <a:pt x="672" y="146"/>
                    <a:pt x="672" y="136"/>
                  </a:cubicBezTo>
                  <a:cubicBezTo>
                    <a:pt x="677" y="130"/>
                    <a:pt x="677" y="125"/>
                    <a:pt x="672" y="120"/>
                  </a:cubicBezTo>
                  <a:cubicBezTo>
                    <a:pt x="666" y="91"/>
                    <a:pt x="662" y="61"/>
                    <a:pt x="652" y="33"/>
                  </a:cubicBezTo>
                  <a:cubicBezTo>
                    <a:pt x="647" y="21"/>
                    <a:pt x="650" y="9"/>
                    <a:pt x="662" y="5"/>
                  </a:cubicBezTo>
                  <a:cubicBezTo>
                    <a:pt x="676" y="0"/>
                    <a:pt x="684" y="8"/>
                    <a:pt x="689" y="21"/>
                  </a:cubicBezTo>
                  <a:cubicBezTo>
                    <a:pt x="743" y="166"/>
                    <a:pt x="696" y="348"/>
                    <a:pt x="578" y="451"/>
                  </a:cubicBezTo>
                  <a:cubicBezTo>
                    <a:pt x="493" y="524"/>
                    <a:pt x="396" y="558"/>
                    <a:pt x="284" y="551"/>
                  </a:cubicBezTo>
                  <a:cubicBezTo>
                    <a:pt x="201" y="546"/>
                    <a:pt x="127" y="516"/>
                    <a:pt x="62" y="464"/>
                  </a:cubicBezTo>
                  <a:cubicBezTo>
                    <a:pt x="55" y="459"/>
                    <a:pt x="48" y="453"/>
                    <a:pt x="40" y="447"/>
                  </a:cubicBezTo>
                  <a:cubicBezTo>
                    <a:pt x="35" y="465"/>
                    <a:pt x="48" y="489"/>
                    <a:pt x="21" y="495"/>
                  </a:cubicBezTo>
                  <a:cubicBezTo>
                    <a:pt x="10" y="498"/>
                    <a:pt x="2" y="491"/>
                    <a:pt x="0" y="479"/>
                  </a:cubicBezTo>
                  <a:cubicBezTo>
                    <a:pt x="6" y="450"/>
                    <a:pt x="6" y="421"/>
                    <a:pt x="1" y="3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0E1D4BA0-8CB6-4A4B-BD19-8F4D20092285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75769" y="4658705"/>
              <a:ext cx="657371" cy="483707"/>
            </a:xfrm>
            <a:custGeom>
              <a:avLst/>
              <a:gdLst>
                <a:gd name="T0" fmla="*/ 730 w 770"/>
                <a:gd name="T1" fmla="*/ 122 h 567"/>
                <a:gd name="T2" fmla="*/ 730 w 770"/>
                <a:gd name="T3" fmla="*/ 89 h 567"/>
                <a:gd name="T4" fmla="*/ 748 w 770"/>
                <a:gd name="T5" fmla="*/ 69 h 567"/>
                <a:gd name="T6" fmla="*/ 769 w 770"/>
                <a:gd name="T7" fmla="*/ 87 h 567"/>
                <a:gd name="T8" fmla="*/ 768 w 770"/>
                <a:gd name="T9" fmla="*/ 175 h 567"/>
                <a:gd name="T10" fmla="*/ 747 w 770"/>
                <a:gd name="T11" fmla="*/ 190 h 567"/>
                <a:gd name="T12" fmla="*/ 673 w 770"/>
                <a:gd name="T13" fmla="*/ 190 h 567"/>
                <a:gd name="T14" fmla="*/ 653 w 770"/>
                <a:gd name="T15" fmla="*/ 172 h 567"/>
                <a:gd name="T16" fmla="*/ 671 w 770"/>
                <a:gd name="T17" fmla="*/ 151 h 567"/>
                <a:gd name="T18" fmla="*/ 701 w 770"/>
                <a:gd name="T19" fmla="*/ 150 h 567"/>
                <a:gd name="T20" fmla="*/ 576 w 770"/>
                <a:gd name="T21" fmla="*/ 74 h 567"/>
                <a:gd name="T22" fmla="*/ 101 w 770"/>
                <a:gd name="T23" fmla="*/ 359 h 567"/>
                <a:gd name="T24" fmla="*/ 115 w 770"/>
                <a:gd name="T25" fmla="*/ 528 h 567"/>
                <a:gd name="T26" fmla="*/ 105 w 770"/>
                <a:gd name="T27" fmla="*/ 561 h 567"/>
                <a:gd name="T28" fmla="*/ 78 w 770"/>
                <a:gd name="T29" fmla="*/ 540 h 567"/>
                <a:gd name="T30" fmla="*/ 399 w 770"/>
                <a:gd name="T31" fmla="*/ 19 h 567"/>
                <a:gd name="T32" fmla="*/ 574 w 770"/>
                <a:gd name="T33" fmla="*/ 32 h 567"/>
                <a:gd name="T34" fmla="*/ 730 w 770"/>
                <a:gd name="T35" fmla="*/ 12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567">
                  <a:moveTo>
                    <a:pt x="730" y="122"/>
                  </a:moveTo>
                  <a:cubicBezTo>
                    <a:pt x="730" y="108"/>
                    <a:pt x="729" y="99"/>
                    <a:pt x="730" y="89"/>
                  </a:cubicBezTo>
                  <a:cubicBezTo>
                    <a:pt x="730" y="77"/>
                    <a:pt x="737" y="70"/>
                    <a:pt x="748" y="69"/>
                  </a:cubicBezTo>
                  <a:cubicBezTo>
                    <a:pt x="760" y="69"/>
                    <a:pt x="768" y="76"/>
                    <a:pt x="769" y="87"/>
                  </a:cubicBezTo>
                  <a:cubicBezTo>
                    <a:pt x="770" y="116"/>
                    <a:pt x="770" y="146"/>
                    <a:pt x="768" y="175"/>
                  </a:cubicBezTo>
                  <a:cubicBezTo>
                    <a:pt x="768" y="184"/>
                    <a:pt x="757" y="190"/>
                    <a:pt x="747" y="190"/>
                  </a:cubicBezTo>
                  <a:cubicBezTo>
                    <a:pt x="722" y="190"/>
                    <a:pt x="698" y="190"/>
                    <a:pt x="673" y="190"/>
                  </a:cubicBezTo>
                  <a:cubicBezTo>
                    <a:pt x="661" y="190"/>
                    <a:pt x="654" y="185"/>
                    <a:pt x="653" y="172"/>
                  </a:cubicBezTo>
                  <a:cubicBezTo>
                    <a:pt x="652" y="159"/>
                    <a:pt x="659" y="152"/>
                    <a:pt x="671" y="151"/>
                  </a:cubicBezTo>
                  <a:cubicBezTo>
                    <a:pt x="679" y="150"/>
                    <a:pt x="688" y="150"/>
                    <a:pt x="701" y="150"/>
                  </a:cubicBezTo>
                  <a:cubicBezTo>
                    <a:pt x="663" y="114"/>
                    <a:pt x="621" y="90"/>
                    <a:pt x="576" y="74"/>
                  </a:cubicBezTo>
                  <a:cubicBezTo>
                    <a:pt x="364" y="0"/>
                    <a:pt x="136" y="136"/>
                    <a:pt x="101" y="359"/>
                  </a:cubicBezTo>
                  <a:cubicBezTo>
                    <a:pt x="92" y="416"/>
                    <a:pt x="97" y="473"/>
                    <a:pt x="115" y="528"/>
                  </a:cubicBezTo>
                  <a:cubicBezTo>
                    <a:pt x="119" y="542"/>
                    <a:pt x="122" y="556"/>
                    <a:pt x="105" y="561"/>
                  </a:cubicBezTo>
                  <a:cubicBezTo>
                    <a:pt x="89" y="567"/>
                    <a:pt x="82" y="554"/>
                    <a:pt x="78" y="540"/>
                  </a:cubicBezTo>
                  <a:cubicBezTo>
                    <a:pt x="0" y="305"/>
                    <a:pt x="154" y="55"/>
                    <a:pt x="399" y="19"/>
                  </a:cubicBezTo>
                  <a:cubicBezTo>
                    <a:pt x="457" y="11"/>
                    <a:pt x="516" y="14"/>
                    <a:pt x="574" y="32"/>
                  </a:cubicBezTo>
                  <a:cubicBezTo>
                    <a:pt x="631" y="50"/>
                    <a:pt x="682" y="79"/>
                    <a:pt x="730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BC737843-F28D-4D68-9778-8CBCF40EC79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87176" y="5148005"/>
              <a:ext cx="31397" cy="32378"/>
            </a:xfrm>
            <a:custGeom>
              <a:avLst/>
              <a:gdLst>
                <a:gd name="T0" fmla="*/ 37 w 37"/>
                <a:gd name="T1" fmla="*/ 19 h 37"/>
                <a:gd name="T2" fmla="*/ 16 w 37"/>
                <a:gd name="T3" fmla="*/ 36 h 37"/>
                <a:gd name="T4" fmla="*/ 0 w 37"/>
                <a:gd name="T5" fmla="*/ 18 h 37"/>
                <a:gd name="T6" fmla="*/ 20 w 37"/>
                <a:gd name="T7" fmla="*/ 1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5" y="30"/>
                    <a:pt x="28" y="37"/>
                    <a:pt x="16" y="36"/>
                  </a:cubicBezTo>
                  <a:cubicBezTo>
                    <a:pt x="6" y="35"/>
                    <a:pt x="0" y="28"/>
                    <a:pt x="0" y="18"/>
                  </a:cubicBezTo>
                  <a:cubicBezTo>
                    <a:pt x="0" y="7"/>
                    <a:pt x="8" y="0"/>
                    <a:pt x="20" y="1"/>
                  </a:cubicBezTo>
                  <a:cubicBezTo>
                    <a:pt x="30" y="1"/>
                    <a:pt x="36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EE622237-4419-4553-B2CF-F06A7A59E15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00849" y="5275457"/>
              <a:ext cx="32379" cy="31397"/>
            </a:xfrm>
            <a:custGeom>
              <a:avLst/>
              <a:gdLst>
                <a:gd name="T0" fmla="*/ 19 w 37"/>
                <a:gd name="T1" fmla="*/ 37 h 37"/>
                <a:gd name="T2" fmla="*/ 1 w 37"/>
                <a:gd name="T3" fmla="*/ 17 h 37"/>
                <a:gd name="T4" fmla="*/ 19 w 37"/>
                <a:gd name="T5" fmla="*/ 0 h 37"/>
                <a:gd name="T6" fmla="*/ 36 w 37"/>
                <a:gd name="T7" fmla="*/ 20 h 37"/>
                <a:gd name="T8" fmla="*/ 19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4"/>
                    <a:pt x="0" y="28"/>
                    <a:pt x="1" y="17"/>
                  </a:cubicBezTo>
                  <a:cubicBezTo>
                    <a:pt x="2" y="7"/>
                    <a:pt x="8" y="0"/>
                    <a:pt x="19" y="0"/>
                  </a:cubicBezTo>
                  <a:cubicBezTo>
                    <a:pt x="31" y="1"/>
                    <a:pt x="37" y="7"/>
                    <a:pt x="36" y="20"/>
                  </a:cubicBezTo>
                  <a:cubicBezTo>
                    <a:pt x="36" y="31"/>
                    <a:pt x="27" y="34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">
              <a:extLst>
                <a:ext uri="{FF2B5EF4-FFF2-40B4-BE49-F238E27FC236}">
                  <a16:creationId xmlns:a16="http://schemas.microsoft.com/office/drawing/2014/main" id="{934307B0-F7FA-445D-8518-647AA940526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77452" y="4735004"/>
              <a:ext cx="30416" cy="31397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5 h 36"/>
                <a:gd name="T4" fmla="*/ 1 w 36"/>
                <a:gd name="T5" fmla="*/ 16 h 36"/>
                <a:gd name="T6" fmla="*/ 20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6" y="29"/>
                    <a:pt x="29" y="36"/>
                    <a:pt x="19" y="35"/>
                  </a:cubicBezTo>
                  <a:cubicBezTo>
                    <a:pt x="8" y="35"/>
                    <a:pt x="0" y="28"/>
                    <a:pt x="1" y="16"/>
                  </a:cubicBezTo>
                  <a:cubicBezTo>
                    <a:pt x="2" y="6"/>
                    <a:pt x="9" y="0"/>
                    <a:pt x="20" y="0"/>
                  </a:cubicBezTo>
                  <a:cubicBezTo>
                    <a:pt x="31" y="1"/>
                    <a:pt x="36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">
              <a:extLst>
                <a:ext uri="{FF2B5EF4-FFF2-40B4-BE49-F238E27FC236}">
                  <a16:creationId xmlns:a16="http://schemas.microsoft.com/office/drawing/2014/main" id="{BB4C88FB-4770-416A-B6FA-7C63BB40D3A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73829" y="4803138"/>
              <a:ext cx="30416" cy="30416"/>
            </a:xfrm>
            <a:custGeom>
              <a:avLst/>
              <a:gdLst>
                <a:gd name="T0" fmla="*/ 17 w 36"/>
                <a:gd name="T1" fmla="*/ 36 h 36"/>
                <a:gd name="T2" fmla="*/ 1 w 36"/>
                <a:gd name="T3" fmla="*/ 20 h 36"/>
                <a:gd name="T4" fmla="*/ 16 w 36"/>
                <a:gd name="T5" fmla="*/ 1 h 36"/>
                <a:gd name="T6" fmla="*/ 36 w 36"/>
                <a:gd name="T7" fmla="*/ 18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9" y="35"/>
                    <a:pt x="1" y="31"/>
                    <a:pt x="1" y="20"/>
                  </a:cubicBezTo>
                  <a:cubicBezTo>
                    <a:pt x="0" y="9"/>
                    <a:pt x="4" y="2"/>
                    <a:pt x="16" y="1"/>
                  </a:cubicBezTo>
                  <a:cubicBezTo>
                    <a:pt x="28" y="0"/>
                    <a:pt x="35" y="7"/>
                    <a:pt x="36" y="18"/>
                  </a:cubicBezTo>
                  <a:cubicBezTo>
                    <a:pt x="36" y="28"/>
                    <a:pt x="29" y="34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C54D7C56-8FB2-4F0B-B427-4235F5F9BFA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99008" y="5232790"/>
              <a:ext cx="31397" cy="31397"/>
            </a:xfrm>
            <a:custGeom>
              <a:avLst/>
              <a:gdLst>
                <a:gd name="T0" fmla="*/ 37 w 37"/>
                <a:gd name="T1" fmla="*/ 20 h 37"/>
                <a:gd name="T2" fmla="*/ 20 w 37"/>
                <a:gd name="T3" fmla="*/ 36 h 37"/>
                <a:gd name="T4" fmla="*/ 2 w 37"/>
                <a:gd name="T5" fmla="*/ 17 h 37"/>
                <a:gd name="T6" fmla="*/ 21 w 37"/>
                <a:gd name="T7" fmla="*/ 1 h 37"/>
                <a:gd name="T8" fmla="*/ 37 w 3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20"/>
                  </a:moveTo>
                  <a:cubicBezTo>
                    <a:pt x="36" y="30"/>
                    <a:pt x="30" y="37"/>
                    <a:pt x="20" y="36"/>
                  </a:cubicBezTo>
                  <a:cubicBezTo>
                    <a:pt x="8" y="36"/>
                    <a:pt x="0" y="29"/>
                    <a:pt x="2" y="17"/>
                  </a:cubicBezTo>
                  <a:cubicBezTo>
                    <a:pt x="3" y="7"/>
                    <a:pt x="9" y="0"/>
                    <a:pt x="21" y="1"/>
                  </a:cubicBezTo>
                  <a:cubicBezTo>
                    <a:pt x="31" y="2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63DDD46D-0A4D-4AC4-B817-B7C39F998B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58075" y="5198795"/>
              <a:ext cx="31397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17 w 36"/>
                <a:gd name="T5" fmla="*/ 1 h 37"/>
                <a:gd name="T6" fmla="*/ 35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30"/>
                    <a:pt x="0" y="19"/>
                  </a:cubicBezTo>
                  <a:cubicBezTo>
                    <a:pt x="0" y="8"/>
                    <a:pt x="6" y="2"/>
                    <a:pt x="17" y="1"/>
                  </a:cubicBezTo>
                  <a:cubicBezTo>
                    <a:pt x="29" y="0"/>
                    <a:pt x="36" y="8"/>
                    <a:pt x="35" y="19"/>
                  </a:cubicBezTo>
                  <a:cubicBezTo>
                    <a:pt x="35" y="29"/>
                    <a:pt x="27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">
              <a:extLst>
                <a:ext uri="{FF2B5EF4-FFF2-40B4-BE49-F238E27FC236}">
                  <a16:creationId xmlns:a16="http://schemas.microsoft.com/office/drawing/2014/main" id="{520609D8-200B-4B69-9425-B80B531FD10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12487" y="5273519"/>
              <a:ext cx="30416" cy="30416"/>
            </a:xfrm>
            <a:custGeom>
              <a:avLst/>
              <a:gdLst>
                <a:gd name="T0" fmla="*/ 36 w 36"/>
                <a:gd name="T1" fmla="*/ 17 h 36"/>
                <a:gd name="T2" fmla="*/ 20 w 36"/>
                <a:gd name="T3" fmla="*/ 36 h 36"/>
                <a:gd name="T4" fmla="*/ 0 w 36"/>
                <a:gd name="T5" fmla="*/ 16 h 36"/>
                <a:gd name="T6" fmla="*/ 17 w 36"/>
                <a:gd name="T7" fmla="*/ 0 h 36"/>
                <a:gd name="T8" fmla="*/ 36 w 36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7"/>
                  </a:moveTo>
                  <a:cubicBezTo>
                    <a:pt x="36" y="29"/>
                    <a:pt x="31" y="35"/>
                    <a:pt x="20" y="36"/>
                  </a:cubicBezTo>
                  <a:cubicBezTo>
                    <a:pt x="8" y="36"/>
                    <a:pt x="0" y="29"/>
                    <a:pt x="0" y="16"/>
                  </a:cubicBezTo>
                  <a:cubicBezTo>
                    <a:pt x="0" y="5"/>
                    <a:pt x="6" y="0"/>
                    <a:pt x="17" y="0"/>
                  </a:cubicBezTo>
                  <a:cubicBezTo>
                    <a:pt x="29" y="0"/>
                    <a:pt x="35" y="6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6">
              <a:extLst>
                <a:ext uri="{FF2B5EF4-FFF2-40B4-BE49-F238E27FC236}">
                  <a16:creationId xmlns:a16="http://schemas.microsoft.com/office/drawing/2014/main" id="{AD25E4D3-9ED5-4619-A08B-8877F07E27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82907" y="4766918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7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2"/>
                    <a:pt x="36" y="6"/>
                    <a:pt x="36" y="17"/>
                  </a:cubicBezTo>
                  <a:cubicBezTo>
                    <a:pt x="36" y="30"/>
                    <a:pt x="28" y="36"/>
                    <a:pt x="17" y="35"/>
                  </a:cubicBezTo>
                  <a:cubicBezTo>
                    <a:pt x="7" y="35"/>
                    <a:pt x="0" y="29"/>
                    <a:pt x="0" y="17"/>
                  </a:cubicBezTo>
                  <a:cubicBezTo>
                    <a:pt x="1" y="6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5E4D2F3A-22B5-47A5-9AC6-BCF2454F1F6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23253" y="5044919"/>
              <a:ext cx="31397" cy="30416"/>
            </a:xfrm>
            <a:custGeom>
              <a:avLst/>
              <a:gdLst>
                <a:gd name="T0" fmla="*/ 36 w 36"/>
                <a:gd name="T1" fmla="*/ 19 h 36"/>
                <a:gd name="T2" fmla="*/ 19 w 36"/>
                <a:gd name="T3" fmla="*/ 36 h 36"/>
                <a:gd name="T4" fmla="*/ 0 w 36"/>
                <a:gd name="T5" fmla="*/ 17 h 36"/>
                <a:gd name="T6" fmla="*/ 18 w 36"/>
                <a:gd name="T7" fmla="*/ 0 h 36"/>
                <a:gd name="T8" fmla="*/ 36 w 36"/>
                <a:gd name="T9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9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5"/>
                    <a:pt x="0" y="28"/>
                    <a:pt x="0" y="17"/>
                  </a:cubicBezTo>
                  <a:cubicBezTo>
                    <a:pt x="0" y="8"/>
                    <a:pt x="7" y="0"/>
                    <a:pt x="18" y="0"/>
                  </a:cubicBezTo>
                  <a:cubicBezTo>
                    <a:pt x="30" y="0"/>
                    <a:pt x="36" y="7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8">
              <a:extLst>
                <a:ext uri="{FF2B5EF4-FFF2-40B4-BE49-F238E27FC236}">
                  <a16:creationId xmlns:a16="http://schemas.microsoft.com/office/drawing/2014/main" id="{DDE55C0A-20D7-4C08-ADD6-B9A769A73AA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35383" y="4843377"/>
              <a:ext cx="32379" cy="30416"/>
            </a:xfrm>
            <a:custGeom>
              <a:avLst/>
              <a:gdLst>
                <a:gd name="T0" fmla="*/ 18 w 37"/>
                <a:gd name="T1" fmla="*/ 0 h 36"/>
                <a:gd name="T2" fmla="*/ 36 w 37"/>
                <a:gd name="T3" fmla="*/ 16 h 36"/>
                <a:gd name="T4" fmla="*/ 19 w 37"/>
                <a:gd name="T5" fmla="*/ 36 h 36"/>
                <a:gd name="T6" fmla="*/ 0 w 37"/>
                <a:gd name="T7" fmla="*/ 18 h 36"/>
                <a:gd name="T8" fmla="*/ 18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18" y="0"/>
                  </a:moveTo>
                  <a:cubicBezTo>
                    <a:pt x="27" y="2"/>
                    <a:pt x="35" y="5"/>
                    <a:pt x="36" y="16"/>
                  </a:cubicBezTo>
                  <a:cubicBezTo>
                    <a:pt x="37" y="28"/>
                    <a:pt x="31" y="36"/>
                    <a:pt x="19" y="36"/>
                  </a:cubicBezTo>
                  <a:cubicBezTo>
                    <a:pt x="9" y="36"/>
                    <a:pt x="0" y="30"/>
                    <a:pt x="0" y="18"/>
                  </a:cubicBezTo>
                  <a:cubicBezTo>
                    <a:pt x="0" y="7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809F5F54-DECD-4EB7-8495-8DEF1A4671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12045" y="5228974"/>
              <a:ext cx="30416" cy="31397"/>
            </a:xfrm>
            <a:custGeom>
              <a:avLst/>
              <a:gdLst>
                <a:gd name="T0" fmla="*/ 36 w 36"/>
                <a:gd name="T1" fmla="*/ 18 h 37"/>
                <a:gd name="T2" fmla="*/ 20 w 36"/>
                <a:gd name="T3" fmla="*/ 36 h 37"/>
                <a:gd name="T4" fmla="*/ 1 w 36"/>
                <a:gd name="T5" fmla="*/ 20 h 37"/>
                <a:gd name="T6" fmla="*/ 18 w 36"/>
                <a:gd name="T7" fmla="*/ 0 h 37"/>
                <a:gd name="T8" fmla="*/ 36 w 36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8"/>
                  </a:moveTo>
                  <a:cubicBezTo>
                    <a:pt x="36" y="28"/>
                    <a:pt x="32" y="35"/>
                    <a:pt x="20" y="36"/>
                  </a:cubicBezTo>
                  <a:cubicBezTo>
                    <a:pt x="9" y="37"/>
                    <a:pt x="3" y="30"/>
                    <a:pt x="1" y="20"/>
                  </a:cubicBezTo>
                  <a:cubicBezTo>
                    <a:pt x="0" y="9"/>
                    <a:pt x="6" y="1"/>
                    <a:pt x="18" y="0"/>
                  </a:cubicBezTo>
                  <a:cubicBezTo>
                    <a:pt x="29" y="0"/>
                    <a:pt x="35" y="7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57C38BF1-0CAF-4B7E-88AA-B81F0B99D87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64869" y="5256725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9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1"/>
                    <a:pt x="35" y="6"/>
                    <a:pt x="36" y="17"/>
                  </a:cubicBezTo>
                  <a:cubicBezTo>
                    <a:pt x="36" y="29"/>
                    <a:pt x="29" y="35"/>
                    <a:pt x="19" y="35"/>
                  </a:cubicBezTo>
                  <a:cubicBezTo>
                    <a:pt x="8" y="36"/>
                    <a:pt x="0" y="29"/>
                    <a:pt x="0" y="17"/>
                  </a:cubicBezTo>
                  <a:cubicBezTo>
                    <a:pt x="0" y="5"/>
                    <a:pt x="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1">
              <a:extLst>
                <a:ext uri="{FF2B5EF4-FFF2-40B4-BE49-F238E27FC236}">
                  <a16:creationId xmlns:a16="http://schemas.microsoft.com/office/drawing/2014/main" id="{FBDCEBBD-9318-43E2-9CA3-5A364431443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67894" y="4837827"/>
              <a:ext cx="30416" cy="30416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6 h 36"/>
                <a:gd name="T4" fmla="*/ 0 w 36"/>
                <a:gd name="T5" fmla="*/ 20 h 36"/>
                <a:gd name="T6" fmla="*/ 18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4" y="27"/>
                    <a:pt x="30" y="35"/>
                    <a:pt x="19" y="36"/>
                  </a:cubicBezTo>
                  <a:cubicBezTo>
                    <a:pt x="8" y="36"/>
                    <a:pt x="1" y="31"/>
                    <a:pt x="0" y="20"/>
                  </a:cubicBezTo>
                  <a:cubicBezTo>
                    <a:pt x="0" y="8"/>
                    <a:pt x="6" y="1"/>
                    <a:pt x="18" y="0"/>
                  </a:cubicBezTo>
                  <a:cubicBezTo>
                    <a:pt x="28" y="0"/>
                    <a:pt x="34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">
              <a:extLst>
                <a:ext uri="{FF2B5EF4-FFF2-40B4-BE49-F238E27FC236}">
                  <a16:creationId xmlns:a16="http://schemas.microsoft.com/office/drawing/2014/main" id="{A45538CC-C35B-4D8B-95B6-5BA015D5AC0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31914" y="474624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20 w 36"/>
                <a:gd name="T3" fmla="*/ 35 h 35"/>
                <a:gd name="T4" fmla="*/ 1 w 36"/>
                <a:gd name="T5" fmla="*/ 17 h 35"/>
                <a:gd name="T6" fmla="*/ 18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6" y="28"/>
                    <a:pt x="30" y="35"/>
                    <a:pt x="20" y="35"/>
                  </a:cubicBezTo>
                  <a:cubicBezTo>
                    <a:pt x="8" y="35"/>
                    <a:pt x="1" y="29"/>
                    <a:pt x="1" y="17"/>
                  </a:cubicBezTo>
                  <a:cubicBezTo>
                    <a:pt x="0" y="5"/>
                    <a:pt x="9" y="0"/>
                    <a:pt x="18" y="0"/>
                  </a:cubicBezTo>
                  <a:cubicBezTo>
                    <a:pt x="28" y="0"/>
                    <a:pt x="36" y="5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FF026748-B477-4FA3-BE4A-8D7F60A2738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07082" y="4890900"/>
              <a:ext cx="31397" cy="30416"/>
            </a:xfrm>
            <a:custGeom>
              <a:avLst/>
              <a:gdLst>
                <a:gd name="T0" fmla="*/ 17 w 36"/>
                <a:gd name="T1" fmla="*/ 0 h 36"/>
                <a:gd name="T2" fmla="*/ 35 w 36"/>
                <a:gd name="T3" fmla="*/ 20 h 36"/>
                <a:gd name="T4" fmla="*/ 17 w 36"/>
                <a:gd name="T5" fmla="*/ 36 h 36"/>
                <a:gd name="T6" fmla="*/ 0 w 36"/>
                <a:gd name="T7" fmla="*/ 18 h 36"/>
                <a:gd name="T8" fmla="*/ 17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0"/>
                  </a:moveTo>
                  <a:cubicBezTo>
                    <a:pt x="30" y="2"/>
                    <a:pt x="36" y="8"/>
                    <a:pt x="35" y="20"/>
                  </a:cubicBezTo>
                  <a:cubicBezTo>
                    <a:pt x="34" y="31"/>
                    <a:pt x="27" y="36"/>
                    <a:pt x="17" y="36"/>
                  </a:cubicBezTo>
                  <a:cubicBezTo>
                    <a:pt x="6" y="35"/>
                    <a:pt x="0" y="29"/>
                    <a:pt x="0" y="18"/>
                  </a:cubicBezTo>
                  <a:cubicBezTo>
                    <a:pt x="0" y="7"/>
                    <a:pt x="8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03EE2E95-504D-4CBB-8E23-06DCC778A1C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99248" y="5104788"/>
              <a:ext cx="30416" cy="31397"/>
            </a:xfrm>
            <a:custGeom>
              <a:avLst/>
              <a:gdLst>
                <a:gd name="T0" fmla="*/ 36 w 36"/>
                <a:gd name="T1" fmla="*/ 20 h 36"/>
                <a:gd name="T2" fmla="*/ 19 w 36"/>
                <a:gd name="T3" fmla="*/ 36 h 36"/>
                <a:gd name="T4" fmla="*/ 1 w 36"/>
                <a:gd name="T5" fmla="*/ 20 h 36"/>
                <a:gd name="T6" fmla="*/ 19 w 36"/>
                <a:gd name="T7" fmla="*/ 1 h 36"/>
                <a:gd name="T8" fmla="*/ 36 w 36"/>
                <a:gd name="T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20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6"/>
                    <a:pt x="1" y="29"/>
                    <a:pt x="1" y="20"/>
                  </a:cubicBezTo>
                  <a:cubicBezTo>
                    <a:pt x="0" y="8"/>
                    <a:pt x="7" y="0"/>
                    <a:pt x="19" y="1"/>
                  </a:cubicBezTo>
                  <a:cubicBezTo>
                    <a:pt x="30" y="1"/>
                    <a:pt x="35" y="8"/>
                    <a:pt x="3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F25F7060-7D67-40A5-8A17-39A46BBD492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29736" y="4798282"/>
              <a:ext cx="30416" cy="30416"/>
            </a:xfrm>
            <a:custGeom>
              <a:avLst/>
              <a:gdLst>
                <a:gd name="T0" fmla="*/ 15 w 36"/>
                <a:gd name="T1" fmla="*/ 1 h 36"/>
                <a:gd name="T2" fmla="*/ 35 w 36"/>
                <a:gd name="T3" fmla="*/ 17 h 36"/>
                <a:gd name="T4" fmla="*/ 17 w 36"/>
                <a:gd name="T5" fmla="*/ 36 h 36"/>
                <a:gd name="T6" fmla="*/ 1 w 36"/>
                <a:gd name="T7" fmla="*/ 18 h 36"/>
                <a:gd name="T8" fmla="*/ 15 w 36"/>
                <a:gd name="T9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5" y="1"/>
                  </a:moveTo>
                  <a:cubicBezTo>
                    <a:pt x="28" y="0"/>
                    <a:pt x="35" y="8"/>
                    <a:pt x="35" y="17"/>
                  </a:cubicBezTo>
                  <a:cubicBezTo>
                    <a:pt x="36" y="28"/>
                    <a:pt x="30" y="36"/>
                    <a:pt x="17" y="36"/>
                  </a:cubicBezTo>
                  <a:cubicBezTo>
                    <a:pt x="6" y="36"/>
                    <a:pt x="1" y="29"/>
                    <a:pt x="1" y="18"/>
                  </a:cubicBezTo>
                  <a:cubicBezTo>
                    <a:pt x="0" y="7"/>
                    <a:pt x="7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6">
              <a:extLst>
                <a:ext uri="{FF2B5EF4-FFF2-40B4-BE49-F238E27FC236}">
                  <a16:creationId xmlns:a16="http://schemas.microsoft.com/office/drawing/2014/main" id="{1E2E266B-007B-4726-8077-D2E0C42F403F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7500" y="4934812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20 w 36"/>
                <a:gd name="T5" fmla="*/ 2 h 37"/>
                <a:gd name="T6" fmla="*/ 35 w 36"/>
                <a:gd name="T7" fmla="*/ 20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6"/>
                    <a:pt x="0" y="30"/>
                    <a:pt x="0" y="19"/>
                  </a:cubicBezTo>
                  <a:cubicBezTo>
                    <a:pt x="0" y="7"/>
                    <a:pt x="8" y="0"/>
                    <a:pt x="20" y="2"/>
                  </a:cubicBezTo>
                  <a:cubicBezTo>
                    <a:pt x="29" y="2"/>
                    <a:pt x="36" y="9"/>
                    <a:pt x="35" y="20"/>
                  </a:cubicBezTo>
                  <a:cubicBezTo>
                    <a:pt x="34" y="31"/>
                    <a:pt x="28" y="37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A1B2628B-35FE-4D4B-8853-B93D6B10E56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21950" y="4736391"/>
              <a:ext cx="30416" cy="31397"/>
            </a:xfrm>
            <a:custGeom>
              <a:avLst/>
              <a:gdLst>
                <a:gd name="T0" fmla="*/ 16 w 36"/>
                <a:gd name="T1" fmla="*/ 0 h 36"/>
                <a:gd name="T2" fmla="*/ 36 w 36"/>
                <a:gd name="T3" fmla="*/ 15 h 36"/>
                <a:gd name="T4" fmla="*/ 19 w 36"/>
                <a:gd name="T5" fmla="*/ 35 h 36"/>
                <a:gd name="T6" fmla="*/ 1 w 36"/>
                <a:gd name="T7" fmla="*/ 19 h 36"/>
                <a:gd name="T8" fmla="*/ 16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6" y="0"/>
                  </a:moveTo>
                  <a:cubicBezTo>
                    <a:pt x="29" y="0"/>
                    <a:pt x="35" y="4"/>
                    <a:pt x="36" y="15"/>
                  </a:cubicBezTo>
                  <a:cubicBezTo>
                    <a:pt x="36" y="27"/>
                    <a:pt x="31" y="34"/>
                    <a:pt x="19" y="35"/>
                  </a:cubicBezTo>
                  <a:cubicBezTo>
                    <a:pt x="8" y="36"/>
                    <a:pt x="2" y="28"/>
                    <a:pt x="1" y="19"/>
                  </a:cubicBezTo>
                  <a:cubicBezTo>
                    <a:pt x="0" y="8"/>
                    <a:pt x="6" y="1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B58A34E-5EBE-4BED-87F1-8354C2983A2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67692" y="4747839"/>
              <a:ext cx="31397" cy="31397"/>
            </a:xfrm>
            <a:custGeom>
              <a:avLst/>
              <a:gdLst>
                <a:gd name="T0" fmla="*/ 36 w 36"/>
                <a:gd name="T1" fmla="*/ 19 h 37"/>
                <a:gd name="T2" fmla="*/ 20 w 36"/>
                <a:gd name="T3" fmla="*/ 36 h 37"/>
                <a:gd name="T4" fmla="*/ 1 w 36"/>
                <a:gd name="T5" fmla="*/ 18 h 37"/>
                <a:gd name="T6" fmla="*/ 20 w 36"/>
                <a:gd name="T7" fmla="*/ 1 h 37"/>
                <a:gd name="T8" fmla="*/ 36 w 36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9"/>
                  </a:moveTo>
                  <a:cubicBezTo>
                    <a:pt x="36" y="29"/>
                    <a:pt x="30" y="35"/>
                    <a:pt x="20" y="36"/>
                  </a:cubicBezTo>
                  <a:cubicBezTo>
                    <a:pt x="8" y="37"/>
                    <a:pt x="0" y="28"/>
                    <a:pt x="1" y="18"/>
                  </a:cubicBezTo>
                  <a:cubicBezTo>
                    <a:pt x="1" y="8"/>
                    <a:pt x="8" y="0"/>
                    <a:pt x="20" y="1"/>
                  </a:cubicBezTo>
                  <a:cubicBezTo>
                    <a:pt x="31" y="1"/>
                    <a:pt x="36" y="8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9">
              <a:extLst>
                <a:ext uri="{FF2B5EF4-FFF2-40B4-BE49-F238E27FC236}">
                  <a16:creationId xmlns:a16="http://schemas.microsoft.com/office/drawing/2014/main" id="{76AA2C74-612A-4044-AB9C-783F84866AF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0908" y="509868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19 w 36"/>
                <a:gd name="T3" fmla="*/ 35 h 35"/>
                <a:gd name="T4" fmla="*/ 0 w 36"/>
                <a:gd name="T5" fmla="*/ 19 h 35"/>
                <a:gd name="T6" fmla="*/ 19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5" y="28"/>
                    <a:pt x="30" y="35"/>
                    <a:pt x="19" y="35"/>
                  </a:cubicBezTo>
                  <a:cubicBezTo>
                    <a:pt x="8" y="35"/>
                    <a:pt x="1" y="30"/>
                    <a:pt x="0" y="19"/>
                  </a:cubicBezTo>
                  <a:cubicBezTo>
                    <a:pt x="0" y="7"/>
                    <a:pt x="8" y="0"/>
                    <a:pt x="19" y="0"/>
                  </a:cubicBezTo>
                  <a:cubicBezTo>
                    <a:pt x="28" y="0"/>
                    <a:pt x="35" y="7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C0C79051-D4E2-4123-A263-0A9F81B9C79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88841" y="4943137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17 w 36"/>
                <a:gd name="T5" fmla="*/ 1 h 37"/>
                <a:gd name="T6" fmla="*/ 36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8" y="35"/>
                    <a:pt x="1" y="30"/>
                    <a:pt x="1" y="19"/>
                  </a:cubicBezTo>
                  <a:cubicBezTo>
                    <a:pt x="0" y="8"/>
                    <a:pt x="5" y="1"/>
                    <a:pt x="17" y="1"/>
                  </a:cubicBezTo>
                  <a:cubicBezTo>
                    <a:pt x="29" y="0"/>
                    <a:pt x="36" y="8"/>
                    <a:pt x="36" y="19"/>
                  </a:cubicBezTo>
                  <a:cubicBezTo>
                    <a:pt x="36" y="29"/>
                    <a:pt x="28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E610433-2567-4A52-89AE-D0DCF087D77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18433" y="4770733"/>
              <a:ext cx="31397" cy="31397"/>
            </a:xfrm>
            <a:custGeom>
              <a:avLst/>
              <a:gdLst>
                <a:gd name="T0" fmla="*/ 17 w 36"/>
                <a:gd name="T1" fmla="*/ 36 h 36"/>
                <a:gd name="T2" fmla="*/ 0 w 36"/>
                <a:gd name="T3" fmla="*/ 18 h 36"/>
                <a:gd name="T4" fmla="*/ 17 w 36"/>
                <a:gd name="T5" fmla="*/ 1 h 36"/>
                <a:gd name="T6" fmla="*/ 35 w 36"/>
                <a:gd name="T7" fmla="*/ 20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6" y="34"/>
                    <a:pt x="0" y="29"/>
                    <a:pt x="0" y="18"/>
                  </a:cubicBezTo>
                  <a:cubicBezTo>
                    <a:pt x="0" y="7"/>
                    <a:pt x="6" y="0"/>
                    <a:pt x="17" y="1"/>
                  </a:cubicBezTo>
                  <a:cubicBezTo>
                    <a:pt x="29" y="1"/>
                    <a:pt x="36" y="9"/>
                    <a:pt x="35" y="20"/>
                  </a:cubicBezTo>
                  <a:cubicBezTo>
                    <a:pt x="35" y="30"/>
                    <a:pt x="27" y="35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6295CD15-E7DE-40F0-A1CD-898BB820878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49103" y="5261175"/>
              <a:ext cx="30416" cy="29435"/>
            </a:xfrm>
            <a:custGeom>
              <a:avLst/>
              <a:gdLst>
                <a:gd name="T0" fmla="*/ 17 w 36"/>
                <a:gd name="T1" fmla="*/ 0 h 35"/>
                <a:gd name="T2" fmla="*/ 35 w 36"/>
                <a:gd name="T3" fmla="*/ 16 h 35"/>
                <a:gd name="T4" fmla="*/ 17 w 36"/>
                <a:gd name="T5" fmla="*/ 35 h 35"/>
                <a:gd name="T6" fmla="*/ 0 w 36"/>
                <a:gd name="T7" fmla="*/ 16 h 35"/>
                <a:gd name="T8" fmla="*/ 17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17" y="0"/>
                  </a:moveTo>
                  <a:cubicBezTo>
                    <a:pt x="28" y="0"/>
                    <a:pt x="35" y="6"/>
                    <a:pt x="35" y="16"/>
                  </a:cubicBezTo>
                  <a:cubicBezTo>
                    <a:pt x="36" y="28"/>
                    <a:pt x="28" y="35"/>
                    <a:pt x="17" y="35"/>
                  </a:cubicBezTo>
                  <a:cubicBezTo>
                    <a:pt x="7" y="34"/>
                    <a:pt x="0" y="28"/>
                    <a:pt x="0" y="16"/>
                  </a:cubicBezTo>
                  <a:cubicBezTo>
                    <a:pt x="1" y="5"/>
                    <a:pt x="7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3">
              <a:extLst>
                <a:ext uri="{FF2B5EF4-FFF2-40B4-BE49-F238E27FC236}">
                  <a16:creationId xmlns:a16="http://schemas.microsoft.com/office/drawing/2014/main" id="{9158D4C7-EF4F-4243-A292-CFFE0468769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97379" y="4882778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20 w 36"/>
                <a:gd name="T5" fmla="*/ 2 h 37"/>
                <a:gd name="T6" fmla="*/ 35 w 36"/>
                <a:gd name="T7" fmla="*/ 21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29"/>
                    <a:pt x="1" y="19"/>
                  </a:cubicBezTo>
                  <a:cubicBezTo>
                    <a:pt x="1" y="8"/>
                    <a:pt x="8" y="0"/>
                    <a:pt x="20" y="2"/>
                  </a:cubicBezTo>
                  <a:cubicBezTo>
                    <a:pt x="31" y="3"/>
                    <a:pt x="36" y="10"/>
                    <a:pt x="35" y="21"/>
                  </a:cubicBezTo>
                  <a:cubicBezTo>
                    <a:pt x="34" y="31"/>
                    <a:pt x="28" y="36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4">
              <a:extLst>
                <a:ext uri="{FF2B5EF4-FFF2-40B4-BE49-F238E27FC236}">
                  <a16:creationId xmlns:a16="http://schemas.microsoft.com/office/drawing/2014/main" id="{99C2AD2C-3DE1-426F-9397-8E264A63752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57333" y="5279620"/>
              <a:ext cx="30416" cy="31397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9 h 36"/>
                <a:gd name="T4" fmla="*/ 20 w 36"/>
                <a:gd name="T5" fmla="*/ 1 h 36"/>
                <a:gd name="T6" fmla="*/ 36 w 36"/>
                <a:gd name="T7" fmla="*/ 20 h 36"/>
                <a:gd name="T8" fmla="*/ 18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7" y="35"/>
                    <a:pt x="0" y="29"/>
                    <a:pt x="0" y="19"/>
                  </a:cubicBezTo>
                  <a:cubicBezTo>
                    <a:pt x="0" y="7"/>
                    <a:pt x="9" y="0"/>
                    <a:pt x="20" y="1"/>
                  </a:cubicBezTo>
                  <a:cubicBezTo>
                    <a:pt x="29" y="2"/>
                    <a:pt x="36" y="8"/>
                    <a:pt x="36" y="20"/>
                  </a:cubicBezTo>
                  <a:cubicBezTo>
                    <a:pt x="35" y="31"/>
                    <a:pt x="29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5">
              <a:extLst>
                <a:ext uri="{FF2B5EF4-FFF2-40B4-BE49-F238E27FC236}">
                  <a16:creationId xmlns:a16="http://schemas.microsoft.com/office/drawing/2014/main" id="{48B7473C-B0F3-4DBE-9C86-0B374D264FD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25408" y="5155229"/>
              <a:ext cx="29435" cy="30416"/>
            </a:xfrm>
            <a:custGeom>
              <a:avLst/>
              <a:gdLst>
                <a:gd name="T0" fmla="*/ 35 w 35"/>
                <a:gd name="T1" fmla="*/ 18 h 36"/>
                <a:gd name="T2" fmla="*/ 17 w 35"/>
                <a:gd name="T3" fmla="*/ 36 h 36"/>
                <a:gd name="T4" fmla="*/ 0 w 35"/>
                <a:gd name="T5" fmla="*/ 19 h 36"/>
                <a:gd name="T6" fmla="*/ 17 w 35"/>
                <a:gd name="T7" fmla="*/ 1 h 36"/>
                <a:gd name="T8" fmla="*/ 35 w 35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5" y="18"/>
                  </a:moveTo>
                  <a:cubicBezTo>
                    <a:pt x="32" y="27"/>
                    <a:pt x="29" y="36"/>
                    <a:pt x="17" y="36"/>
                  </a:cubicBezTo>
                  <a:cubicBezTo>
                    <a:pt x="6" y="36"/>
                    <a:pt x="0" y="30"/>
                    <a:pt x="0" y="19"/>
                  </a:cubicBezTo>
                  <a:cubicBezTo>
                    <a:pt x="0" y="8"/>
                    <a:pt x="7" y="2"/>
                    <a:pt x="17" y="1"/>
                  </a:cubicBezTo>
                  <a:cubicBezTo>
                    <a:pt x="27" y="0"/>
                    <a:pt x="32" y="9"/>
                    <a:pt x="3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6">
              <a:extLst>
                <a:ext uri="{FF2B5EF4-FFF2-40B4-BE49-F238E27FC236}">
                  <a16:creationId xmlns:a16="http://schemas.microsoft.com/office/drawing/2014/main" id="{89327A56-809D-4FD0-BCAA-20C0C0D3D4CA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54509" y="5191857"/>
              <a:ext cx="29435" cy="31397"/>
            </a:xfrm>
            <a:custGeom>
              <a:avLst/>
              <a:gdLst>
                <a:gd name="T0" fmla="*/ 17 w 35"/>
                <a:gd name="T1" fmla="*/ 0 h 37"/>
                <a:gd name="T2" fmla="*/ 34 w 35"/>
                <a:gd name="T3" fmla="*/ 17 h 37"/>
                <a:gd name="T4" fmla="*/ 19 w 35"/>
                <a:gd name="T5" fmla="*/ 36 h 37"/>
                <a:gd name="T6" fmla="*/ 1 w 35"/>
                <a:gd name="T7" fmla="*/ 20 h 37"/>
                <a:gd name="T8" fmla="*/ 17 w 35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17" y="0"/>
                  </a:moveTo>
                  <a:cubicBezTo>
                    <a:pt x="26" y="2"/>
                    <a:pt x="34" y="7"/>
                    <a:pt x="34" y="17"/>
                  </a:cubicBezTo>
                  <a:cubicBezTo>
                    <a:pt x="35" y="28"/>
                    <a:pt x="30" y="35"/>
                    <a:pt x="19" y="36"/>
                  </a:cubicBezTo>
                  <a:cubicBezTo>
                    <a:pt x="8" y="37"/>
                    <a:pt x="2" y="29"/>
                    <a:pt x="1" y="20"/>
                  </a:cubicBezTo>
                  <a:cubicBezTo>
                    <a:pt x="0" y="10"/>
                    <a:pt x="7" y="3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">
              <a:extLst>
                <a:ext uri="{FF2B5EF4-FFF2-40B4-BE49-F238E27FC236}">
                  <a16:creationId xmlns:a16="http://schemas.microsoft.com/office/drawing/2014/main" id="{698D99F6-2F34-4019-B9A2-867DFCBFCFF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08486" y="4970463"/>
              <a:ext cx="5887" cy="74567"/>
            </a:xfrm>
            <a:custGeom>
              <a:avLst/>
              <a:gdLst>
                <a:gd name="T0" fmla="*/ 3 w 8"/>
                <a:gd name="T1" fmla="*/ 0 h 87"/>
                <a:gd name="T2" fmla="*/ 2 w 8"/>
                <a:gd name="T3" fmla="*/ 87 h 87"/>
                <a:gd name="T4" fmla="*/ 3 w 8"/>
                <a:gd name="T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7">
                  <a:moveTo>
                    <a:pt x="3" y="0"/>
                  </a:moveTo>
                  <a:cubicBezTo>
                    <a:pt x="8" y="29"/>
                    <a:pt x="8" y="58"/>
                    <a:pt x="2" y="87"/>
                  </a:cubicBezTo>
                  <a:cubicBezTo>
                    <a:pt x="1" y="58"/>
                    <a:pt x="0" y="29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8">
              <a:extLst>
                <a:ext uri="{FF2B5EF4-FFF2-40B4-BE49-F238E27FC236}">
                  <a16:creationId xmlns:a16="http://schemas.microsoft.com/office/drawing/2014/main" id="{20D76BFA-045A-4E43-8D2A-A07E6C15F687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71283" y="5249599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9">
              <a:extLst>
                <a:ext uri="{FF2B5EF4-FFF2-40B4-BE49-F238E27FC236}">
                  <a16:creationId xmlns:a16="http://schemas.microsoft.com/office/drawing/2014/main" id="{9631E4F8-08EB-4ABF-A5F9-0250223FF2E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00422" y="5220460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0">
              <a:extLst>
                <a:ext uri="{FF2B5EF4-FFF2-40B4-BE49-F238E27FC236}">
                  <a16:creationId xmlns:a16="http://schemas.microsoft.com/office/drawing/2014/main" id="{9AB0F6CA-7A3B-4C66-AB23-523830D9D2E8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241754" y="4894971"/>
              <a:ext cx="262948" cy="266873"/>
            </a:xfrm>
            <a:custGeom>
              <a:avLst/>
              <a:gdLst>
                <a:gd name="T0" fmla="*/ 281 w 309"/>
                <a:gd name="T1" fmla="*/ 244 h 313"/>
                <a:gd name="T2" fmla="*/ 261 w 309"/>
                <a:gd name="T3" fmla="*/ 266 h 313"/>
                <a:gd name="T4" fmla="*/ 221 w 309"/>
                <a:gd name="T5" fmla="*/ 270 h 313"/>
                <a:gd name="T6" fmla="*/ 186 w 309"/>
                <a:gd name="T7" fmla="*/ 285 h 313"/>
                <a:gd name="T8" fmla="*/ 155 w 309"/>
                <a:gd name="T9" fmla="*/ 310 h 313"/>
                <a:gd name="T10" fmla="*/ 122 w 309"/>
                <a:gd name="T11" fmla="*/ 286 h 313"/>
                <a:gd name="T12" fmla="*/ 93 w 309"/>
                <a:gd name="T13" fmla="*/ 265 h 313"/>
                <a:gd name="T14" fmla="*/ 36 w 309"/>
                <a:gd name="T15" fmla="*/ 254 h 313"/>
                <a:gd name="T16" fmla="*/ 29 w 309"/>
                <a:gd name="T17" fmla="*/ 244 h 313"/>
                <a:gd name="T18" fmla="*/ 3 w 309"/>
                <a:gd name="T19" fmla="*/ 181 h 313"/>
                <a:gd name="T20" fmla="*/ 1 w 309"/>
                <a:gd name="T21" fmla="*/ 166 h 313"/>
                <a:gd name="T22" fmla="*/ 1 w 309"/>
                <a:gd name="T23" fmla="*/ 129 h 313"/>
                <a:gd name="T24" fmla="*/ 15 w 309"/>
                <a:gd name="T25" fmla="*/ 126 h 313"/>
                <a:gd name="T26" fmla="*/ 34 w 309"/>
                <a:gd name="T27" fmla="*/ 81 h 313"/>
                <a:gd name="T28" fmla="*/ 44 w 309"/>
                <a:gd name="T29" fmla="*/ 49 h 313"/>
                <a:gd name="T30" fmla="*/ 79 w 309"/>
                <a:gd name="T31" fmla="*/ 36 h 313"/>
                <a:gd name="T32" fmla="*/ 124 w 309"/>
                <a:gd name="T33" fmla="*/ 20 h 313"/>
                <a:gd name="T34" fmla="*/ 143 w 309"/>
                <a:gd name="T35" fmla="*/ 3 h 313"/>
                <a:gd name="T36" fmla="*/ 179 w 309"/>
                <a:gd name="T37" fmla="*/ 2 h 313"/>
                <a:gd name="T38" fmla="*/ 183 w 309"/>
                <a:gd name="T39" fmla="*/ 14 h 313"/>
                <a:gd name="T40" fmla="*/ 230 w 309"/>
                <a:gd name="T41" fmla="*/ 35 h 313"/>
                <a:gd name="T42" fmla="*/ 264 w 309"/>
                <a:gd name="T43" fmla="*/ 51 h 313"/>
                <a:gd name="T44" fmla="*/ 272 w 309"/>
                <a:gd name="T45" fmla="*/ 82 h 313"/>
                <a:gd name="T46" fmla="*/ 291 w 309"/>
                <a:gd name="T47" fmla="*/ 127 h 313"/>
                <a:gd name="T48" fmla="*/ 307 w 309"/>
                <a:gd name="T49" fmla="*/ 144 h 313"/>
                <a:gd name="T50" fmla="*/ 307 w 309"/>
                <a:gd name="T51" fmla="*/ 180 h 313"/>
                <a:gd name="T52" fmla="*/ 281 w 309"/>
                <a:gd name="T53" fmla="*/ 244 h 313"/>
                <a:gd name="T54" fmla="*/ 153 w 309"/>
                <a:gd name="T55" fmla="*/ 94 h 313"/>
                <a:gd name="T56" fmla="*/ 91 w 309"/>
                <a:gd name="T57" fmla="*/ 155 h 313"/>
                <a:gd name="T58" fmla="*/ 154 w 309"/>
                <a:gd name="T59" fmla="*/ 218 h 313"/>
                <a:gd name="T60" fmla="*/ 217 w 309"/>
                <a:gd name="T61" fmla="*/ 156 h 313"/>
                <a:gd name="T62" fmla="*/ 153 w 309"/>
                <a:gd name="T63" fmla="*/ 9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9" h="313">
                  <a:moveTo>
                    <a:pt x="281" y="244"/>
                  </a:moveTo>
                  <a:cubicBezTo>
                    <a:pt x="273" y="252"/>
                    <a:pt x="267" y="259"/>
                    <a:pt x="261" y="266"/>
                  </a:cubicBezTo>
                  <a:cubicBezTo>
                    <a:pt x="249" y="281"/>
                    <a:pt x="237" y="284"/>
                    <a:pt x="221" y="270"/>
                  </a:cubicBezTo>
                  <a:cubicBezTo>
                    <a:pt x="202" y="253"/>
                    <a:pt x="190" y="258"/>
                    <a:pt x="186" y="285"/>
                  </a:cubicBezTo>
                  <a:cubicBezTo>
                    <a:pt x="184" y="305"/>
                    <a:pt x="175" y="311"/>
                    <a:pt x="155" y="310"/>
                  </a:cubicBezTo>
                  <a:cubicBezTo>
                    <a:pt x="138" y="309"/>
                    <a:pt x="123" y="313"/>
                    <a:pt x="122" y="286"/>
                  </a:cubicBezTo>
                  <a:cubicBezTo>
                    <a:pt x="121" y="263"/>
                    <a:pt x="106" y="253"/>
                    <a:pt x="93" y="265"/>
                  </a:cubicBezTo>
                  <a:cubicBezTo>
                    <a:pt x="67" y="290"/>
                    <a:pt x="52" y="273"/>
                    <a:pt x="36" y="254"/>
                  </a:cubicBezTo>
                  <a:cubicBezTo>
                    <a:pt x="34" y="251"/>
                    <a:pt x="31" y="247"/>
                    <a:pt x="29" y="244"/>
                  </a:cubicBezTo>
                  <a:cubicBezTo>
                    <a:pt x="56" y="195"/>
                    <a:pt x="56" y="195"/>
                    <a:pt x="3" y="181"/>
                  </a:cubicBezTo>
                  <a:cubicBezTo>
                    <a:pt x="2" y="177"/>
                    <a:pt x="1" y="172"/>
                    <a:pt x="1" y="166"/>
                  </a:cubicBezTo>
                  <a:cubicBezTo>
                    <a:pt x="0" y="154"/>
                    <a:pt x="1" y="142"/>
                    <a:pt x="1" y="129"/>
                  </a:cubicBezTo>
                  <a:cubicBezTo>
                    <a:pt x="7" y="127"/>
                    <a:pt x="11" y="127"/>
                    <a:pt x="15" y="126"/>
                  </a:cubicBezTo>
                  <a:cubicBezTo>
                    <a:pt x="54" y="118"/>
                    <a:pt x="57" y="113"/>
                    <a:pt x="34" y="81"/>
                  </a:cubicBezTo>
                  <a:cubicBezTo>
                    <a:pt x="22" y="64"/>
                    <a:pt x="36" y="57"/>
                    <a:pt x="44" y="49"/>
                  </a:cubicBezTo>
                  <a:cubicBezTo>
                    <a:pt x="53" y="40"/>
                    <a:pt x="60" y="24"/>
                    <a:pt x="79" y="36"/>
                  </a:cubicBezTo>
                  <a:cubicBezTo>
                    <a:pt x="112" y="59"/>
                    <a:pt x="114" y="57"/>
                    <a:pt x="124" y="20"/>
                  </a:cubicBezTo>
                  <a:cubicBezTo>
                    <a:pt x="125" y="13"/>
                    <a:pt x="135" y="5"/>
                    <a:pt x="143" y="3"/>
                  </a:cubicBezTo>
                  <a:cubicBezTo>
                    <a:pt x="154" y="0"/>
                    <a:pt x="167" y="2"/>
                    <a:pt x="179" y="2"/>
                  </a:cubicBezTo>
                  <a:cubicBezTo>
                    <a:pt x="181" y="8"/>
                    <a:pt x="182" y="11"/>
                    <a:pt x="183" y="14"/>
                  </a:cubicBezTo>
                  <a:cubicBezTo>
                    <a:pt x="192" y="55"/>
                    <a:pt x="193" y="55"/>
                    <a:pt x="230" y="35"/>
                  </a:cubicBezTo>
                  <a:cubicBezTo>
                    <a:pt x="249" y="25"/>
                    <a:pt x="255" y="43"/>
                    <a:pt x="264" y="51"/>
                  </a:cubicBezTo>
                  <a:cubicBezTo>
                    <a:pt x="273" y="58"/>
                    <a:pt x="282" y="67"/>
                    <a:pt x="272" y="82"/>
                  </a:cubicBezTo>
                  <a:cubicBezTo>
                    <a:pt x="250" y="112"/>
                    <a:pt x="254" y="118"/>
                    <a:pt x="291" y="127"/>
                  </a:cubicBezTo>
                  <a:cubicBezTo>
                    <a:pt x="297" y="129"/>
                    <a:pt x="305" y="138"/>
                    <a:pt x="307" y="144"/>
                  </a:cubicBezTo>
                  <a:cubicBezTo>
                    <a:pt x="309" y="156"/>
                    <a:pt x="307" y="169"/>
                    <a:pt x="307" y="180"/>
                  </a:cubicBezTo>
                  <a:cubicBezTo>
                    <a:pt x="252" y="201"/>
                    <a:pt x="252" y="201"/>
                    <a:pt x="281" y="244"/>
                  </a:cubicBezTo>
                  <a:close/>
                  <a:moveTo>
                    <a:pt x="153" y="94"/>
                  </a:moveTo>
                  <a:cubicBezTo>
                    <a:pt x="118" y="94"/>
                    <a:pt x="92" y="121"/>
                    <a:pt x="91" y="155"/>
                  </a:cubicBezTo>
                  <a:cubicBezTo>
                    <a:pt x="91" y="191"/>
                    <a:pt x="119" y="218"/>
                    <a:pt x="154" y="218"/>
                  </a:cubicBezTo>
                  <a:cubicBezTo>
                    <a:pt x="188" y="217"/>
                    <a:pt x="216" y="190"/>
                    <a:pt x="217" y="156"/>
                  </a:cubicBezTo>
                  <a:cubicBezTo>
                    <a:pt x="217" y="122"/>
                    <a:pt x="188" y="93"/>
                    <a:pt x="153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1">
              <a:extLst>
                <a:ext uri="{FF2B5EF4-FFF2-40B4-BE49-F238E27FC236}">
                  <a16:creationId xmlns:a16="http://schemas.microsoft.com/office/drawing/2014/main" id="{E51ACE7D-4CFB-4CF6-A6CC-82FBA2A864E1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500239" y="4894185"/>
              <a:ext cx="156003" cy="160908"/>
            </a:xfrm>
            <a:custGeom>
              <a:avLst/>
              <a:gdLst>
                <a:gd name="T0" fmla="*/ 31 w 183"/>
                <a:gd name="T1" fmla="*/ 23 h 189"/>
                <a:gd name="T2" fmla="*/ 80 w 183"/>
                <a:gd name="T3" fmla="*/ 24 h 189"/>
                <a:gd name="T4" fmla="*/ 105 w 183"/>
                <a:gd name="T5" fmla="*/ 23 h 189"/>
                <a:gd name="T6" fmla="*/ 122 w 183"/>
                <a:gd name="T7" fmla="*/ 5 h 189"/>
                <a:gd name="T8" fmla="*/ 151 w 183"/>
                <a:gd name="T9" fmla="*/ 21 h 189"/>
                <a:gd name="T10" fmla="*/ 147 w 183"/>
                <a:gd name="T11" fmla="*/ 38 h 189"/>
                <a:gd name="T12" fmla="*/ 166 w 183"/>
                <a:gd name="T13" fmla="*/ 72 h 189"/>
                <a:gd name="T14" fmla="*/ 182 w 183"/>
                <a:gd name="T15" fmla="*/ 91 h 189"/>
                <a:gd name="T16" fmla="*/ 170 w 183"/>
                <a:gd name="T17" fmla="*/ 112 h 189"/>
                <a:gd name="T18" fmla="*/ 149 w 183"/>
                <a:gd name="T19" fmla="*/ 152 h 189"/>
                <a:gd name="T20" fmla="*/ 151 w 183"/>
                <a:gd name="T21" fmla="*/ 163 h 189"/>
                <a:gd name="T22" fmla="*/ 119 w 183"/>
                <a:gd name="T23" fmla="*/ 183 h 189"/>
                <a:gd name="T24" fmla="*/ 110 w 183"/>
                <a:gd name="T25" fmla="*/ 167 h 189"/>
                <a:gd name="T26" fmla="*/ 74 w 183"/>
                <a:gd name="T27" fmla="*/ 166 h 189"/>
                <a:gd name="T28" fmla="*/ 32 w 183"/>
                <a:gd name="T29" fmla="*/ 163 h 189"/>
                <a:gd name="T30" fmla="*/ 35 w 183"/>
                <a:gd name="T31" fmla="*/ 149 h 189"/>
                <a:gd name="T32" fmla="*/ 15 w 183"/>
                <a:gd name="T33" fmla="*/ 112 h 189"/>
                <a:gd name="T34" fmla="*/ 1 w 183"/>
                <a:gd name="T35" fmla="*/ 91 h 189"/>
                <a:gd name="T36" fmla="*/ 14 w 183"/>
                <a:gd name="T37" fmla="*/ 72 h 189"/>
                <a:gd name="T38" fmla="*/ 35 w 183"/>
                <a:gd name="T39" fmla="*/ 34 h 189"/>
                <a:gd name="T40" fmla="*/ 31 w 183"/>
                <a:gd name="T41" fmla="*/ 23 h 189"/>
                <a:gd name="T42" fmla="*/ 90 w 183"/>
                <a:gd name="T43" fmla="*/ 124 h 189"/>
                <a:gd name="T44" fmla="*/ 123 w 183"/>
                <a:gd name="T45" fmla="*/ 93 h 189"/>
                <a:gd name="T46" fmla="*/ 92 w 183"/>
                <a:gd name="T47" fmla="*/ 61 h 189"/>
                <a:gd name="T48" fmla="*/ 61 w 183"/>
                <a:gd name="T49" fmla="*/ 92 h 189"/>
                <a:gd name="T50" fmla="*/ 90 w 183"/>
                <a:gd name="T51" fmla="*/ 12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89">
                  <a:moveTo>
                    <a:pt x="31" y="23"/>
                  </a:moveTo>
                  <a:cubicBezTo>
                    <a:pt x="49" y="7"/>
                    <a:pt x="64" y="0"/>
                    <a:pt x="80" y="24"/>
                  </a:cubicBezTo>
                  <a:cubicBezTo>
                    <a:pt x="82" y="28"/>
                    <a:pt x="98" y="26"/>
                    <a:pt x="105" y="23"/>
                  </a:cubicBezTo>
                  <a:cubicBezTo>
                    <a:pt x="112" y="20"/>
                    <a:pt x="116" y="12"/>
                    <a:pt x="122" y="5"/>
                  </a:cubicBezTo>
                  <a:cubicBezTo>
                    <a:pt x="132" y="10"/>
                    <a:pt x="141" y="15"/>
                    <a:pt x="151" y="21"/>
                  </a:cubicBezTo>
                  <a:cubicBezTo>
                    <a:pt x="150" y="27"/>
                    <a:pt x="149" y="33"/>
                    <a:pt x="147" y="38"/>
                  </a:cubicBezTo>
                  <a:cubicBezTo>
                    <a:pt x="138" y="58"/>
                    <a:pt x="142" y="69"/>
                    <a:pt x="166" y="72"/>
                  </a:cubicBezTo>
                  <a:cubicBezTo>
                    <a:pt x="172" y="73"/>
                    <a:pt x="181" y="84"/>
                    <a:pt x="182" y="91"/>
                  </a:cubicBezTo>
                  <a:cubicBezTo>
                    <a:pt x="183" y="98"/>
                    <a:pt x="175" y="111"/>
                    <a:pt x="170" y="112"/>
                  </a:cubicBezTo>
                  <a:cubicBezTo>
                    <a:pt x="140" y="114"/>
                    <a:pt x="137" y="128"/>
                    <a:pt x="149" y="152"/>
                  </a:cubicBezTo>
                  <a:cubicBezTo>
                    <a:pt x="151" y="155"/>
                    <a:pt x="150" y="158"/>
                    <a:pt x="151" y="163"/>
                  </a:cubicBezTo>
                  <a:cubicBezTo>
                    <a:pt x="142" y="168"/>
                    <a:pt x="133" y="174"/>
                    <a:pt x="119" y="183"/>
                  </a:cubicBezTo>
                  <a:cubicBezTo>
                    <a:pt x="116" y="178"/>
                    <a:pt x="113" y="172"/>
                    <a:pt x="110" y="167"/>
                  </a:cubicBezTo>
                  <a:cubicBezTo>
                    <a:pt x="99" y="150"/>
                    <a:pt x="87" y="146"/>
                    <a:pt x="74" y="166"/>
                  </a:cubicBezTo>
                  <a:cubicBezTo>
                    <a:pt x="59" y="189"/>
                    <a:pt x="47" y="171"/>
                    <a:pt x="32" y="163"/>
                  </a:cubicBezTo>
                  <a:cubicBezTo>
                    <a:pt x="33" y="158"/>
                    <a:pt x="33" y="153"/>
                    <a:pt x="35" y="149"/>
                  </a:cubicBezTo>
                  <a:cubicBezTo>
                    <a:pt x="46" y="127"/>
                    <a:pt x="42" y="115"/>
                    <a:pt x="15" y="112"/>
                  </a:cubicBezTo>
                  <a:cubicBezTo>
                    <a:pt x="9" y="111"/>
                    <a:pt x="1" y="99"/>
                    <a:pt x="1" y="91"/>
                  </a:cubicBezTo>
                  <a:cubicBezTo>
                    <a:pt x="0" y="85"/>
                    <a:pt x="8" y="74"/>
                    <a:pt x="14" y="72"/>
                  </a:cubicBezTo>
                  <a:cubicBezTo>
                    <a:pt x="45" y="63"/>
                    <a:pt x="45" y="63"/>
                    <a:pt x="35" y="34"/>
                  </a:cubicBezTo>
                  <a:cubicBezTo>
                    <a:pt x="34" y="31"/>
                    <a:pt x="32" y="27"/>
                    <a:pt x="31" y="23"/>
                  </a:cubicBezTo>
                  <a:close/>
                  <a:moveTo>
                    <a:pt x="90" y="124"/>
                  </a:moveTo>
                  <a:cubicBezTo>
                    <a:pt x="111" y="123"/>
                    <a:pt x="123" y="111"/>
                    <a:pt x="123" y="93"/>
                  </a:cubicBezTo>
                  <a:cubicBezTo>
                    <a:pt x="123" y="75"/>
                    <a:pt x="112" y="61"/>
                    <a:pt x="92" y="61"/>
                  </a:cubicBezTo>
                  <a:cubicBezTo>
                    <a:pt x="73" y="61"/>
                    <a:pt x="61" y="72"/>
                    <a:pt x="61" y="92"/>
                  </a:cubicBezTo>
                  <a:cubicBezTo>
                    <a:pt x="60" y="112"/>
                    <a:pt x="73" y="121"/>
                    <a:pt x="9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5" name="Hexagon 10">
            <a:extLst>
              <a:ext uri="{FF2B5EF4-FFF2-40B4-BE49-F238E27FC236}">
                <a16:creationId xmlns:a16="http://schemas.microsoft.com/office/drawing/2014/main" id="{DCF68ADB-723A-4B13-8EFF-94D2B53BA5DA}"/>
              </a:ext>
            </a:extLst>
          </p:cNvPr>
          <p:cNvSpPr/>
          <p:nvPr/>
        </p:nvSpPr>
        <p:spPr bwMode="gray">
          <a:xfrm rot="5400000">
            <a:off x="9079574" y="2557724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algn="ctr">
            <a:solidFill>
              <a:schemeClr val="bg1">
                <a:lumMod val="95000"/>
              </a:schemeClr>
            </a:solidFill>
            <a:miter lim="800000"/>
            <a:headEnd type="triangle" w="lg" len="lg"/>
            <a:tailEnd type="oval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7" name="Hexagon 166">
            <a:extLst>
              <a:ext uri="{FF2B5EF4-FFF2-40B4-BE49-F238E27FC236}">
                <a16:creationId xmlns:a16="http://schemas.microsoft.com/office/drawing/2014/main" id="{9D191618-1FF0-46D5-93C3-DDDC4600E638}"/>
              </a:ext>
            </a:extLst>
          </p:cNvPr>
          <p:cNvSpPr>
            <a:spLocks/>
          </p:cNvSpPr>
          <p:nvPr/>
        </p:nvSpPr>
        <p:spPr bwMode="gray">
          <a:xfrm rot="16200000">
            <a:off x="9182419" y="2654941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8DCE2D32-B8B5-4654-99AD-E94400E0EF25}"/>
              </a:ext>
            </a:extLst>
          </p:cNvPr>
          <p:cNvSpPr/>
          <p:nvPr/>
        </p:nvSpPr>
        <p:spPr>
          <a:xfrm>
            <a:off x="8600908" y="1973210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Hypercare</a:t>
            </a:r>
          </a:p>
        </p:txBody>
      </p:sp>
      <p:sp>
        <p:nvSpPr>
          <p:cNvPr id="169" name="Hexagon 58">
            <a:extLst>
              <a:ext uri="{FF2B5EF4-FFF2-40B4-BE49-F238E27FC236}">
                <a16:creationId xmlns:a16="http://schemas.microsoft.com/office/drawing/2014/main" id="{453C550F-D9C9-4CEA-B19A-59C0460AB968}"/>
              </a:ext>
            </a:extLst>
          </p:cNvPr>
          <p:cNvSpPr/>
          <p:nvPr/>
        </p:nvSpPr>
        <p:spPr bwMode="gray">
          <a:xfrm rot="16200000">
            <a:off x="9583252" y="3196898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2" name="Hexagon 10">
            <a:extLst>
              <a:ext uri="{FF2B5EF4-FFF2-40B4-BE49-F238E27FC236}">
                <a16:creationId xmlns:a16="http://schemas.microsoft.com/office/drawing/2014/main" id="{085F6FA3-FC39-4CA4-B0E7-2AFCD3EC5C68}"/>
              </a:ext>
            </a:extLst>
          </p:cNvPr>
          <p:cNvSpPr/>
          <p:nvPr/>
        </p:nvSpPr>
        <p:spPr bwMode="gray">
          <a:xfrm rot="5400000" flipH="1">
            <a:off x="10400475" y="3229559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3" name="Hexagon 172">
            <a:extLst>
              <a:ext uri="{FF2B5EF4-FFF2-40B4-BE49-F238E27FC236}">
                <a16:creationId xmlns:a16="http://schemas.microsoft.com/office/drawing/2014/main" id="{22B2AE2B-9013-452F-919C-0A66149F5786}"/>
              </a:ext>
            </a:extLst>
          </p:cNvPr>
          <p:cNvSpPr>
            <a:spLocks/>
          </p:cNvSpPr>
          <p:nvPr/>
        </p:nvSpPr>
        <p:spPr bwMode="gray">
          <a:xfrm rot="16200000">
            <a:off x="10503320" y="3326775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320661B5-C1CF-4853-80C8-72603F7F8B79}"/>
              </a:ext>
            </a:extLst>
          </p:cNvPr>
          <p:cNvSpPr/>
          <p:nvPr/>
        </p:nvSpPr>
        <p:spPr>
          <a:xfrm>
            <a:off x="9940333" y="2552898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Operations</a:t>
            </a:r>
          </a:p>
        </p:txBody>
      </p:sp>
      <p:sp>
        <p:nvSpPr>
          <p:cNvPr id="175" name="Hexagon 58">
            <a:extLst>
              <a:ext uri="{FF2B5EF4-FFF2-40B4-BE49-F238E27FC236}">
                <a16:creationId xmlns:a16="http://schemas.microsoft.com/office/drawing/2014/main" id="{A4D47BB2-4013-497C-8AB1-7086DB1EC0FD}"/>
              </a:ext>
            </a:extLst>
          </p:cNvPr>
          <p:cNvSpPr/>
          <p:nvPr/>
        </p:nvSpPr>
        <p:spPr bwMode="gray">
          <a:xfrm rot="5400000" flipV="1">
            <a:off x="10892776" y="2549859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chemeClr val="bg1">
                <a:lumMod val="95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9" name="Hexagon 10">
            <a:extLst>
              <a:ext uri="{FF2B5EF4-FFF2-40B4-BE49-F238E27FC236}">
                <a16:creationId xmlns:a16="http://schemas.microsoft.com/office/drawing/2014/main" id="{B3938266-53D7-4D07-906D-7DAA1023A386}"/>
              </a:ext>
            </a:extLst>
          </p:cNvPr>
          <p:cNvSpPr/>
          <p:nvPr/>
        </p:nvSpPr>
        <p:spPr bwMode="gray">
          <a:xfrm rot="5400000" flipH="1">
            <a:off x="-88454" y="3238488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80" name="Hexagon 179">
            <a:extLst>
              <a:ext uri="{FF2B5EF4-FFF2-40B4-BE49-F238E27FC236}">
                <a16:creationId xmlns:a16="http://schemas.microsoft.com/office/drawing/2014/main" id="{93F0EBC2-A1DE-4B8A-AFB6-6889D99719A2}"/>
              </a:ext>
            </a:extLst>
          </p:cNvPr>
          <p:cNvSpPr/>
          <p:nvPr/>
        </p:nvSpPr>
        <p:spPr bwMode="gray">
          <a:xfrm rot="16200000">
            <a:off x="14391" y="3335704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1561F5F4-EEEE-4BB5-9EBB-707987FDC6E2}"/>
              </a:ext>
            </a:extLst>
          </p:cNvPr>
          <p:cNvSpPr/>
          <p:nvPr/>
        </p:nvSpPr>
        <p:spPr>
          <a:xfrm>
            <a:off x="-578004" y="4666504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Ideation</a:t>
            </a:r>
          </a:p>
        </p:txBody>
      </p:sp>
      <p:sp>
        <p:nvSpPr>
          <p:cNvPr id="220" name="Hexagon 58">
            <a:extLst>
              <a:ext uri="{FF2B5EF4-FFF2-40B4-BE49-F238E27FC236}">
                <a16:creationId xmlns:a16="http://schemas.microsoft.com/office/drawing/2014/main" id="{EA214D44-B40B-41E9-944D-EED772E61818}"/>
              </a:ext>
            </a:extLst>
          </p:cNvPr>
          <p:cNvSpPr/>
          <p:nvPr/>
        </p:nvSpPr>
        <p:spPr bwMode="gray">
          <a:xfrm rot="5400000" flipV="1">
            <a:off x="403847" y="2558788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chemeClr val="bg1">
                <a:lumMod val="95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0C4A3CE7-3E47-4D39-BE34-2892F9BDF2B6}"/>
              </a:ext>
            </a:extLst>
          </p:cNvPr>
          <p:cNvCxnSpPr>
            <a:cxnSpLocks/>
          </p:cNvCxnSpPr>
          <p:nvPr/>
        </p:nvCxnSpPr>
        <p:spPr>
          <a:xfrm flipH="1">
            <a:off x="546551" y="4480396"/>
            <a:ext cx="577" cy="16685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A05310CD-8A79-414D-ADDC-0981DD2A5EE5}"/>
              </a:ext>
            </a:extLst>
          </p:cNvPr>
          <p:cNvCxnSpPr>
            <a:cxnSpLocks/>
          </p:cNvCxnSpPr>
          <p:nvPr/>
        </p:nvCxnSpPr>
        <p:spPr>
          <a:xfrm flipH="1" flipV="1">
            <a:off x="9727480" y="2303760"/>
            <a:ext cx="577" cy="199404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305C879B-8B4E-4D1B-B905-BBE9846022C8}"/>
              </a:ext>
            </a:extLst>
          </p:cNvPr>
          <p:cNvCxnSpPr>
            <a:cxnSpLocks/>
          </p:cNvCxnSpPr>
          <p:nvPr/>
        </p:nvCxnSpPr>
        <p:spPr>
          <a:xfrm flipH="1" flipV="1">
            <a:off x="11036877" y="2820014"/>
            <a:ext cx="577" cy="199404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486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91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Rectangle 222">
            <a:extLst>
              <a:ext uri="{FF2B5EF4-FFF2-40B4-BE49-F238E27FC236}">
                <a16:creationId xmlns:a16="http://schemas.microsoft.com/office/drawing/2014/main" id="{8B6B9760-78C2-4147-8AD6-E3414895B3F9}"/>
              </a:ext>
            </a:extLst>
          </p:cNvPr>
          <p:cNvSpPr>
            <a:spLocks/>
          </p:cNvSpPr>
          <p:nvPr/>
        </p:nvSpPr>
        <p:spPr bwMode="gray">
          <a:xfrm>
            <a:off x="11036094" y="2132428"/>
            <a:ext cx="724264" cy="905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1A246C2-7891-4153-8173-AB72BCCBDA2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1" y="1138299"/>
            <a:ext cx="8600936" cy="334028"/>
          </a:xfrm>
        </p:spPr>
        <p:txBody>
          <a:bodyPr/>
          <a:lstStyle/>
          <a:p>
            <a:endParaRPr lang="de-DE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Holmes Development Lifecycle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C2AF88E-1B69-45F8-8E85-6207ADFDF830}"/>
              </a:ext>
            </a:extLst>
          </p:cNvPr>
          <p:cNvGrpSpPr/>
          <p:nvPr/>
        </p:nvGrpSpPr>
        <p:grpSpPr>
          <a:xfrm>
            <a:off x="1251012" y="2500956"/>
            <a:ext cx="6454593" cy="1974396"/>
            <a:chOff x="751586" y="2271014"/>
            <a:chExt cx="6609396" cy="2121408"/>
          </a:xfrm>
        </p:grpSpPr>
        <p:sp>
          <p:nvSpPr>
            <p:cNvPr id="197" name="Hexagon 10">
              <a:extLst>
                <a:ext uri="{FF2B5EF4-FFF2-40B4-BE49-F238E27FC236}">
                  <a16:creationId xmlns:a16="http://schemas.microsoft.com/office/drawing/2014/main" id="{33B4A255-A42A-47E5-BBF8-450FEC78C35C}"/>
                </a:ext>
              </a:extLst>
            </p:cNvPr>
            <p:cNvSpPr/>
            <p:nvPr/>
          </p:nvSpPr>
          <p:spPr bwMode="gray">
            <a:xfrm rot="5400000">
              <a:off x="658336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accent1"/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8" name="Hexagon 10">
              <a:extLst>
                <a:ext uri="{FF2B5EF4-FFF2-40B4-BE49-F238E27FC236}">
                  <a16:creationId xmlns:a16="http://schemas.microsoft.com/office/drawing/2014/main" id="{4FD3C07C-4B78-484D-9648-55078F5DE087}"/>
                </a:ext>
              </a:extLst>
            </p:cNvPr>
            <p:cNvSpPr/>
            <p:nvPr/>
          </p:nvSpPr>
          <p:spPr bwMode="gray">
            <a:xfrm rot="5400000" flipH="1">
              <a:off x="2015648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accent2"/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9" name="Hexagon 10">
              <a:extLst>
                <a:ext uri="{FF2B5EF4-FFF2-40B4-BE49-F238E27FC236}">
                  <a16:creationId xmlns:a16="http://schemas.microsoft.com/office/drawing/2014/main" id="{2CBD80C7-DE19-41BB-9401-273E837E419D}"/>
                </a:ext>
              </a:extLst>
            </p:cNvPr>
            <p:cNvSpPr/>
            <p:nvPr/>
          </p:nvSpPr>
          <p:spPr bwMode="gray">
            <a:xfrm rot="5400000">
              <a:off x="3349148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0" name="Hexagon 10">
              <a:extLst>
                <a:ext uri="{FF2B5EF4-FFF2-40B4-BE49-F238E27FC236}">
                  <a16:creationId xmlns:a16="http://schemas.microsoft.com/office/drawing/2014/main" id="{A53386E8-9D04-4401-84C1-CE8DB86499D4}"/>
                </a:ext>
              </a:extLst>
            </p:cNvPr>
            <p:cNvSpPr/>
            <p:nvPr/>
          </p:nvSpPr>
          <p:spPr bwMode="gray">
            <a:xfrm rot="5400000" flipH="1">
              <a:off x="4706460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1" name="Hexagon 10">
              <a:extLst>
                <a:ext uri="{FF2B5EF4-FFF2-40B4-BE49-F238E27FC236}">
                  <a16:creationId xmlns:a16="http://schemas.microsoft.com/office/drawing/2014/main" id="{60153D2B-67A4-4BD9-9702-351AD78AD926}"/>
                </a:ext>
              </a:extLst>
            </p:cNvPr>
            <p:cNvSpPr/>
            <p:nvPr/>
          </p:nvSpPr>
          <p:spPr bwMode="gray">
            <a:xfrm rot="5400000">
              <a:off x="6039960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02" name="Hexagon 201">
            <a:extLst>
              <a:ext uri="{FF2B5EF4-FFF2-40B4-BE49-F238E27FC236}">
                <a16:creationId xmlns:a16="http://schemas.microsoft.com/office/drawing/2014/main" id="{02218789-BB2C-4DF6-8226-EB9DB14783D6}"/>
              </a:ext>
            </a:extLst>
          </p:cNvPr>
          <p:cNvSpPr/>
          <p:nvPr/>
        </p:nvSpPr>
        <p:spPr bwMode="gray">
          <a:xfrm rot="16200000">
            <a:off x="1290471" y="2661334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3" name="Hexagon 202">
            <a:extLst>
              <a:ext uri="{FF2B5EF4-FFF2-40B4-BE49-F238E27FC236}">
                <a16:creationId xmlns:a16="http://schemas.microsoft.com/office/drawing/2014/main" id="{574A566D-36B0-4C0D-8434-34E020E4CD2C}"/>
              </a:ext>
            </a:extLst>
          </p:cNvPr>
          <p:cNvSpPr/>
          <p:nvPr/>
        </p:nvSpPr>
        <p:spPr bwMode="gray">
          <a:xfrm rot="16200000">
            <a:off x="2620754" y="3314928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4" name="Hexagon 203">
            <a:extLst>
              <a:ext uri="{FF2B5EF4-FFF2-40B4-BE49-F238E27FC236}">
                <a16:creationId xmlns:a16="http://schemas.microsoft.com/office/drawing/2014/main" id="{C87EE9CE-0A39-42B6-9AE6-CFFD383404CE}"/>
              </a:ext>
            </a:extLst>
          </p:cNvPr>
          <p:cNvSpPr>
            <a:spLocks/>
          </p:cNvSpPr>
          <p:nvPr/>
        </p:nvSpPr>
        <p:spPr bwMode="gray">
          <a:xfrm rot="16200000">
            <a:off x="3923021" y="2656796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5" name="Hexagon 204">
            <a:extLst>
              <a:ext uri="{FF2B5EF4-FFF2-40B4-BE49-F238E27FC236}">
                <a16:creationId xmlns:a16="http://schemas.microsoft.com/office/drawing/2014/main" id="{E1792963-3546-4BFD-8D1A-BA34CA47745D}"/>
              </a:ext>
            </a:extLst>
          </p:cNvPr>
          <p:cNvSpPr>
            <a:spLocks/>
          </p:cNvSpPr>
          <p:nvPr/>
        </p:nvSpPr>
        <p:spPr bwMode="gray">
          <a:xfrm rot="16200000">
            <a:off x="5248543" y="3314928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6" name="Hexagon 205">
            <a:extLst>
              <a:ext uri="{FF2B5EF4-FFF2-40B4-BE49-F238E27FC236}">
                <a16:creationId xmlns:a16="http://schemas.microsoft.com/office/drawing/2014/main" id="{4B3C7CAF-5C5E-47C4-8C7B-72CDF41A670A}"/>
              </a:ext>
            </a:extLst>
          </p:cNvPr>
          <p:cNvSpPr>
            <a:spLocks/>
          </p:cNvSpPr>
          <p:nvPr/>
        </p:nvSpPr>
        <p:spPr bwMode="gray">
          <a:xfrm rot="16200000">
            <a:off x="6550810" y="2656797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BE75C26D-288F-4048-BAF5-13CDAB244A66}"/>
              </a:ext>
            </a:extLst>
          </p:cNvPr>
          <p:cNvGrpSpPr/>
          <p:nvPr/>
        </p:nvGrpSpPr>
        <p:grpSpPr>
          <a:xfrm>
            <a:off x="1840997" y="2306089"/>
            <a:ext cx="5266309" cy="199404"/>
            <a:chOff x="1425933" y="1146206"/>
            <a:chExt cx="6282218" cy="1374704"/>
          </a:xfrm>
        </p:grpSpPr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71F48747-AE2E-45BD-9F8C-8099EA6125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5933" y="1146206"/>
              <a:ext cx="688" cy="1374704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2CBEF1FD-75A0-43E4-8BC3-0E04C7EB8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66698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D8F66EB9-E612-4CDF-B613-F04B582CBF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07463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9089C857-37A3-4736-929C-6D0D47610D60}"/>
              </a:ext>
            </a:extLst>
          </p:cNvPr>
          <p:cNvGrpSpPr/>
          <p:nvPr/>
        </p:nvGrpSpPr>
        <p:grpSpPr>
          <a:xfrm>
            <a:off x="3171428" y="4480396"/>
            <a:ext cx="2623921" cy="166857"/>
            <a:chOff x="3013013" y="5005847"/>
            <a:chExt cx="3130094" cy="938942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097C9AE1-C019-4ECF-9A3D-A604F9CA8C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2419" y="5005849"/>
              <a:ext cx="688" cy="93894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C355E85-2FD9-401F-AF69-354C5EE8C0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3013" y="5005847"/>
              <a:ext cx="688" cy="938939"/>
            </a:xfrm>
            <a:prstGeom prst="line">
              <a:avLst/>
            </a:prstGeom>
            <a:ln>
              <a:solidFill>
                <a:schemeClr val="accent2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1DB6B88C-ECB5-4448-BD58-2C51BDCEE0A5}"/>
              </a:ext>
            </a:extLst>
          </p:cNvPr>
          <p:cNvSpPr/>
          <p:nvPr/>
        </p:nvSpPr>
        <p:spPr>
          <a:xfrm>
            <a:off x="1130630" y="1975066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Planning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5ECADE8-3103-4B20-BA19-0554069258A4}"/>
              </a:ext>
            </a:extLst>
          </p:cNvPr>
          <p:cNvSpPr/>
          <p:nvPr/>
        </p:nvSpPr>
        <p:spPr>
          <a:xfrm>
            <a:off x="3878800" y="1975066"/>
            <a:ext cx="119901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Modelling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06935711-88E4-4E58-B4C9-4F9FF8B6A7E7}"/>
              </a:ext>
            </a:extLst>
          </p:cNvPr>
          <p:cNvSpPr/>
          <p:nvPr/>
        </p:nvSpPr>
        <p:spPr>
          <a:xfrm>
            <a:off x="5969299" y="1975066"/>
            <a:ext cx="230344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Validation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D0E0F0B-E0A5-4F35-8CFB-F5AB6D6FB554}"/>
              </a:ext>
            </a:extLst>
          </p:cNvPr>
          <p:cNvSpPr/>
          <p:nvPr/>
        </p:nvSpPr>
        <p:spPr>
          <a:xfrm>
            <a:off x="2450028" y="4645728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Explor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1EA8D65-1C1C-4350-95E1-07A4491AF15C}"/>
              </a:ext>
            </a:extLst>
          </p:cNvPr>
          <p:cNvSpPr/>
          <p:nvPr/>
        </p:nvSpPr>
        <p:spPr>
          <a:xfrm>
            <a:off x="4656148" y="4645728"/>
            <a:ext cx="230344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Engineering</a:t>
            </a:r>
          </a:p>
        </p:txBody>
      </p:sp>
      <p:sp>
        <p:nvSpPr>
          <p:cNvPr id="226" name="Hexagon 58">
            <a:extLst>
              <a:ext uri="{FF2B5EF4-FFF2-40B4-BE49-F238E27FC236}">
                <a16:creationId xmlns:a16="http://schemas.microsoft.com/office/drawing/2014/main" id="{4608056B-4104-4663-94D5-07B238D0A2C6}"/>
              </a:ext>
            </a:extLst>
          </p:cNvPr>
          <p:cNvSpPr/>
          <p:nvPr/>
        </p:nvSpPr>
        <p:spPr bwMode="gray">
          <a:xfrm rot="16200000">
            <a:off x="1705714" y="3207830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7" name="Hexagon 58">
            <a:extLst>
              <a:ext uri="{FF2B5EF4-FFF2-40B4-BE49-F238E27FC236}">
                <a16:creationId xmlns:a16="http://schemas.microsoft.com/office/drawing/2014/main" id="{7FEDA1E9-9025-4222-8B3E-007DABE933E3}"/>
              </a:ext>
            </a:extLst>
          </p:cNvPr>
          <p:cNvSpPr/>
          <p:nvPr/>
        </p:nvSpPr>
        <p:spPr bwMode="gray">
          <a:xfrm rot="16200000">
            <a:off x="4328679" y="320329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8" name="Hexagon 58">
            <a:extLst>
              <a:ext uri="{FF2B5EF4-FFF2-40B4-BE49-F238E27FC236}">
                <a16:creationId xmlns:a16="http://schemas.microsoft.com/office/drawing/2014/main" id="{341DB174-C2B6-4609-9BEA-1A41A014DFF6}"/>
              </a:ext>
            </a:extLst>
          </p:cNvPr>
          <p:cNvSpPr/>
          <p:nvPr/>
        </p:nvSpPr>
        <p:spPr bwMode="gray">
          <a:xfrm rot="16200000">
            <a:off x="6951643" y="319875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9" name="Hexagon 58">
            <a:extLst>
              <a:ext uri="{FF2B5EF4-FFF2-40B4-BE49-F238E27FC236}">
                <a16:creationId xmlns:a16="http://schemas.microsoft.com/office/drawing/2014/main" id="{F2AE54A5-748B-45B5-8772-7F29C09500DB}"/>
              </a:ext>
            </a:extLst>
          </p:cNvPr>
          <p:cNvSpPr/>
          <p:nvPr/>
        </p:nvSpPr>
        <p:spPr bwMode="gray">
          <a:xfrm rot="5400000" flipV="1">
            <a:off x="5637999" y="253801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0" name="Hexagon 58">
            <a:extLst>
              <a:ext uri="{FF2B5EF4-FFF2-40B4-BE49-F238E27FC236}">
                <a16:creationId xmlns:a16="http://schemas.microsoft.com/office/drawing/2014/main" id="{71248B5A-4534-4A22-B526-3476100187D4}"/>
              </a:ext>
            </a:extLst>
          </p:cNvPr>
          <p:cNvSpPr/>
          <p:nvPr/>
        </p:nvSpPr>
        <p:spPr bwMode="gray">
          <a:xfrm rot="5400000" flipV="1">
            <a:off x="3029004" y="255131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1" name="Hexagon 10">
            <a:extLst>
              <a:ext uri="{FF2B5EF4-FFF2-40B4-BE49-F238E27FC236}">
                <a16:creationId xmlns:a16="http://schemas.microsoft.com/office/drawing/2014/main" id="{CC251BAF-13A4-4ECA-A47E-A0853474ED72}"/>
              </a:ext>
            </a:extLst>
          </p:cNvPr>
          <p:cNvSpPr/>
          <p:nvPr/>
        </p:nvSpPr>
        <p:spPr bwMode="gray">
          <a:xfrm rot="5400000" flipH="1">
            <a:off x="7768866" y="3231415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2" name="Hexagon 231">
            <a:extLst>
              <a:ext uri="{FF2B5EF4-FFF2-40B4-BE49-F238E27FC236}">
                <a16:creationId xmlns:a16="http://schemas.microsoft.com/office/drawing/2014/main" id="{2EF3E5C7-1C8A-47E8-8105-E633AC406B0F}"/>
              </a:ext>
            </a:extLst>
          </p:cNvPr>
          <p:cNvSpPr/>
          <p:nvPr/>
        </p:nvSpPr>
        <p:spPr bwMode="gray">
          <a:xfrm rot="16200000">
            <a:off x="7871711" y="3328631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F6ADF69-A80C-40A4-9F54-E20D16DB37A7}"/>
              </a:ext>
            </a:extLst>
          </p:cNvPr>
          <p:cNvSpPr/>
          <p:nvPr/>
        </p:nvSpPr>
        <p:spPr>
          <a:xfrm>
            <a:off x="7279316" y="4659431"/>
            <a:ext cx="230344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Deployment</a:t>
            </a:r>
          </a:p>
        </p:txBody>
      </p:sp>
      <p:sp>
        <p:nvSpPr>
          <p:cNvPr id="236" name="Hexagon 58">
            <a:extLst>
              <a:ext uri="{FF2B5EF4-FFF2-40B4-BE49-F238E27FC236}">
                <a16:creationId xmlns:a16="http://schemas.microsoft.com/office/drawing/2014/main" id="{47E1E454-6BC6-4FE5-A45F-0AAE081AFE7A}"/>
              </a:ext>
            </a:extLst>
          </p:cNvPr>
          <p:cNvSpPr/>
          <p:nvPr/>
        </p:nvSpPr>
        <p:spPr bwMode="gray">
          <a:xfrm rot="5400000" flipV="1">
            <a:off x="8261167" y="2551715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0AD7F1F-DECA-4AA0-953E-372CA19338A9}"/>
              </a:ext>
            </a:extLst>
          </p:cNvPr>
          <p:cNvCxnSpPr>
            <a:cxnSpLocks/>
          </p:cNvCxnSpPr>
          <p:nvPr/>
        </p:nvCxnSpPr>
        <p:spPr>
          <a:xfrm flipH="1">
            <a:off x="8425800" y="4480396"/>
            <a:ext cx="577" cy="16685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myP_Server">
            <a:extLst>
              <a:ext uri="{FF2B5EF4-FFF2-40B4-BE49-F238E27FC236}">
                <a16:creationId xmlns:a16="http://schemas.microsoft.com/office/drawing/2014/main" id="{9B40E6A5-1B02-42DD-9A18-9A5F72D94E4A}"/>
              </a:ext>
            </a:extLst>
          </p:cNvPr>
          <p:cNvGrpSpPr/>
          <p:nvPr/>
        </p:nvGrpSpPr>
        <p:grpSpPr>
          <a:xfrm>
            <a:off x="3030897" y="3670257"/>
            <a:ext cx="355758" cy="354868"/>
            <a:chOff x="4972448" y="2995216"/>
            <a:chExt cx="533564" cy="532230"/>
          </a:xfrm>
          <a:solidFill>
            <a:schemeClr val="tx1"/>
          </a:solidFill>
        </p:grpSpPr>
        <p:sp>
          <p:nvSpPr>
            <p:cNvPr id="98" name="Freeform 619">
              <a:extLst>
                <a:ext uri="{FF2B5EF4-FFF2-40B4-BE49-F238E27FC236}">
                  <a16:creationId xmlns:a16="http://schemas.microsoft.com/office/drawing/2014/main" id="{075E3DA4-0DFF-4CFA-A8A9-971D98F0E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448" y="2995216"/>
              <a:ext cx="344149" cy="125387"/>
            </a:xfrm>
            <a:custGeom>
              <a:avLst/>
              <a:gdLst>
                <a:gd name="T0" fmla="*/ 22 w 297"/>
                <a:gd name="T1" fmla="*/ 81 h 108"/>
                <a:gd name="T2" fmla="*/ 45 w 297"/>
                <a:gd name="T3" fmla="*/ 91 h 108"/>
                <a:gd name="T4" fmla="*/ 54 w 297"/>
                <a:gd name="T5" fmla="*/ 95 h 108"/>
                <a:gd name="T6" fmla="*/ 74 w 297"/>
                <a:gd name="T7" fmla="*/ 100 h 108"/>
                <a:gd name="T8" fmla="*/ 85 w 297"/>
                <a:gd name="T9" fmla="*/ 102 h 108"/>
                <a:gd name="T10" fmla="*/ 97 w 297"/>
                <a:gd name="T11" fmla="*/ 104 h 108"/>
                <a:gd name="T12" fmla="*/ 109 w 297"/>
                <a:gd name="T13" fmla="*/ 105 h 108"/>
                <a:gd name="T14" fmla="*/ 122 w 297"/>
                <a:gd name="T15" fmla="*/ 107 h 108"/>
                <a:gd name="T16" fmla="*/ 136 w 297"/>
                <a:gd name="T17" fmla="*/ 107 h 108"/>
                <a:gd name="T18" fmla="*/ 161 w 297"/>
                <a:gd name="T19" fmla="*/ 107 h 108"/>
                <a:gd name="T20" fmla="*/ 174 w 297"/>
                <a:gd name="T21" fmla="*/ 107 h 108"/>
                <a:gd name="T22" fmla="*/ 188 w 297"/>
                <a:gd name="T23" fmla="*/ 105 h 108"/>
                <a:gd name="T24" fmla="*/ 200 w 297"/>
                <a:gd name="T25" fmla="*/ 104 h 108"/>
                <a:gd name="T26" fmla="*/ 211 w 297"/>
                <a:gd name="T27" fmla="*/ 102 h 108"/>
                <a:gd name="T28" fmla="*/ 223 w 297"/>
                <a:gd name="T29" fmla="*/ 100 h 108"/>
                <a:gd name="T30" fmla="*/ 243 w 297"/>
                <a:gd name="T31" fmla="*/ 95 h 108"/>
                <a:gd name="T32" fmla="*/ 252 w 297"/>
                <a:gd name="T33" fmla="*/ 91 h 108"/>
                <a:gd name="T34" fmla="*/ 275 w 297"/>
                <a:gd name="T35" fmla="*/ 81 h 108"/>
                <a:gd name="T36" fmla="*/ 297 w 297"/>
                <a:gd name="T37" fmla="*/ 54 h 108"/>
                <a:gd name="T38" fmla="*/ 275 w 297"/>
                <a:gd name="T39" fmla="*/ 27 h 108"/>
                <a:gd name="T40" fmla="*/ 252 w 297"/>
                <a:gd name="T41" fmla="*/ 16 h 108"/>
                <a:gd name="T42" fmla="*/ 243 w 297"/>
                <a:gd name="T43" fmla="*/ 13 h 108"/>
                <a:gd name="T44" fmla="*/ 223 w 297"/>
                <a:gd name="T45" fmla="*/ 8 h 108"/>
                <a:gd name="T46" fmla="*/ 211 w 297"/>
                <a:gd name="T47" fmla="*/ 5 h 108"/>
                <a:gd name="T48" fmla="*/ 200 w 297"/>
                <a:gd name="T49" fmla="*/ 4 h 108"/>
                <a:gd name="T50" fmla="*/ 188 w 297"/>
                <a:gd name="T51" fmla="*/ 2 h 108"/>
                <a:gd name="T52" fmla="*/ 174 w 297"/>
                <a:gd name="T53" fmla="*/ 1 h 108"/>
                <a:gd name="T54" fmla="*/ 161 w 297"/>
                <a:gd name="T55" fmla="*/ 0 h 108"/>
                <a:gd name="T56" fmla="*/ 136 w 297"/>
                <a:gd name="T57" fmla="*/ 0 h 108"/>
                <a:gd name="T58" fmla="*/ 122 w 297"/>
                <a:gd name="T59" fmla="*/ 1 h 108"/>
                <a:gd name="T60" fmla="*/ 109 w 297"/>
                <a:gd name="T61" fmla="*/ 2 h 108"/>
                <a:gd name="T62" fmla="*/ 97 w 297"/>
                <a:gd name="T63" fmla="*/ 4 h 108"/>
                <a:gd name="T64" fmla="*/ 85 w 297"/>
                <a:gd name="T65" fmla="*/ 5 h 108"/>
                <a:gd name="T66" fmla="*/ 74 w 297"/>
                <a:gd name="T67" fmla="*/ 8 h 108"/>
                <a:gd name="T68" fmla="*/ 54 w 297"/>
                <a:gd name="T69" fmla="*/ 13 h 108"/>
                <a:gd name="T70" fmla="*/ 45 w 297"/>
                <a:gd name="T71" fmla="*/ 16 h 108"/>
                <a:gd name="T72" fmla="*/ 22 w 297"/>
                <a:gd name="T73" fmla="*/ 27 h 108"/>
                <a:gd name="T74" fmla="*/ 4 w 297"/>
                <a:gd name="T75" fmla="*/ 43 h 108"/>
                <a:gd name="T76" fmla="*/ 0 w 297"/>
                <a:gd name="T77" fmla="*/ 54 h 108"/>
                <a:gd name="T78" fmla="*/ 22 w 297"/>
                <a:gd name="T7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108">
                  <a:moveTo>
                    <a:pt x="22" y="81"/>
                  </a:move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4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5"/>
                    <a:pt x="109" y="105"/>
                  </a:cubicBezTo>
                  <a:cubicBezTo>
                    <a:pt x="112" y="106"/>
                    <a:pt x="116" y="106"/>
                    <a:pt x="120" y="106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7" y="107"/>
                    <a:pt x="171" y="107"/>
                    <a:pt x="174" y="107"/>
                  </a:cubicBezTo>
                  <a:cubicBezTo>
                    <a:pt x="175" y="107"/>
                    <a:pt x="176" y="107"/>
                    <a:pt x="177" y="106"/>
                  </a:cubicBezTo>
                  <a:cubicBezTo>
                    <a:pt x="180" y="106"/>
                    <a:pt x="184" y="106"/>
                    <a:pt x="188" y="105"/>
                  </a:cubicBezTo>
                  <a:cubicBezTo>
                    <a:pt x="188" y="105"/>
                    <a:pt x="189" y="105"/>
                    <a:pt x="189" y="105"/>
                  </a:cubicBezTo>
                  <a:cubicBezTo>
                    <a:pt x="193" y="105"/>
                    <a:pt x="196" y="105"/>
                    <a:pt x="200" y="104"/>
                  </a:cubicBezTo>
                  <a:cubicBezTo>
                    <a:pt x="200" y="104"/>
                    <a:pt x="200" y="104"/>
                    <a:pt x="201" y="104"/>
                  </a:cubicBezTo>
                  <a:cubicBezTo>
                    <a:pt x="204" y="103"/>
                    <a:pt x="208" y="103"/>
                    <a:pt x="211" y="102"/>
                  </a:cubicBezTo>
                  <a:cubicBezTo>
                    <a:pt x="212" y="102"/>
                    <a:pt x="212" y="102"/>
                    <a:pt x="213" y="102"/>
                  </a:cubicBezTo>
                  <a:cubicBezTo>
                    <a:pt x="216" y="101"/>
                    <a:pt x="220" y="101"/>
                    <a:pt x="223" y="100"/>
                  </a:cubicBezTo>
                  <a:cubicBezTo>
                    <a:pt x="223" y="100"/>
                    <a:pt x="224" y="100"/>
                    <a:pt x="224" y="100"/>
                  </a:cubicBezTo>
                  <a:cubicBezTo>
                    <a:pt x="231" y="98"/>
                    <a:pt x="237" y="96"/>
                    <a:pt x="243" y="95"/>
                  </a:cubicBezTo>
                  <a:cubicBezTo>
                    <a:pt x="243" y="94"/>
                    <a:pt x="243" y="94"/>
                    <a:pt x="244" y="94"/>
                  </a:cubicBezTo>
                  <a:cubicBezTo>
                    <a:pt x="247" y="93"/>
                    <a:pt x="249" y="92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61" y="88"/>
                    <a:pt x="269" y="85"/>
                    <a:pt x="275" y="81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89" y="72"/>
                    <a:pt x="297" y="63"/>
                    <a:pt x="297" y="54"/>
                  </a:cubicBezTo>
                  <a:cubicBezTo>
                    <a:pt x="297" y="45"/>
                    <a:pt x="289" y="35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23"/>
                    <a:pt x="261" y="20"/>
                    <a:pt x="253" y="16"/>
                  </a:cubicBezTo>
                  <a:cubicBezTo>
                    <a:pt x="253" y="16"/>
                    <a:pt x="252" y="16"/>
                    <a:pt x="252" y="16"/>
                  </a:cubicBezTo>
                  <a:cubicBezTo>
                    <a:pt x="249" y="15"/>
                    <a:pt x="247" y="14"/>
                    <a:pt x="244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37" y="11"/>
                    <a:pt x="231" y="9"/>
                    <a:pt x="224" y="8"/>
                  </a:cubicBezTo>
                  <a:cubicBezTo>
                    <a:pt x="224" y="8"/>
                    <a:pt x="223" y="8"/>
                    <a:pt x="223" y="8"/>
                  </a:cubicBezTo>
                  <a:cubicBezTo>
                    <a:pt x="220" y="7"/>
                    <a:pt x="216" y="6"/>
                    <a:pt x="213" y="6"/>
                  </a:cubicBezTo>
                  <a:cubicBezTo>
                    <a:pt x="212" y="6"/>
                    <a:pt x="212" y="5"/>
                    <a:pt x="211" y="5"/>
                  </a:cubicBezTo>
                  <a:cubicBezTo>
                    <a:pt x="208" y="5"/>
                    <a:pt x="204" y="4"/>
                    <a:pt x="201" y="4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6" y="3"/>
                    <a:pt x="193" y="3"/>
                    <a:pt x="189" y="2"/>
                  </a:cubicBezTo>
                  <a:cubicBezTo>
                    <a:pt x="189" y="2"/>
                    <a:pt x="188" y="2"/>
                    <a:pt x="188" y="2"/>
                  </a:cubicBezTo>
                  <a:cubicBezTo>
                    <a:pt x="184" y="2"/>
                    <a:pt x="180" y="1"/>
                    <a:pt x="177" y="1"/>
                  </a:cubicBezTo>
                  <a:cubicBezTo>
                    <a:pt x="176" y="1"/>
                    <a:pt x="175" y="1"/>
                    <a:pt x="174" y="1"/>
                  </a:cubicBezTo>
                  <a:cubicBezTo>
                    <a:pt x="171" y="1"/>
                    <a:pt x="167" y="0"/>
                    <a:pt x="163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7" y="0"/>
                    <a:pt x="153" y="0"/>
                    <a:pt x="148" y="0"/>
                  </a:cubicBezTo>
                  <a:cubicBezTo>
                    <a:pt x="144" y="0"/>
                    <a:pt x="140" y="0"/>
                    <a:pt x="136" y="0"/>
                  </a:cubicBezTo>
                  <a:cubicBezTo>
                    <a:pt x="135" y="0"/>
                    <a:pt x="134" y="0"/>
                    <a:pt x="134" y="0"/>
                  </a:cubicBezTo>
                  <a:cubicBezTo>
                    <a:pt x="130" y="0"/>
                    <a:pt x="126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cubicBezTo>
                    <a:pt x="116" y="1"/>
                    <a:pt x="112" y="2"/>
                    <a:pt x="109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4" y="3"/>
                    <a:pt x="100" y="3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2" y="4"/>
                    <a:pt x="89" y="5"/>
                    <a:pt x="85" y="5"/>
                  </a:cubicBezTo>
                  <a:cubicBezTo>
                    <a:pt x="85" y="5"/>
                    <a:pt x="84" y="6"/>
                    <a:pt x="84" y="6"/>
                  </a:cubicBezTo>
                  <a:cubicBezTo>
                    <a:pt x="80" y="6"/>
                    <a:pt x="77" y="7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6" y="9"/>
                    <a:pt x="60" y="11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0" y="14"/>
                    <a:pt x="47" y="15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5" y="20"/>
                    <a:pt x="28" y="2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32"/>
                    <a:pt x="7" y="37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6"/>
                    <a:pt x="0" y="50"/>
                    <a:pt x="0" y="54"/>
                  </a:cubicBezTo>
                  <a:cubicBezTo>
                    <a:pt x="0" y="57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20">
              <a:extLst>
                <a:ext uri="{FF2B5EF4-FFF2-40B4-BE49-F238E27FC236}">
                  <a16:creationId xmlns:a16="http://schemas.microsoft.com/office/drawing/2014/main" id="{163E925F-D17A-4792-922A-A65FA851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877" y="3291343"/>
              <a:ext cx="90706" cy="90706"/>
            </a:xfrm>
            <a:custGeom>
              <a:avLst/>
              <a:gdLst>
                <a:gd name="T0" fmla="*/ 65 w 78"/>
                <a:gd name="T1" fmla="*/ 52 h 78"/>
                <a:gd name="T2" fmla="*/ 26 w 78"/>
                <a:gd name="T3" fmla="*/ 13 h 78"/>
                <a:gd name="T4" fmla="*/ 13 w 78"/>
                <a:gd name="T5" fmla="*/ 0 h 78"/>
                <a:gd name="T6" fmla="*/ 0 w 78"/>
                <a:gd name="T7" fmla="*/ 13 h 78"/>
                <a:gd name="T8" fmla="*/ 65 w 78"/>
                <a:gd name="T9" fmla="*/ 78 h 78"/>
                <a:gd name="T10" fmla="*/ 78 w 78"/>
                <a:gd name="T11" fmla="*/ 65 h 78"/>
                <a:gd name="T12" fmla="*/ 65 w 78"/>
                <a:gd name="T13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8">
                  <a:moveTo>
                    <a:pt x="65" y="52"/>
                  </a:moveTo>
                  <a:cubicBezTo>
                    <a:pt x="44" y="52"/>
                    <a:pt x="26" y="34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9"/>
                    <a:pt x="29" y="78"/>
                    <a:pt x="65" y="78"/>
                  </a:cubicBezTo>
                  <a:cubicBezTo>
                    <a:pt x="72" y="78"/>
                    <a:pt x="78" y="72"/>
                    <a:pt x="78" y="65"/>
                  </a:cubicBezTo>
                  <a:cubicBezTo>
                    <a:pt x="78" y="58"/>
                    <a:pt x="72" y="52"/>
                    <a:pt x="6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621">
              <a:extLst>
                <a:ext uri="{FF2B5EF4-FFF2-40B4-BE49-F238E27FC236}">
                  <a16:creationId xmlns:a16="http://schemas.microsoft.com/office/drawing/2014/main" id="{4CF9EE24-0E4F-47B8-9FDC-34D8FF119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547" y="3253994"/>
              <a:ext cx="32014" cy="2934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22">
              <a:extLst>
                <a:ext uri="{FF2B5EF4-FFF2-40B4-BE49-F238E27FC236}">
                  <a16:creationId xmlns:a16="http://schemas.microsoft.com/office/drawing/2014/main" id="{C6A6DC49-10A5-45D6-8E0C-0BFE0F757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448" y="3091257"/>
              <a:ext cx="533564" cy="436189"/>
            </a:xfrm>
            <a:custGeom>
              <a:avLst/>
              <a:gdLst>
                <a:gd name="T0" fmla="*/ 384 w 460"/>
                <a:gd name="T1" fmla="*/ 180 h 378"/>
                <a:gd name="T2" fmla="*/ 297 w 460"/>
                <a:gd name="T3" fmla="*/ 0 h 378"/>
                <a:gd name="T4" fmla="*/ 244 w 460"/>
                <a:gd name="T5" fmla="*/ 41 h 378"/>
                <a:gd name="T6" fmla="*/ 211 w 460"/>
                <a:gd name="T7" fmla="*/ 49 h 378"/>
                <a:gd name="T8" fmla="*/ 177 w 460"/>
                <a:gd name="T9" fmla="*/ 53 h 378"/>
                <a:gd name="T10" fmla="*/ 136 w 460"/>
                <a:gd name="T11" fmla="*/ 54 h 378"/>
                <a:gd name="T12" fmla="*/ 107 w 460"/>
                <a:gd name="T13" fmla="*/ 52 h 378"/>
                <a:gd name="T14" fmla="*/ 74 w 460"/>
                <a:gd name="T15" fmla="*/ 46 h 378"/>
                <a:gd name="T16" fmla="*/ 44 w 460"/>
                <a:gd name="T17" fmla="*/ 37 h 378"/>
                <a:gd name="T18" fmla="*/ 0 w 460"/>
                <a:gd name="T19" fmla="*/ 54 h 378"/>
                <a:gd name="T20" fmla="*/ 44 w 460"/>
                <a:gd name="T21" fmla="*/ 91 h 378"/>
                <a:gd name="T22" fmla="*/ 74 w 460"/>
                <a:gd name="T23" fmla="*/ 100 h 378"/>
                <a:gd name="T24" fmla="*/ 107 w 460"/>
                <a:gd name="T25" fmla="*/ 105 h 378"/>
                <a:gd name="T26" fmla="*/ 136 w 460"/>
                <a:gd name="T27" fmla="*/ 107 h 378"/>
                <a:gd name="T28" fmla="*/ 166 w 460"/>
                <a:gd name="T29" fmla="*/ 107 h 378"/>
                <a:gd name="T30" fmla="*/ 134 w 460"/>
                <a:gd name="T31" fmla="*/ 136 h 378"/>
                <a:gd name="T32" fmla="*/ 97 w 460"/>
                <a:gd name="T33" fmla="*/ 132 h 378"/>
                <a:gd name="T34" fmla="*/ 73 w 460"/>
                <a:gd name="T35" fmla="*/ 128 h 378"/>
                <a:gd name="T36" fmla="*/ 22 w 460"/>
                <a:gd name="T37" fmla="*/ 109 h 378"/>
                <a:gd name="T38" fmla="*/ 0 w 460"/>
                <a:gd name="T39" fmla="*/ 136 h 378"/>
                <a:gd name="T40" fmla="*/ 45 w 460"/>
                <a:gd name="T41" fmla="*/ 174 h 378"/>
                <a:gd name="T42" fmla="*/ 84 w 460"/>
                <a:gd name="T43" fmla="*/ 184 h 378"/>
                <a:gd name="T44" fmla="*/ 109 w 460"/>
                <a:gd name="T45" fmla="*/ 188 h 378"/>
                <a:gd name="T46" fmla="*/ 142 w 460"/>
                <a:gd name="T47" fmla="*/ 190 h 378"/>
                <a:gd name="T48" fmla="*/ 120 w 460"/>
                <a:gd name="T49" fmla="*/ 217 h 378"/>
                <a:gd name="T50" fmla="*/ 85 w 460"/>
                <a:gd name="T51" fmla="*/ 213 h 378"/>
                <a:gd name="T52" fmla="*/ 53 w 460"/>
                <a:gd name="T53" fmla="*/ 205 h 378"/>
                <a:gd name="T54" fmla="*/ 3 w 460"/>
                <a:gd name="T55" fmla="*/ 175 h 378"/>
                <a:gd name="T56" fmla="*/ 22 w 460"/>
                <a:gd name="T57" fmla="*/ 245 h 378"/>
                <a:gd name="T58" fmla="*/ 54 w 460"/>
                <a:gd name="T59" fmla="*/ 259 h 378"/>
                <a:gd name="T60" fmla="*/ 96 w 460"/>
                <a:gd name="T61" fmla="*/ 268 h 378"/>
                <a:gd name="T62" fmla="*/ 122 w 460"/>
                <a:gd name="T63" fmla="*/ 271 h 378"/>
                <a:gd name="T64" fmla="*/ 163 w 460"/>
                <a:gd name="T65" fmla="*/ 271 h 378"/>
                <a:gd name="T66" fmla="*/ 213 w 460"/>
                <a:gd name="T67" fmla="*/ 294 h 378"/>
                <a:gd name="T68" fmla="*/ 188 w 460"/>
                <a:gd name="T69" fmla="*/ 298 h 378"/>
                <a:gd name="T70" fmla="*/ 148 w 460"/>
                <a:gd name="T71" fmla="*/ 300 h 378"/>
                <a:gd name="T72" fmla="*/ 109 w 460"/>
                <a:gd name="T73" fmla="*/ 298 h 378"/>
                <a:gd name="T74" fmla="*/ 84 w 460"/>
                <a:gd name="T75" fmla="*/ 294 h 378"/>
                <a:gd name="T76" fmla="*/ 45 w 460"/>
                <a:gd name="T77" fmla="*/ 284 h 378"/>
                <a:gd name="T78" fmla="*/ 0 w 460"/>
                <a:gd name="T79" fmla="*/ 246 h 378"/>
                <a:gd name="T80" fmla="*/ 22 w 460"/>
                <a:gd name="T81" fmla="*/ 327 h 378"/>
                <a:gd name="T82" fmla="*/ 73 w 460"/>
                <a:gd name="T83" fmla="*/ 346 h 378"/>
                <a:gd name="T84" fmla="*/ 97 w 460"/>
                <a:gd name="T85" fmla="*/ 350 h 378"/>
                <a:gd name="T86" fmla="*/ 134 w 460"/>
                <a:gd name="T87" fmla="*/ 353 h 378"/>
                <a:gd name="T88" fmla="*/ 174 w 460"/>
                <a:gd name="T89" fmla="*/ 353 h 378"/>
                <a:gd name="T90" fmla="*/ 201 w 460"/>
                <a:gd name="T91" fmla="*/ 350 h 378"/>
                <a:gd name="T92" fmla="*/ 243 w 460"/>
                <a:gd name="T93" fmla="*/ 341 h 378"/>
                <a:gd name="T94" fmla="*/ 275 w 460"/>
                <a:gd name="T95" fmla="*/ 327 h 378"/>
                <a:gd name="T96" fmla="*/ 349 w 460"/>
                <a:gd name="T97" fmla="*/ 291 h 378"/>
                <a:gd name="T98" fmla="*/ 454 w 460"/>
                <a:gd name="T99" fmla="*/ 347 h 378"/>
                <a:gd name="T100" fmla="*/ 358 w 460"/>
                <a:gd name="T101" fmla="*/ 18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0" h="378">
                  <a:moveTo>
                    <a:pt x="460" y="341"/>
                  </a:moveTo>
                  <a:cubicBezTo>
                    <a:pt x="380" y="260"/>
                    <a:pt x="380" y="260"/>
                    <a:pt x="380" y="260"/>
                  </a:cubicBezTo>
                  <a:cubicBezTo>
                    <a:pt x="374" y="267"/>
                    <a:pt x="374" y="267"/>
                    <a:pt x="374" y="267"/>
                  </a:cubicBezTo>
                  <a:cubicBezTo>
                    <a:pt x="360" y="253"/>
                    <a:pt x="360" y="253"/>
                    <a:pt x="360" y="253"/>
                  </a:cubicBezTo>
                  <a:cubicBezTo>
                    <a:pt x="375" y="233"/>
                    <a:pt x="384" y="207"/>
                    <a:pt x="384" y="180"/>
                  </a:cubicBezTo>
                  <a:cubicBezTo>
                    <a:pt x="384" y="124"/>
                    <a:pt x="346" y="77"/>
                    <a:pt x="294" y="63"/>
                  </a:cubicBezTo>
                  <a:cubicBezTo>
                    <a:pt x="294" y="63"/>
                    <a:pt x="294" y="63"/>
                    <a:pt x="294" y="63"/>
                  </a:cubicBezTo>
                  <a:cubicBezTo>
                    <a:pt x="296" y="60"/>
                    <a:pt x="297" y="57"/>
                    <a:pt x="297" y="54"/>
                  </a:cubicBezTo>
                  <a:cubicBezTo>
                    <a:pt x="297" y="54"/>
                    <a:pt x="297" y="54"/>
                    <a:pt x="297" y="54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9"/>
                    <a:pt x="289" y="19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31"/>
                    <a:pt x="261" y="34"/>
                    <a:pt x="253" y="37"/>
                  </a:cubicBezTo>
                  <a:cubicBezTo>
                    <a:pt x="253" y="38"/>
                    <a:pt x="252" y="38"/>
                    <a:pt x="252" y="38"/>
                  </a:cubicBezTo>
                  <a:cubicBezTo>
                    <a:pt x="249" y="39"/>
                    <a:pt x="247" y="40"/>
                    <a:pt x="244" y="4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37" y="43"/>
                    <a:pt x="231" y="44"/>
                    <a:pt x="224" y="46"/>
                  </a:cubicBezTo>
                  <a:cubicBezTo>
                    <a:pt x="224" y="46"/>
                    <a:pt x="223" y="46"/>
                    <a:pt x="223" y="46"/>
                  </a:cubicBezTo>
                  <a:cubicBezTo>
                    <a:pt x="220" y="47"/>
                    <a:pt x="216" y="48"/>
                    <a:pt x="213" y="48"/>
                  </a:cubicBezTo>
                  <a:cubicBezTo>
                    <a:pt x="212" y="48"/>
                    <a:pt x="212" y="48"/>
                    <a:pt x="211" y="49"/>
                  </a:cubicBezTo>
                  <a:cubicBezTo>
                    <a:pt x="208" y="49"/>
                    <a:pt x="204" y="50"/>
                    <a:pt x="201" y="50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6" y="51"/>
                    <a:pt x="193" y="51"/>
                    <a:pt x="189" y="52"/>
                  </a:cubicBezTo>
                  <a:cubicBezTo>
                    <a:pt x="189" y="52"/>
                    <a:pt x="188" y="52"/>
                    <a:pt x="188" y="52"/>
                  </a:cubicBezTo>
                  <a:cubicBezTo>
                    <a:pt x="184" y="52"/>
                    <a:pt x="180" y="53"/>
                    <a:pt x="177" y="53"/>
                  </a:cubicBezTo>
                  <a:cubicBezTo>
                    <a:pt x="176" y="53"/>
                    <a:pt x="175" y="53"/>
                    <a:pt x="174" y="53"/>
                  </a:cubicBezTo>
                  <a:cubicBezTo>
                    <a:pt x="171" y="53"/>
                    <a:pt x="167" y="53"/>
                    <a:pt x="163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57" y="54"/>
                    <a:pt x="153" y="54"/>
                    <a:pt x="148" y="54"/>
                  </a:cubicBezTo>
                  <a:cubicBezTo>
                    <a:pt x="144" y="54"/>
                    <a:pt x="140" y="54"/>
                    <a:pt x="136" y="54"/>
                  </a:cubicBezTo>
                  <a:cubicBezTo>
                    <a:pt x="135" y="54"/>
                    <a:pt x="134" y="54"/>
                    <a:pt x="134" y="54"/>
                  </a:cubicBezTo>
                  <a:cubicBezTo>
                    <a:pt x="130" y="53"/>
                    <a:pt x="126" y="53"/>
                    <a:pt x="122" y="53"/>
                  </a:cubicBezTo>
                  <a:cubicBezTo>
                    <a:pt x="121" y="53"/>
                    <a:pt x="121" y="53"/>
                    <a:pt x="120" y="53"/>
                  </a:cubicBezTo>
                  <a:cubicBezTo>
                    <a:pt x="116" y="53"/>
                    <a:pt x="112" y="52"/>
                    <a:pt x="109" y="52"/>
                  </a:cubicBezTo>
                  <a:cubicBezTo>
                    <a:pt x="108" y="52"/>
                    <a:pt x="108" y="52"/>
                    <a:pt x="107" y="52"/>
                  </a:cubicBezTo>
                  <a:cubicBezTo>
                    <a:pt x="104" y="51"/>
                    <a:pt x="100" y="51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2" y="50"/>
                    <a:pt x="89" y="49"/>
                    <a:pt x="85" y="49"/>
                  </a:cubicBezTo>
                  <a:cubicBezTo>
                    <a:pt x="85" y="48"/>
                    <a:pt x="84" y="48"/>
                    <a:pt x="84" y="48"/>
                  </a:cubicBezTo>
                  <a:cubicBezTo>
                    <a:pt x="80" y="48"/>
                    <a:pt x="77" y="47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6" y="44"/>
                    <a:pt x="60" y="43"/>
                    <a:pt x="5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0" y="40"/>
                    <a:pt x="47" y="39"/>
                    <a:pt x="45" y="38"/>
                  </a:cubicBezTo>
                  <a:cubicBezTo>
                    <a:pt x="44" y="38"/>
                    <a:pt x="44" y="38"/>
                    <a:pt x="44" y="37"/>
                  </a:cubicBezTo>
                  <a:cubicBezTo>
                    <a:pt x="35" y="34"/>
                    <a:pt x="28" y="31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22"/>
                    <a:pt x="7" y="17"/>
                    <a:pt x="3" y="11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5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6"/>
                    <a:pt x="109" y="106"/>
                  </a:cubicBezTo>
                  <a:cubicBezTo>
                    <a:pt x="112" y="106"/>
                    <a:pt x="116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59" y="116"/>
                    <a:pt x="154" y="126"/>
                    <a:pt x="149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4" y="136"/>
                    <a:pt x="140" y="136"/>
                    <a:pt x="136" y="136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0" y="135"/>
                    <a:pt x="126" y="135"/>
                    <a:pt x="122" y="135"/>
                  </a:cubicBezTo>
                  <a:cubicBezTo>
                    <a:pt x="121" y="135"/>
                    <a:pt x="121" y="135"/>
                    <a:pt x="120" y="135"/>
                  </a:cubicBezTo>
                  <a:cubicBezTo>
                    <a:pt x="116" y="135"/>
                    <a:pt x="112" y="134"/>
                    <a:pt x="109" y="134"/>
                  </a:cubicBezTo>
                  <a:cubicBezTo>
                    <a:pt x="108" y="134"/>
                    <a:pt x="108" y="134"/>
                    <a:pt x="107" y="134"/>
                  </a:cubicBezTo>
                  <a:cubicBezTo>
                    <a:pt x="104" y="133"/>
                    <a:pt x="100" y="133"/>
                    <a:pt x="97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2" y="132"/>
                    <a:pt x="89" y="131"/>
                    <a:pt x="85" y="131"/>
                  </a:cubicBezTo>
                  <a:cubicBezTo>
                    <a:pt x="85" y="130"/>
                    <a:pt x="84" y="130"/>
                    <a:pt x="84" y="130"/>
                  </a:cubicBezTo>
                  <a:cubicBezTo>
                    <a:pt x="80" y="130"/>
                    <a:pt x="77" y="129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66" y="126"/>
                    <a:pt x="60" y="125"/>
                    <a:pt x="54" y="123"/>
                  </a:cubicBezTo>
                  <a:cubicBezTo>
                    <a:pt x="53" y="123"/>
                    <a:pt x="53" y="123"/>
                    <a:pt x="53" y="123"/>
                  </a:cubicBezTo>
                  <a:cubicBezTo>
                    <a:pt x="50" y="122"/>
                    <a:pt x="47" y="121"/>
                    <a:pt x="45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35" y="116"/>
                    <a:pt x="28" y="113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3" y="104"/>
                    <a:pt x="7" y="99"/>
                    <a:pt x="3" y="93"/>
                  </a:cubicBezTo>
                  <a:cubicBezTo>
                    <a:pt x="1" y="90"/>
                    <a:pt x="0" y="86"/>
                    <a:pt x="0" y="8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0"/>
                    <a:pt x="1" y="143"/>
                    <a:pt x="3" y="147"/>
                  </a:cubicBezTo>
                  <a:cubicBezTo>
                    <a:pt x="7" y="152"/>
                    <a:pt x="13" y="158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8" y="167"/>
                    <a:pt x="35" y="170"/>
                    <a:pt x="44" y="173"/>
                  </a:cubicBezTo>
                  <a:cubicBezTo>
                    <a:pt x="44" y="173"/>
                    <a:pt x="44" y="173"/>
                    <a:pt x="45" y="174"/>
                  </a:cubicBezTo>
                  <a:cubicBezTo>
                    <a:pt x="47" y="175"/>
                    <a:pt x="50" y="175"/>
                    <a:pt x="53" y="176"/>
                  </a:cubicBezTo>
                  <a:cubicBezTo>
                    <a:pt x="53" y="177"/>
                    <a:pt x="53" y="177"/>
                    <a:pt x="54" y="177"/>
                  </a:cubicBezTo>
                  <a:cubicBezTo>
                    <a:pt x="60" y="179"/>
                    <a:pt x="66" y="180"/>
                    <a:pt x="73" y="182"/>
                  </a:cubicBezTo>
                  <a:cubicBezTo>
                    <a:pt x="73" y="182"/>
                    <a:pt x="73" y="182"/>
                    <a:pt x="74" y="182"/>
                  </a:cubicBezTo>
                  <a:cubicBezTo>
                    <a:pt x="77" y="183"/>
                    <a:pt x="80" y="183"/>
                    <a:pt x="84" y="184"/>
                  </a:cubicBezTo>
                  <a:cubicBezTo>
                    <a:pt x="84" y="184"/>
                    <a:pt x="85" y="184"/>
                    <a:pt x="85" y="184"/>
                  </a:cubicBezTo>
                  <a:cubicBezTo>
                    <a:pt x="89" y="185"/>
                    <a:pt x="92" y="185"/>
                    <a:pt x="96" y="186"/>
                  </a:cubicBezTo>
                  <a:cubicBezTo>
                    <a:pt x="96" y="186"/>
                    <a:pt x="96" y="186"/>
                    <a:pt x="97" y="186"/>
                  </a:cubicBezTo>
                  <a:cubicBezTo>
                    <a:pt x="100" y="187"/>
                    <a:pt x="104" y="187"/>
                    <a:pt x="107" y="187"/>
                  </a:cubicBezTo>
                  <a:cubicBezTo>
                    <a:pt x="108" y="188"/>
                    <a:pt x="108" y="188"/>
                    <a:pt x="109" y="188"/>
                  </a:cubicBezTo>
                  <a:cubicBezTo>
                    <a:pt x="112" y="188"/>
                    <a:pt x="116" y="188"/>
                    <a:pt x="120" y="189"/>
                  </a:cubicBezTo>
                  <a:cubicBezTo>
                    <a:pt x="121" y="189"/>
                    <a:pt x="121" y="189"/>
                    <a:pt x="122" y="189"/>
                  </a:cubicBezTo>
                  <a:cubicBezTo>
                    <a:pt x="126" y="189"/>
                    <a:pt x="130" y="189"/>
                    <a:pt x="134" y="189"/>
                  </a:cubicBezTo>
                  <a:cubicBezTo>
                    <a:pt x="134" y="189"/>
                    <a:pt x="135" y="189"/>
                    <a:pt x="136" y="189"/>
                  </a:cubicBezTo>
                  <a:cubicBezTo>
                    <a:pt x="138" y="189"/>
                    <a:pt x="140" y="189"/>
                    <a:pt x="142" y="190"/>
                  </a:cubicBezTo>
                  <a:cubicBezTo>
                    <a:pt x="142" y="199"/>
                    <a:pt x="144" y="209"/>
                    <a:pt x="147" y="218"/>
                  </a:cubicBezTo>
                  <a:cubicBezTo>
                    <a:pt x="143" y="218"/>
                    <a:pt x="139" y="218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130" y="218"/>
                    <a:pt x="126" y="217"/>
                    <a:pt x="122" y="217"/>
                  </a:cubicBezTo>
                  <a:cubicBezTo>
                    <a:pt x="121" y="217"/>
                    <a:pt x="121" y="217"/>
                    <a:pt x="120" y="217"/>
                  </a:cubicBezTo>
                  <a:cubicBezTo>
                    <a:pt x="116" y="217"/>
                    <a:pt x="112" y="216"/>
                    <a:pt x="109" y="216"/>
                  </a:cubicBezTo>
                  <a:cubicBezTo>
                    <a:pt x="108" y="216"/>
                    <a:pt x="108" y="216"/>
                    <a:pt x="107" y="216"/>
                  </a:cubicBezTo>
                  <a:cubicBezTo>
                    <a:pt x="104" y="215"/>
                    <a:pt x="100" y="215"/>
                    <a:pt x="9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2" y="214"/>
                    <a:pt x="89" y="213"/>
                    <a:pt x="85" y="213"/>
                  </a:cubicBezTo>
                  <a:cubicBezTo>
                    <a:pt x="85" y="213"/>
                    <a:pt x="84" y="212"/>
                    <a:pt x="84" y="212"/>
                  </a:cubicBezTo>
                  <a:cubicBezTo>
                    <a:pt x="80" y="212"/>
                    <a:pt x="77" y="211"/>
                    <a:pt x="74" y="210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66" y="209"/>
                    <a:pt x="60" y="207"/>
                    <a:pt x="54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0" y="204"/>
                    <a:pt x="47" y="203"/>
                    <a:pt x="45" y="202"/>
                  </a:cubicBezTo>
                  <a:cubicBezTo>
                    <a:pt x="44" y="202"/>
                    <a:pt x="44" y="202"/>
                    <a:pt x="44" y="202"/>
                  </a:cubicBezTo>
                  <a:cubicBezTo>
                    <a:pt x="35" y="198"/>
                    <a:pt x="28" y="195"/>
                    <a:pt x="22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3" y="186"/>
                    <a:pt x="7" y="181"/>
                    <a:pt x="3" y="175"/>
                  </a:cubicBezTo>
                  <a:cubicBezTo>
                    <a:pt x="1" y="172"/>
                    <a:pt x="0" y="168"/>
                    <a:pt x="0" y="16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2"/>
                    <a:pt x="1" y="225"/>
                    <a:pt x="3" y="229"/>
                  </a:cubicBezTo>
                  <a:cubicBezTo>
                    <a:pt x="7" y="234"/>
                    <a:pt x="13" y="240"/>
                    <a:pt x="22" y="245"/>
                  </a:cubicBezTo>
                  <a:cubicBezTo>
                    <a:pt x="22" y="245"/>
                    <a:pt x="22" y="245"/>
                    <a:pt x="22" y="245"/>
                  </a:cubicBezTo>
                  <a:cubicBezTo>
                    <a:pt x="28" y="249"/>
                    <a:pt x="35" y="252"/>
                    <a:pt x="44" y="255"/>
                  </a:cubicBezTo>
                  <a:cubicBezTo>
                    <a:pt x="44" y="255"/>
                    <a:pt x="44" y="256"/>
                    <a:pt x="45" y="256"/>
                  </a:cubicBezTo>
                  <a:cubicBezTo>
                    <a:pt x="47" y="257"/>
                    <a:pt x="50" y="258"/>
                    <a:pt x="53" y="258"/>
                  </a:cubicBezTo>
                  <a:cubicBezTo>
                    <a:pt x="53" y="259"/>
                    <a:pt x="53" y="259"/>
                    <a:pt x="54" y="259"/>
                  </a:cubicBezTo>
                  <a:cubicBezTo>
                    <a:pt x="60" y="261"/>
                    <a:pt x="66" y="262"/>
                    <a:pt x="73" y="264"/>
                  </a:cubicBezTo>
                  <a:cubicBezTo>
                    <a:pt x="73" y="264"/>
                    <a:pt x="73" y="264"/>
                    <a:pt x="74" y="264"/>
                  </a:cubicBezTo>
                  <a:cubicBezTo>
                    <a:pt x="77" y="265"/>
                    <a:pt x="80" y="265"/>
                    <a:pt x="84" y="266"/>
                  </a:cubicBezTo>
                  <a:cubicBezTo>
                    <a:pt x="84" y="266"/>
                    <a:pt x="85" y="266"/>
                    <a:pt x="85" y="266"/>
                  </a:cubicBezTo>
                  <a:cubicBezTo>
                    <a:pt x="89" y="267"/>
                    <a:pt x="92" y="268"/>
                    <a:pt x="96" y="268"/>
                  </a:cubicBezTo>
                  <a:cubicBezTo>
                    <a:pt x="96" y="268"/>
                    <a:pt x="96" y="268"/>
                    <a:pt x="97" y="268"/>
                  </a:cubicBezTo>
                  <a:cubicBezTo>
                    <a:pt x="100" y="269"/>
                    <a:pt x="104" y="269"/>
                    <a:pt x="107" y="270"/>
                  </a:cubicBezTo>
                  <a:cubicBezTo>
                    <a:pt x="108" y="270"/>
                    <a:pt x="108" y="270"/>
                    <a:pt x="109" y="270"/>
                  </a:cubicBezTo>
                  <a:cubicBezTo>
                    <a:pt x="112" y="270"/>
                    <a:pt x="116" y="270"/>
                    <a:pt x="120" y="271"/>
                  </a:cubicBezTo>
                  <a:cubicBezTo>
                    <a:pt x="121" y="271"/>
                    <a:pt x="121" y="271"/>
                    <a:pt x="122" y="271"/>
                  </a:cubicBezTo>
                  <a:cubicBezTo>
                    <a:pt x="126" y="271"/>
                    <a:pt x="130" y="271"/>
                    <a:pt x="134" y="271"/>
                  </a:cubicBezTo>
                  <a:cubicBezTo>
                    <a:pt x="134" y="271"/>
                    <a:pt x="135" y="271"/>
                    <a:pt x="136" y="271"/>
                  </a:cubicBezTo>
                  <a:cubicBezTo>
                    <a:pt x="140" y="272"/>
                    <a:pt x="144" y="272"/>
                    <a:pt x="148" y="272"/>
                  </a:cubicBezTo>
                  <a:cubicBezTo>
                    <a:pt x="153" y="272"/>
                    <a:pt x="157" y="272"/>
                    <a:pt x="161" y="271"/>
                  </a:cubicBezTo>
                  <a:cubicBezTo>
                    <a:pt x="161" y="271"/>
                    <a:pt x="162" y="271"/>
                    <a:pt x="163" y="271"/>
                  </a:cubicBezTo>
                  <a:cubicBezTo>
                    <a:pt x="167" y="271"/>
                    <a:pt x="171" y="271"/>
                    <a:pt x="174" y="271"/>
                  </a:cubicBezTo>
                  <a:cubicBezTo>
                    <a:pt x="175" y="271"/>
                    <a:pt x="176" y="271"/>
                    <a:pt x="177" y="271"/>
                  </a:cubicBezTo>
                  <a:cubicBezTo>
                    <a:pt x="178" y="271"/>
                    <a:pt x="180" y="270"/>
                    <a:pt x="181" y="270"/>
                  </a:cubicBezTo>
                  <a:cubicBezTo>
                    <a:pt x="192" y="280"/>
                    <a:pt x="204" y="288"/>
                    <a:pt x="218" y="293"/>
                  </a:cubicBezTo>
                  <a:cubicBezTo>
                    <a:pt x="216" y="294"/>
                    <a:pt x="215" y="294"/>
                    <a:pt x="213" y="294"/>
                  </a:cubicBezTo>
                  <a:cubicBezTo>
                    <a:pt x="212" y="294"/>
                    <a:pt x="212" y="295"/>
                    <a:pt x="211" y="295"/>
                  </a:cubicBezTo>
                  <a:cubicBezTo>
                    <a:pt x="208" y="295"/>
                    <a:pt x="204" y="296"/>
                    <a:pt x="201" y="296"/>
                  </a:cubicBezTo>
                  <a:cubicBezTo>
                    <a:pt x="200" y="296"/>
                    <a:pt x="200" y="296"/>
                    <a:pt x="200" y="297"/>
                  </a:cubicBezTo>
                  <a:cubicBezTo>
                    <a:pt x="196" y="297"/>
                    <a:pt x="193" y="297"/>
                    <a:pt x="189" y="298"/>
                  </a:cubicBezTo>
                  <a:cubicBezTo>
                    <a:pt x="189" y="298"/>
                    <a:pt x="188" y="298"/>
                    <a:pt x="188" y="298"/>
                  </a:cubicBezTo>
                  <a:cubicBezTo>
                    <a:pt x="184" y="298"/>
                    <a:pt x="180" y="299"/>
                    <a:pt x="177" y="299"/>
                  </a:cubicBezTo>
                  <a:cubicBezTo>
                    <a:pt x="176" y="299"/>
                    <a:pt x="175" y="299"/>
                    <a:pt x="174" y="299"/>
                  </a:cubicBezTo>
                  <a:cubicBezTo>
                    <a:pt x="171" y="299"/>
                    <a:pt x="167" y="300"/>
                    <a:pt x="163" y="300"/>
                  </a:cubicBezTo>
                  <a:cubicBezTo>
                    <a:pt x="162" y="300"/>
                    <a:pt x="161" y="300"/>
                    <a:pt x="161" y="300"/>
                  </a:cubicBezTo>
                  <a:cubicBezTo>
                    <a:pt x="157" y="300"/>
                    <a:pt x="153" y="300"/>
                    <a:pt x="148" y="300"/>
                  </a:cubicBezTo>
                  <a:cubicBezTo>
                    <a:pt x="144" y="300"/>
                    <a:pt x="140" y="300"/>
                    <a:pt x="136" y="300"/>
                  </a:cubicBezTo>
                  <a:cubicBezTo>
                    <a:pt x="135" y="300"/>
                    <a:pt x="134" y="300"/>
                    <a:pt x="134" y="300"/>
                  </a:cubicBezTo>
                  <a:cubicBezTo>
                    <a:pt x="130" y="300"/>
                    <a:pt x="126" y="299"/>
                    <a:pt x="122" y="299"/>
                  </a:cubicBezTo>
                  <a:cubicBezTo>
                    <a:pt x="121" y="299"/>
                    <a:pt x="121" y="299"/>
                    <a:pt x="120" y="299"/>
                  </a:cubicBezTo>
                  <a:cubicBezTo>
                    <a:pt x="116" y="299"/>
                    <a:pt x="112" y="298"/>
                    <a:pt x="109" y="298"/>
                  </a:cubicBezTo>
                  <a:cubicBezTo>
                    <a:pt x="108" y="298"/>
                    <a:pt x="108" y="298"/>
                    <a:pt x="107" y="298"/>
                  </a:cubicBezTo>
                  <a:cubicBezTo>
                    <a:pt x="104" y="297"/>
                    <a:pt x="100" y="297"/>
                    <a:pt x="97" y="297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2" y="296"/>
                    <a:pt x="89" y="295"/>
                    <a:pt x="85" y="295"/>
                  </a:cubicBezTo>
                  <a:cubicBezTo>
                    <a:pt x="85" y="295"/>
                    <a:pt x="84" y="294"/>
                    <a:pt x="84" y="294"/>
                  </a:cubicBezTo>
                  <a:cubicBezTo>
                    <a:pt x="80" y="294"/>
                    <a:pt x="77" y="293"/>
                    <a:pt x="74" y="292"/>
                  </a:cubicBezTo>
                  <a:cubicBezTo>
                    <a:pt x="73" y="292"/>
                    <a:pt x="73" y="292"/>
                    <a:pt x="73" y="292"/>
                  </a:cubicBezTo>
                  <a:cubicBezTo>
                    <a:pt x="66" y="291"/>
                    <a:pt x="60" y="289"/>
                    <a:pt x="54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0" y="286"/>
                    <a:pt x="47" y="285"/>
                    <a:pt x="45" y="284"/>
                  </a:cubicBezTo>
                  <a:cubicBezTo>
                    <a:pt x="44" y="284"/>
                    <a:pt x="44" y="284"/>
                    <a:pt x="44" y="284"/>
                  </a:cubicBezTo>
                  <a:cubicBezTo>
                    <a:pt x="35" y="280"/>
                    <a:pt x="28" y="277"/>
                    <a:pt x="22" y="273"/>
                  </a:cubicBezTo>
                  <a:cubicBezTo>
                    <a:pt x="22" y="273"/>
                    <a:pt x="22" y="273"/>
                    <a:pt x="22" y="273"/>
                  </a:cubicBezTo>
                  <a:cubicBezTo>
                    <a:pt x="13" y="268"/>
                    <a:pt x="7" y="263"/>
                    <a:pt x="3" y="257"/>
                  </a:cubicBezTo>
                  <a:cubicBezTo>
                    <a:pt x="1" y="254"/>
                    <a:pt x="0" y="250"/>
                    <a:pt x="0" y="246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4"/>
                    <a:pt x="1" y="307"/>
                    <a:pt x="3" y="311"/>
                  </a:cubicBezTo>
                  <a:cubicBezTo>
                    <a:pt x="7" y="317"/>
                    <a:pt x="13" y="322"/>
                    <a:pt x="22" y="327"/>
                  </a:cubicBezTo>
                  <a:cubicBezTo>
                    <a:pt x="22" y="327"/>
                    <a:pt x="22" y="327"/>
                    <a:pt x="22" y="327"/>
                  </a:cubicBezTo>
                  <a:cubicBezTo>
                    <a:pt x="28" y="331"/>
                    <a:pt x="35" y="334"/>
                    <a:pt x="44" y="337"/>
                  </a:cubicBezTo>
                  <a:cubicBezTo>
                    <a:pt x="44" y="337"/>
                    <a:pt x="44" y="338"/>
                    <a:pt x="45" y="338"/>
                  </a:cubicBezTo>
                  <a:cubicBezTo>
                    <a:pt x="47" y="339"/>
                    <a:pt x="50" y="340"/>
                    <a:pt x="53" y="341"/>
                  </a:cubicBezTo>
                  <a:cubicBezTo>
                    <a:pt x="53" y="341"/>
                    <a:pt x="53" y="341"/>
                    <a:pt x="54" y="341"/>
                  </a:cubicBezTo>
                  <a:cubicBezTo>
                    <a:pt x="60" y="343"/>
                    <a:pt x="66" y="344"/>
                    <a:pt x="73" y="346"/>
                  </a:cubicBezTo>
                  <a:cubicBezTo>
                    <a:pt x="73" y="346"/>
                    <a:pt x="73" y="346"/>
                    <a:pt x="74" y="346"/>
                  </a:cubicBezTo>
                  <a:cubicBezTo>
                    <a:pt x="77" y="347"/>
                    <a:pt x="80" y="347"/>
                    <a:pt x="84" y="348"/>
                  </a:cubicBezTo>
                  <a:cubicBezTo>
                    <a:pt x="84" y="348"/>
                    <a:pt x="85" y="348"/>
                    <a:pt x="85" y="348"/>
                  </a:cubicBezTo>
                  <a:cubicBezTo>
                    <a:pt x="89" y="349"/>
                    <a:pt x="92" y="350"/>
                    <a:pt x="96" y="350"/>
                  </a:cubicBezTo>
                  <a:cubicBezTo>
                    <a:pt x="96" y="350"/>
                    <a:pt x="96" y="350"/>
                    <a:pt x="97" y="350"/>
                  </a:cubicBezTo>
                  <a:cubicBezTo>
                    <a:pt x="100" y="351"/>
                    <a:pt x="104" y="351"/>
                    <a:pt x="107" y="352"/>
                  </a:cubicBezTo>
                  <a:cubicBezTo>
                    <a:pt x="108" y="352"/>
                    <a:pt x="108" y="352"/>
                    <a:pt x="109" y="352"/>
                  </a:cubicBezTo>
                  <a:cubicBezTo>
                    <a:pt x="112" y="352"/>
                    <a:pt x="116" y="352"/>
                    <a:pt x="120" y="353"/>
                  </a:cubicBezTo>
                  <a:cubicBezTo>
                    <a:pt x="121" y="353"/>
                    <a:pt x="121" y="353"/>
                    <a:pt x="122" y="353"/>
                  </a:cubicBezTo>
                  <a:cubicBezTo>
                    <a:pt x="126" y="353"/>
                    <a:pt x="130" y="353"/>
                    <a:pt x="134" y="353"/>
                  </a:cubicBezTo>
                  <a:cubicBezTo>
                    <a:pt x="134" y="354"/>
                    <a:pt x="135" y="354"/>
                    <a:pt x="136" y="354"/>
                  </a:cubicBezTo>
                  <a:cubicBezTo>
                    <a:pt x="140" y="354"/>
                    <a:pt x="144" y="354"/>
                    <a:pt x="148" y="354"/>
                  </a:cubicBezTo>
                  <a:cubicBezTo>
                    <a:pt x="153" y="354"/>
                    <a:pt x="157" y="354"/>
                    <a:pt x="161" y="354"/>
                  </a:cubicBezTo>
                  <a:cubicBezTo>
                    <a:pt x="161" y="354"/>
                    <a:pt x="162" y="354"/>
                    <a:pt x="163" y="353"/>
                  </a:cubicBezTo>
                  <a:cubicBezTo>
                    <a:pt x="167" y="353"/>
                    <a:pt x="171" y="353"/>
                    <a:pt x="174" y="353"/>
                  </a:cubicBezTo>
                  <a:cubicBezTo>
                    <a:pt x="175" y="353"/>
                    <a:pt x="176" y="353"/>
                    <a:pt x="177" y="353"/>
                  </a:cubicBezTo>
                  <a:cubicBezTo>
                    <a:pt x="180" y="352"/>
                    <a:pt x="184" y="352"/>
                    <a:pt x="188" y="352"/>
                  </a:cubicBezTo>
                  <a:cubicBezTo>
                    <a:pt x="188" y="352"/>
                    <a:pt x="189" y="352"/>
                    <a:pt x="189" y="352"/>
                  </a:cubicBezTo>
                  <a:cubicBezTo>
                    <a:pt x="193" y="351"/>
                    <a:pt x="196" y="351"/>
                    <a:pt x="200" y="350"/>
                  </a:cubicBezTo>
                  <a:cubicBezTo>
                    <a:pt x="200" y="350"/>
                    <a:pt x="200" y="350"/>
                    <a:pt x="201" y="350"/>
                  </a:cubicBezTo>
                  <a:cubicBezTo>
                    <a:pt x="204" y="350"/>
                    <a:pt x="208" y="349"/>
                    <a:pt x="211" y="348"/>
                  </a:cubicBezTo>
                  <a:cubicBezTo>
                    <a:pt x="212" y="348"/>
                    <a:pt x="212" y="348"/>
                    <a:pt x="213" y="348"/>
                  </a:cubicBezTo>
                  <a:cubicBezTo>
                    <a:pt x="216" y="347"/>
                    <a:pt x="220" y="347"/>
                    <a:pt x="223" y="346"/>
                  </a:cubicBezTo>
                  <a:cubicBezTo>
                    <a:pt x="223" y="346"/>
                    <a:pt x="224" y="346"/>
                    <a:pt x="224" y="346"/>
                  </a:cubicBezTo>
                  <a:cubicBezTo>
                    <a:pt x="231" y="344"/>
                    <a:pt x="237" y="343"/>
                    <a:pt x="243" y="341"/>
                  </a:cubicBezTo>
                  <a:cubicBezTo>
                    <a:pt x="243" y="341"/>
                    <a:pt x="243" y="341"/>
                    <a:pt x="244" y="341"/>
                  </a:cubicBezTo>
                  <a:cubicBezTo>
                    <a:pt x="247" y="340"/>
                    <a:pt x="249" y="339"/>
                    <a:pt x="252" y="338"/>
                  </a:cubicBezTo>
                  <a:cubicBezTo>
                    <a:pt x="252" y="338"/>
                    <a:pt x="253" y="337"/>
                    <a:pt x="253" y="337"/>
                  </a:cubicBezTo>
                  <a:cubicBezTo>
                    <a:pt x="261" y="334"/>
                    <a:pt x="269" y="331"/>
                    <a:pt x="275" y="327"/>
                  </a:cubicBezTo>
                  <a:cubicBezTo>
                    <a:pt x="275" y="327"/>
                    <a:pt x="275" y="327"/>
                    <a:pt x="275" y="327"/>
                  </a:cubicBezTo>
                  <a:cubicBezTo>
                    <a:pt x="289" y="319"/>
                    <a:pt x="297" y="309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311" y="293"/>
                    <a:pt x="324" y="286"/>
                    <a:pt x="335" y="278"/>
                  </a:cubicBezTo>
                  <a:cubicBezTo>
                    <a:pt x="349" y="291"/>
                    <a:pt x="349" y="291"/>
                    <a:pt x="349" y="291"/>
                  </a:cubicBezTo>
                  <a:cubicBezTo>
                    <a:pt x="343" y="297"/>
                    <a:pt x="343" y="297"/>
                    <a:pt x="343" y="297"/>
                  </a:cubicBezTo>
                  <a:cubicBezTo>
                    <a:pt x="423" y="378"/>
                    <a:pt x="423" y="378"/>
                    <a:pt x="423" y="378"/>
                  </a:cubicBezTo>
                  <a:cubicBezTo>
                    <a:pt x="429" y="372"/>
                    <a:pt x="429" y="372"/>
                    <a:pt x="429" y="372"/>
                  </a:cubicBezTo>
                  <a:cubicBezTo>
                    <a:pt x="454" y="347"/>
                    <a:pt x="454" y="347"/>
                    <a:pt x="454" y="347"/>
                  </a:cubicBezTo>
                  <a:cubicBezTo>
                    <a:pt x="454" y="347"/>
                    <a:pt x="454" y="347"/>
                    <a:pt x="454" y="347"/>
                  </a:cubicBezTo>
                  <a:lnTo>
                    <a:pt x="460" y="341"/>
                  </a:lnTo>
                  <a:close/>
                  <a:moveTo>
                    <a:pt x="263" y="276"/>
                  </a:moveTo>
                  <a:cubicBezTo>
                    <a:pt x="210" y="276"/>
                    <a:pt x="167" y="233"/>
                    <a:pt x="167" y="180"/>
                  </a:cubicBezTo>
                  <a:cubicBezTo>
                    <a:pt x="167" y="128"/>
                    <a:pt x="210" y="85"/>
                    <a:pt x="263" y="85"/>
                  </a:cubicBezTo>
                  <a:cubicBezTo>
                    <a:pt x="315" y="85"/>
                    <a:pt x="358" y="128"/>
                    <a:pt x="358" y="180"/>
                  </a:cubicBezTo>
                  <a:cubicBezTo>
                    <a:pt x="358" y="233"/>
                    <a:pt x="315" y="276"/>
                    <a:pt x="263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myP_Bulb">
            <a:extLst>
              <a:ext uri="{FF2B5EF4-FFF2-40B4-BE49-F238E27FC236}">
                <a16:creationId xmlns:a16="http://schemas.microsoft.com/office/drawing/2014/main" id="{30514568-999C-43A9-BF17-5674020DDC87}"/>
              </a:ext>
            </a:extLst>
          </p:cNvPr>
          <p:cNvGrpSpPr/>
          <p:nvPr/>
        </p:nvGrpSpPr>
        <p:grpSpPr>
          <a:xfrm>
            <a:off x="1636178" y="2878398"/>
            <a:ext cx="379307" cy="476272"/>
            <a:chOff x="1174750" y="1774825"/>
            <a:chExt cx="1266825" cy="1590676"/>
          </a:xfrm>
          <a:solidFill>
            <a:schemeClr val="tx1"/>
          </a:solidFill>
        </p:grpSpPr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DD9697EF-AB95-4A53-B8DC-7E02AB9B8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4750" y="2408238"/>
              <a:ext cx="881063" cy="957263"/>
            </a:xfrm>
            <a:custGeom>
              <a:avLst/>
              <a:gdLst>
                <a:gd name="T0" fmla="*/ 223 w 456"/>
                <a:gd name="T1" fmla="*/ 245 h 493"/>
                <a:gd name="T2" fmla="*/ 223 w 456"/>
                <a:gd name="T3" fmla="*/ 110 h 493"/>
                <a:gd name="T4" fmla="*/ 154 w 456"/>
                <a:gd name="T5" fmla="*/ 37 h 493"/>
                <a:gd name="T6" fmla="*/ 85 w 456"/>
                <a:gd name="T7" fmla="*/ 109 h 493"/>
                <a:gd name="T8" fmla="*/ 85 w 456"/>
                <a:gd name="T9" fmla="*/ 347 h 493"/>
                <a:gd name="T10" fmla="*/ 100 w 456"/>
                <a:gd name="T11" fmla="*/ 372 h 493"/>
                <a:gd name="T12" fmla="*/ 131 w 456"/>
                <a:gd name="T13" fmla="*/ 447 h 493"/>
                <a:gd name="T14" fmla="*/ 70 w 456"/>
                <a:gd name="T15" fmla="*/ 493 h 493"/>
                <a:gd name="T16" fmla="*/ 9 w 456"/>
                <a:gd name="T17" fmla="*/ 447 h 493"/>
                <a:gd name="T18" fmla="*/ 40 w 456"/>
                <a:gd name="T19" fmla="*/ 372 h 493"/>
                <a:gd name="T20" fmla="*/ 55 w 456"/>
                <a:gd name="T21" fmla="*/ 344 h 493"/>
                <a:gd name="T22" fmla="*/ 55 w 456"/>
                <a:gd name="T23" fmla="*/ 104 h 493"/>
                <a:gd name="T24" fmla="*/ 145 w 456"/>
                <a:gd name="T25" fmla="*/ 6 h 493"/>
                <a:gd name="T26" fmla="*/ 249 w 456"/>
                <a:gd name="T27" fmla="*/ 75 h 493"/>
                <a:gd name="T28" fmla="*/ 253 w 456"/>
                <a:gd name="T29" fmla="*/ 111 h 493"/>
                <a:gd name="T30" fmla="*/ 253 w 456"/>
                <a:gd name="T31" fmla="*/ 377 h 493"/>
                <a:gd name="T32" fmla="*/ 304 w 456"/>
                <a:gd name="T33" fmla="*/ 452 h 493"/>
                <a:gd name="T34" fmla="*/ 391 w 456"/>
                <a:gd name="T35" fmla="*/ 394 h 493"/>
                <a:gd name="T36" fmla="*/ 392 w 456"/>
                <a:gd name="T37" fmla="*/ 336 h 493"/>
                <a:gd name="T38" fmla="*/ 374 w 456"/>
                <a:gd name="T39" fmla="*/ 318 h 493"/>
                <a:gd name="T40" fmla="*/ 364 w 456"/>
                <a:gd name="T41" fmla="*/ 300 h 493"/>
                <a:gd name="T42" fmla="*/ 399 w 456"/>
                <a:gd name="T43" fmla="*/ 230 h 493"/>
                <a:gd name="T44" fmla="*/ 415 w 456"/>
                <a:gd name="T45" fmla="*/ 229 h 493"/>
                <a:gd name="T46" fmla="*/ 451 w 456"/>
                <a:gd name="T47" fmla="*/ 302 h 493"/>
                <a:gd name="T48" fmla="*/ 442 w 456"/>
                <a:gd name="T49" fmla="*/ 317 h 493"/>
                <a:gd name="T50" fmla="*/ 424 w 456"/>
                <a:gd name="T51" fmla="*/ 339 h 493"/>
                <a:gd name="T52" fmla="*/ 422 w 456"/>
                <a:gd name="T53" fmla="*/ 399 h 493"/>
                <a:gd name="T54" fmla="*/ 315 w 456"/>
                <a:gd name="T55" fmla="*/ 486 h 493"/>
                <a:gd name="T56" fmla="*/ 223 w 456"/>
                <a:gd name="T57" fmla="*/ 385 h 493"/>
                <a:gd name="T58" fmla="*/ 223 w 456"/>
                <a:gd name="T59" fmla="*/ 245 h 493"/>
                <a:gd name="T60" fmla="*/ 223 w 456"/>
                <a:gd name="T61" fmla="*/ 245 h 493"/>
                <a:gd name="T62" fmla="*/ 70 w 456"/>
                <a:gd name="T63" fmla="*/ 461 h 493"/>
                <a:gd name="T64" fmla="*/ 103 w 456"/>
                <a:gd name="T65" fmla="*/ 429 h 493"/>
                <a:gd name="T66" fmla="*/ 69 w 456"/>
                <a:gd name="T67" fmla="*/ 395 h 493"/>
                <a:gd name="T68" fmla="*/ 37 w 456"/>
                <a:gd name="T69" fmla="*/ 429 h 493"/>
                <a:gd name="T70" fmla="*/ 70 w 456"/>
                <a:gd name="T71" fmla="*/ 461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6" h="493">
                  <a:moveTo>
                    <a:pt x="223" y="245"/>
                  </a:moveTo>
                  <a:cubicBezTo>
                    <a:pt x="223" y="200"/>
                    <a:pt x="223" y="155"/>
                    <a:pt x="223" y="110"/>
                  </a:cubicBezTo>
                  <a:cubicBezTo>
                    <a:pt x="223" y="67"/>
                    <a:pt x="195" y="37"/>
                    <a:pt x="154" y="37"/>
                  </a:cubicBezTo>
                  <a:cubicBezTo>
                    <a:pt x="115" y="37"/>
                    <a:pt x="86" y="67"/>
                    <a:pt x="85" y="109"/>
                  </a:cubicBezTo>
                  <a:cubicBezTo>
                    <a:pt x="85" y="189"/>
                    <a:pt x="85" y="268"/>
                    <a:pt x="85" y="347"/>
                  </a:cubicBezTo>
                  <a:cubicBezTo>
                    <a:pt x="85" y="359"/>
                    <a:pt x="89" y="366"/>
                    <a:pt x="100" y="372"/>
                  </a:cubicBezTo>
                  <a:cubicBezTo>
                    <a:pt x="128" y="387"/>
                    <a:pt x="140" y="416"/>
                    <a:pt x="131" y="447"/>
                  </a:cubicBezTo>
                  <a:cubicBezTo>
                    <a:pt x="124" y="472"/>
                    <a:pt x="97" y="493"/>
                    <a:pt x="70" y="493"/>
                  </a:cubicBezTo>
                  <a:cubicBezTo>
                    <a:pt x="43" y="493"/>
                    <a:pt x="16" y="473"/>
                    <a:pt x="9" y="447"/>
                  </a:cubicBezTo>
                  <a:cubicBezTo>
                    <a:pt x="0" y="417"/>
                    <a:pt x="11" y="387"/>
                    <a:pt x="40" y="372"/>
                  </a:cubicBezTo>
                  <a:cubicBezTo>
                    <a:pt x="53" y="365"/>
                    <a:pt x="55" y="357"/>
                    <a:pt x="55" y="344"/>
                  </a:cubicBezTo>
                  <a:cubicBezTo>
                    <a:pt x="55" y="264"/>
                    <a:pt x="54" y="184"/>
                    <a:pt x="55" y="104"/>
                  </a:cubicBezTo>
                  <a:cubicBezTo>
                    <a:pt x="55" y="52"/>
                    <a:pt x="92" y="13"/>
                    <a:pt x="145" y="6"/>
                  </a:cubicBezTo>
                  <a:cubicBezTo>
                    <a:pt x="189" y="0"/>
                    <a:pt x="235" y="30"/>
                    <a:pt x="249" y="75"/>
                  </a:cubicBezTo>
                  <a:cubicBezTo>
                    <a:pt x="253" y="87"/>
                    <a:pt x="253" y="99"/>
                    <a:pt x="253" y="111"/>
                  </a:cubicBezTo>
                  <a:cubicBezTo>
                    <a:pt x="253" y="200"/>
                    <a:pt x="253" y="288"/>
                    <a:pt x="253" y="377"/>
                  </a:cubicBezTo>
                  <a:cubicBezTo>
                    <a:pt x="254" y="417"/>
                    <a:pt x="271" y="442"/>
                    <a:pt x="304" y="452"/>
                  </a:cubicBezTo>
                  <a:cubicBezTo>
                    <a:pt x="344" y="464"/>
                    <a:pt x="388" y="436"/>
                    <a:pt x="391" y="394"/>
                  </a:cubicBezTo>
                  <a:cubicBezTo>
                    <a:pt x="392" y="374"/>
                    <a:pt x="391" y="355"/>
                    <a:pt x="392" y="336"/>
                  </a:cubicBezTo>
                  <a:cubicBezTo>
                    <a:pt x="392" y="323"/>
                    <a:pt x="387" y="317"/>
                    <a:pt x="374" y="318"/>
                  </a:cubicBezTo>
                  <a:cubicBezTo>
                    <a:pt x="360" y="318"/>
                    <a:pt x="359" y="311"/>
                    <a:pt x="364" y="300"/>
                  </a:cubicBezTo>
                  <a:cubicBezTo>
                    <a:pt x="376" y="277"/>
                    <a:pt x="388" y="254"/>
                    <a:pt x="399" y="230"/>
                  </a:cubicBezTo>
                  <a:cubicBezTo>
                    <a:pt x="404" y="221"/>
                    <a:pt x="408" y="217"/>
                    <a:pt x="415" y="229"/>
                  </a:cubicBezTo>
                  <a:cubicBezTo>
                    <a:pt x="427" y="254"/>
                    <a:pt x="439" y="278"/>
                    <a:pt x="451" y="302"/>
                  </a:cubicBezTo>
                  <a:cubicBezTo>
                    <a:pt x="456" y="312"/>
                    <a:pt x="454" y="318"/>
                    <a:pt x="442" y="317"/>
                  </a:cubicBezTo>
                  <a:cubicBezTo>
                    <a:pt x="426" y="317"/>
                    <a:pt x="424" y="326"/>
                    <a:pt x="424" y="339"/>
                  </a:cubicBezTo>
                  <a:cubicBezTo>
                    <a:pt x="424" y="359"/>
                    <a:pt x="425" y="379"/>
                    <a:pt x="422" y="399"/>
                  </a:cubicBezTo>
                  <a:cubicBezTo>
                    <a:pt x="414" y="453"/>
                    <a:pt x="369" y="490"/>
                    <a:pt x="315" y="486"/>
                  </a:cubicBezTo>
                  <a:cubicBezTo>
                    <a:pt x="264" y="482"/>
                    <a:pt x="224" y="439"/>
                    <a:pt x="223" y="385"/>
                  </a:cubicBezTo>
                  <a:cubicBezTo>
                    <a:pt x="223" y="339"/>
                    <a:pt x="223" y="292"/>
                    <a:pt x="223" y="245"/>
                  </a:cubicBezTo>
                  <a:cubicBezTo>
                    <a:pt x="223" y="245"/>
                    <a:pt x="223" y="245"/>
                    <a:pt x="223" y="245"/>
                  </a:cubicBezTo>
                  <a:close/>
                  <a:moveTo>
                    <a:pt x="70" y="461"/>
                  </a:moveTo>
                  <a:cubicBezTo>
                    <a:pt x="89" y="461"/>
                    <a:pt x="103" y="448"/>
                    <a:pt x="103" y="429"/>
                  </a:cubicBezTo>
                  <a:cubicBezTo>
                    <a:pt x="103" y="410"/>
                    <a:pt x="87" y="394"/>
                    <a:pt x="69" y="395"/>
                  </a:cubicBezTo>
                  <a:cubicBezTo>
                    <a:pt x="52" y="395"/>
                    <a:pt x="37" y="411"/>
                    <a:pt x="37" y="429"/>
                  </a:cubicBezTo>
                  <a:cubicBezTo>
                    <a:pt x="37" y="447"/>
                    <a:pt x="51" y="461"/>
                    <a:pt x="70" y="4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D6978589-4486-4893-AF25-2BC23D761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1992313"/>
              <a:ext cx="541338" cy="596900"/>
            </a:xfrm>
            <a:custGeom>
              <a:avLst/>
              <a:gdLst>
                <a:gd name="T0" fmla="*/ 146 w 280"/>
                <a:gd name="T1" fmla="*/ 308 h 308"/>
                <a:gd name="T2" fmla="*/ 140 w 280"/>
                <a:gd name="T3" fmla="*/ 308 h 308"/>
                <a:gd name="T4" fmla="*/ 94 w 280"/>
                <a:gd name="T5" fmla="*/ 267 h 308"/>
                <a:gd name="T6" fmla="*/ 74 w 280"/>
                <a:gd name="T7" fmla="*/ 242 h 308"/>
                <a:gd name="T8" fmla="*/ 41 w 280"/>
                <a:gd name="T9" fmla="*/ 63 h 308"/>
                <a:gd name="T10" fmla="*/ 175 w 280"/>
                <a:gd name="T11" fmla="*/ 12 h 308"/>
                <a:gd name="T12" fmla="*/ 271 w 280"/>
                <a:gd name="T13" fmla="*/ 113 h 308"/>
                <a:gd name="T14" fmla="*/ 215 w 280"/>
                <a:gd name="T15" fmla="*/ 243 h 308"/>
                <a:gd name="T16" fmla="*/ 195 w 280"/>
                <a:gd name="T17" fmla="*/ 281 h 308"/>
                <a:gd name="T18" fmla="*/ 168 w 280"/>
                <a:gd name="T19" fmla="*/ 308 h 308"/>
                <a:gd name="T20" fmla="*/ 146 w 280"/>
                <a:gd name="T21" fmla="*/ 308 h 308"/>
                <a:gd name="T22" fmla="*/ 145 w 280"/>
                <a:gd name="T23" fmla="*/ 40 h 308"/>
                <a:gd name="T24" fmla="*/ 52 w 280"/>
                <a:gd name="T25" fmla="*/ 110 h 308"/>
                <a:gd name="T26" fmla="*/ 102 w 280"/>
                <a:gd name="T27" fmla="*/ 223 h 308"/>
                <a:gd name="T28" fmla="*/ 126 w 280"/>
                <a:gd name="T29" fmla="*/ 260 h 308"/>
                <a:gd name="T30" fmla="*/ 146 w 280"/>
                <a:gd name="T31" fmla="*/ 276 h 308"/>
                <a:gd name="T32" fmla="*/ 165 w 280"/>
                <a:gd name="T33" fmla="*/ 260 h 308"/>
                <a:gd name="T34" fmla="*/ 190 w 280"/>
                <a:gd name="T35" fmla="*/ 221 h 308"/>
                <a:gd name="T36" fmla="*/ 239 w 280"/>
                <a:gd name="T37" fmla="*/ 112 h 308"/>
                <a:gd name="T38" fmla="*/ 145 w 280"/>
                <a:gd name="T39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308">
                  <a:moveTo>
                    <a:pt x="146" y="308"/>
                  </a:moveTo>
                  <a:cubicBezTo>
                    <a:pt x="144" y="308"/>
                    <a:pt x="142" y="308"/>
                    <a:pt x="140" y="308"/>
                  </a:cubicBezTo>
                  <a:cubicBezTo>
                    <a:pt x="98" y="308"/>
                    <a:pt x="97" y="308"/>
                    <a:pt x="94" y="267"/>
                  </a:cubicBezTo>
                  <a:cubicBezTo>
                    <a:pt x="93" y="253"/>
                    <a:pt x="83" y="248"/>
                    <a:pt x="74" y="242"/>
                  </a:cubicBezTo>
                  <a:cubicBezTo>
                    <a:pt x="14" y="201"/>
                    <a:pt x="0" y="122"/>
                    <a:pt x="41" y="63"/>
                  </a:cubicBezTo>
                  <a:cubicBezTo>
                    <a:pt x="72" y="20"/>
                    <a:pt x="123" y="0"/>
                    <a:pt x="175" y="12"/>
                  </a:cubicBezTo>
                  <a:cubicBezTo>
                    <a:pt x="223" y="23"/>
                    <a:pt x="262" y="64"/>
                    <a:pt x="271" y="113"/>
                  </a:cubicBezTo>
                  <a:cubicBezTo>
                    <a:pt x="280" y="164"/>
                    <a:pt x="259" y="216"/>
                    <a:pt x="215" y="243"/>
                  </a:cubicBezTo>
                  <a:cubicBezTo>
                    <a:pt x="199" y="253"/>
                    <a:pt x="194" y="264"/>
                    <a:pt x="195" y="281"/>
                  </a:cubicBezTo>
                  <a:cubicBezTo>
                    <a:pt x="196" y="307"/>
                    <a:pt x="194" y="308"/>
                    <a:pt x="168" y="308"/>
                  </a:cubicBezTo>
                  <a:cubicBezTo>
                    <a:pt x="160" y="308"/>
                    <a:pt x="153" y="308"/>
                    <a:pt x="146" y="308"/>
                  </a:cubicBezTo>
                  <a:close/>
                  <a:moveTo>
                    <a:pt x="145" y="40"/>
                  </a:moveTo>
                  <a:cubicBezTo>
                    <a:pt x="101" y="40"/>
                    <a:pt x="62" y="69"/>
                    <a:pt x="52" y="110"/>
                  </a:cubicBezTo>
                  <a:cubicBezTo>
                    <a:pt x="40" y="157"/>
                    <a:pt x="60" y="202"/>
                    <a:pt x="102" y="223"/>
                  </a:cubicBezTo>
                  <a:cubicBezTo>
                    <a:pt x="120" y="231"/>
                    <a:pt x="129" y="240"/>
                    <a:pt x="126" y="260"/>
                  </a:cubicBezTo>
                  <a:cubicBezTo>
                    <a:pt x="125" y="274"/>
                    <a:pt x="134" y="276"/>
                    <a:pt x="146" y="276"/>
                  </a:cubicBezTo>
                  <a:cubicBezTo>
                    <a:pt x="157" y="276"/>
                    <a:pt x="167" y="274"/>
                    <a:pt x="165" y="260"/>
                  </a:cubicBezTo>
                  <a:cubicBezTo>
                    <a:pt x="162" y="239"/>
                    <a:pt x="173" y="230"/>
                    <a:pt x="190" y="221"/>
                  </a:cubicBezTo>
                  <a:cubicBezTo>
                    <a:pt x="231" y="202"/>
                    <a:pt x="251" y="156"/>
                    <a:pt x="239" y="112"/>
                  </a:cubicBezTo>
                  <a:cubicBezTo>
                    <a:pt x="229" y="69"/>
                    <a:pt x="191" y="40"/>
                    <a:pt x="14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CAFD4B65-703F-4177-80E6-27B239D5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636838"/>
              <a:ext cx="195263" cy="61913"/>
            </a:xfrm>
            <a:custGeom>
              <a:avLst/>
              <a:gdLst>
                <a:gd name="T0" fmla="*/ 49 w 101"/>
                <a:gd name="T1" fmla="*/ 32 h 32"/>
                <a:gd name="T2" fmla="*/ 15 w 101"/>
                <a:gd name="T3" fmla="*/ 32 h 32"/>
                <a:gd name="T4" fmla="*/ 0 w 101"/>
                <a:gd name="T5" fmla="*/ 18 h 32"/>
                <a:gd name="T6" fmla="*/ 15 w 101"/>
                <a:gd name="T7" fmla="*/ 0 h 32"/>
                <a:gd name="T8" fmla="*/ 87 w 101"/>
                <a:gd name="T9" fmla="*/ 0 h 32"/>
                <a:gd name="T10" fmla="*/ 101 w 101"/>
                <a:gd name="T11" fmla="*/ 16 h 32"/>
                <a:gd name="T12" fmla="*/ 85 w 101"/>
                <a:gd name="T13" fmla="*/ 32 h 32"/>
                <a:gd name="T14" fmla="*/ 49 w 10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2">
                  <a:moveTo>
                    <a:pt x="49" y="32"/>
                  </a:moveTo>
                  <a:cubicBezTo>
                    <a:pt x="38" y="32"/>
                    <a:pt x="27" y="32"/>
                    <a:pt x="15" y="32"/>
                  </a:cubicBezTo>
                  <a:cubicBezTo>
                    <a:pt x="6" y="32"/>
                    <a:pt x="1" y="28"/>
                    <a:pt x="0" y="18"/>
                  </a:cubicBezTo>
                  <a:cubicBezTo>
                    <a:pt x="0" y="8"/>
                    <a:pt x="4" y="1"/>
                    <a:pt x="15" y="0"/>
                  </a:cubicBezTo>
                  <a:cubicBezTo>
                    <a:pt x="39" y="0"/>
                    <a:pt x="63" y="0"/>
                    <a:pt x="87" y="0"/>
                  </a:cubicBezTo>
                  <a:cubicBezTo>
                    <a:pt x="97" y="1"/>
                    <a:pt x="101" y="6"/>
                    <a:pt x="101" y="16"/>
                  </a:cubicBezTo>
                  <a:cubicBezTo>
                    <a:pt x="101" y="27"/>
                    <a:pt x="96" y="32"/>
                    <a:pt x="85" y="32"/>
                  </a:cubicBezTo>
                  <a:cubicBezTo>
                    <a:pt x="73" y="32"/>
                    <a:pt x="61" y="32"/>
                    <a:pt x="4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859E827F-9AC1-40FD-B6DC-AC6FBFAB9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138" y="2239963"/>
              <a:ext cx="173038" cy="61913"/>
            </a:xfrm>
            <a:custGeom>
              <a:avLst/>
              <a:gdLst>
                <a:gd name="T0" fmla="*/ 46 w 89"/>
                <a:gd name="T1" fmla="*/ 0 h 32"/>
                <a:gd name="T2" fmla="*/ 68 w 89"/>
                <a:gd name="T3" fmla="*/ 0 h 32"/>
                <a:gd name="T4" fmla="*/ 89 w 89"/>
                <a:gd name="T5" fmla="*/ 17 h 32"/>
                <a:gd name="T6" fmla="*/ 67 w 89"/>
                <a:gd name="T7" fmla="*/ 32 h 32"/>
                <a:gd name="T8" fmla="*/ 21 w 89"/>
                <a:gd name="T9" fmla="*/ 32 h 32"/>
                <a:gd name="T10" fmla="*/ 1 w 89"/>
                <a:gd name="T11" fmla="*/ 16 h 32"/>
                <a:gd name="T12" fmla="*/ 20 w 89"/>
                <a:gd name="T13" fmla="*/ 0 h 32"/>
                <a:gd name="T14" fmla="*/ 46 w 89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4" y="0"/>
                    <a:pt x="61" y="0"/>
                    <a:pt x="68" y="0"/>
                  </a:cubicBezTo>
                  <a:cubicBezTo>
                    <a:pt x="80" y="0"/>
                    <a:pt x="89" y="1"/>
                    <a:pt x="89" y="17"/>
                  </a:cubicBezTo>
                  <a:cubicBezTo>
                    <a:pt x="89" y="32"/>
                    <a:pt x="78" y="32"/>
                    <a:pt x="67" y="32"/>
                  </a:cubicBezTo>
                  <a:cubicBezTo>
                    <a:pt x="52" y="32"/>
                    <a:pt x="37" y="32"/>
                    <a:pt x="21" y="32"/>
                  </a:cubicBezTo>
                  <a:cubicBezTo>
                    <a:pt x="10" y="32"/>
                    <a:pt x="0" y="31"/>
                    <a:pt x="1" y="16"/>
                  </a:cubicBezTo>
                  <a:cubicBezTo>
                    <a:pt x="1" y="1"/>
                    <a:pt x="10" y="0"/>
                    <a:pt x="20" y="0"/>
                  </a:cubicBezTo>
                  <a:cubicBezTo>
                    <a:pt x="29" y="0"/>
                    <a:pt x="38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06E4E2F0-9B6D-4381-8FD1-085450B20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125" y="2239963"/>
              <a:ext cx="171450" cy="61913"/>
            </a:xfrm>
            <a:custGeom>
              <a:avLst/>
              <a:gdLst>
                <a:gd name="T0" fmla="*/ 46 w 89"/>
                <a:gd name="T1" fmla="*/ 0 h 32"/>
                <a:gd name="T2" fmla="*/ 72 w 89"/>
                <a:gd name="T3" fmla="*/ 0 h 32"/>
                <a:gd name="T4" fmla="*/ 89 w 89"/>
                <a:gd name="T5" fmla="*/ 17 h 32"/>
                <a:gd name="T6" fmla="*/ 73 w 89"/>
                <a:gd name="T7" fmla="*/ 32 h 32"/>
                <a:gd name="T8" fmla="*/ 15 w 89"/>
                <a:gd name="T9" fmla="*/ 32 h 32"/>
                <a:gd name="T10" fmla="*/ 1 w 89"/>
                <a:gd name="T11" fmla="*/ 16 h 32"/>
                <a:gd name="T12" fmla="*/ 15 w 89"/>
                <a:gd name="T13" fmla="*/ 0 h 32"/>
                <a:gd name="T14" fmla="*/ 46 w 89"/>
                <a:gd name="T15" fmla="*/ 0 h 32"/>
                <a:gd name="T16" fmla="*/ 46 w 8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5" y="0"/>
                    <a:pt x="63" y="0"/>
                    <a:pt x="72" y="0"/>
                  </a:cubicBezTo>
                  <a:cubicBezTo>
                    <a:pt x="84" y="0"/>
                    <a:pt x="89" y="5"/>
                    <a:pt x="89" y="17"/>
                  </a:cubicBezTo>
                  <a:cubicBezTo>
                    <a:pt x="89" y="28"/>
                    <a:pt x="83" y="32"/>
                    <a:pt x="73" y="32"/>
                  </a:cubicBezTo>
                  <a:cubicBezTo>
                    <a:pt x="54" y="32"/>
                    <a:pt x="34" y="32"/>
                    <a:pt x="15" y="32"/>
                  </a:cubicBezTo>
                  <a:cubicBezTo>
                    <a:pt x="4" y="32"/>
                    <a:pt x="0" y="26"/>
                    <a:pt x="1" y="16"/>
                  </a:cubicBezTo>
                  <a:cubicBezTo>
                    <a:pt x="1" y="6"/>
                    <a:pt x="5" y="1"/>
                    <a:pt x="15" y="0"/>
                  </a:cubicBezTo>
                  <a:cubicBezTo>
                    <a:pt x="25" y="0"/>
                    <a:pt x="3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BC3004E6-6155-4B7F-9C05-78E06942F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1774825"/>
              <a:ext cx="61913" cy="173038"/>
            </a:xfrm>
            <a:custGeom>
              <a:avLst/>
              <a:gdLst>
                <a:gd name="T0" fmla="*/ 32 w 32"/>
                <a:gd name="T1" fmla="*/ 46 h 89"/>
                <a:gd name="T2" fmla="*/ 32 w 32"/>
                <a:gd name="T3" fmla="*/ 74 h 89"/>
                <a:gd name="T4" fmla="*/ 15 w 32"/>
                <a:gd name="T5" fmla="*/ 89 h 89"/>
                <a:gd name="T6" fmla="*/ 0 w 32"/>
                <a:gd name="T7" fmla="*/ 73 h 89"/>
                <a:gd name="T8" fmla="*/ 0 w 32"/>
                <a:gd name="T9" fmla="*/ 17 h 89"/>
                <a:gd name="T10" fmla="*/ 15 w 32"/>
                <a:gd name="T11" fmla="*/ 1 h 89"/>
                <a:gd name="T12" fmla="*/ 32 w 32"/>
                <a:gd name="T13" fmla="*/ 18 h 89"/>
                <a:gd name="T14" fmla="*/ 32 w 32"/>
                <a:gd name="T15" fmla="*/ 46 h 89"/>
                <a:gd name="T16" fmla="*/ 32 w 32"/>
                <a:gd name="T1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89">
                  <a:moveTo>
                    <a:pt x="32" y="46"/>
                  </a:moveTo>
                  <a:cubicBezTo>
                    <a:pt x="32" y="55"/>
                    <a:pt x="32" y="65"/>
                    <a:pt x="32" y="74"/>
                  </a:cubicBezTo>
                  <a:cubicBezTo>
                    <a:pt x="32" y="85"/>
                    <a:pt x="26" y="89"/>
                    <a:pt x="15" y="89"/>
                  </a:cubicBezTo>
                  <a:cubicBezTo>
                    <a:pt x="4" y="89"/>
                    <a:pt x="0" y="84"/>
                    <a:pt x="0" y="73"/>
                  </a:cubicBezTo>
                  <a:cubicBezTo>
                    <a:pt x="0" y="55"/>
                    <a:pt x="0" y="36"/>
                    <a:pt x="0" y="17"/>
                  </a:cubicBezTo>
                  <a:cubicBezTo>
                    <a:pt x="0" y="7"/>
                    <a:pt x="4" y="1"/>
                    <a:pt x="15" y="1"/>
                  </a:cubicBezTo>
                  <a:cubicBezTo>
                    <a:pt x="27" y="0"/>
                    <a:pt x="32" y="7"/>
                    <a:pt x="32" y="18"/>
                  </a:cubicBezTo>
                  <a:cubicBezTo>
                    <a:pt x="32" y="27"/>
                    <a:pt x="32" y="37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AC8FF4A2-D156-4EB5-8E67-637EA1846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88" y="1827213"/>
              <a:ext cx="127000" cy="177800"/>
            </a:xfrm>
            <a:custGeom>
              <a:avLst/>
              <a:gdLst>
                <a:gd name="T0" fmla="*/ 65 w 66"/>
                <a:gd name="T1" fmla="*/ 69 h 92"/>
                <a:gd name="T2" fmla="*/ 55 w 66"/>
                <a:gd name="T3" fmla="*/ 85 h 92"/>
                <a:gd name="T4" fmla="*/ 39 w 66"/>
                <a:gd name="T5" fmla="*/ 85 h 92"/>
                <a:gd name="T6" fmla="*/ 3 w 66"/>
                <a:gd name="T7" fmla="*/ 23 h 92"/>
                <a:gd name="T8" fmla="*/ 12 w 66"/>
                <a:gd name="T9" fmla="*/ 9 h 92"/>
                <a:gd name="T10" fmla="*/ 28 w 66"/>
                <a:gd name="T11" fmla="*/ 7 h 92"/>
                <a:gd name="T12" fmla="*/ 65 w 66"/>
                <a:gd name="T13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92">
                  <a:moveTo>
                    <a:pt x="65" y="69"/>
                  </a:moveTo>
                  <a:cubicBezTo>
                    <a:pt x="66" y="80"/>
                    <a:pt x="60" y="82"/>
                    <a:pt x="55" y="85"/>
                  </a:cubicBezTo>
                  <a:cubicBezTo>
                    <a:pt x="50" y="88"/>
                    <a:pt x="43" y="92"/>
                    <a:pt x="39" y="85"/>
                  </a:cubicBezTo>
                  <a:cubicBezTo>
                    <a:pt x="26" y="64"/>
                    <a:pt x="14" y="44"/>
                    <a:pt x="3" y="23"/>
                  </a:cubicBezTo>
                  <a:cubicBezTo>
                    <a:pt x="0" y="16"/>
                    <a:pt x="7" y="12"/>
                    <a:pt x="12" y="9"/>
                  </a:cubicBezTo>
                  <a:cubicBezTo>
                    <a:pt x="17" y="6"/>
                    <a:pt x="23" y="0"/>
                    <a:pt x="28" y="7"/>
                  </a:cubicBezTo>
                  <a:cubicBezTo>
                    <a:pt x="41" y="28"/>
                    <a:pt x="54" y="50"/>
                    <a:pt x="65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3D55B0CD-A0FE-4553-9ABC-D4FC35FF4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1835150"/>
              <a:ext cx="130175" cy="168275"/>
            </a:xfrm>
            <a:custGeom>
              <a:avLst/>
              <a:gdLst>
                <a:gd name="T0" fmla="*/ 46 w 68"/>
                <a:gd name="T1" fmla="*/ 0 h 87"/>
                <a:gd name="T2" fmla="*/ 62 w 68"/>
                <a:gd name="T3" fmla="*/ 26 h 87"/>
                <a:gd name="T4" fmla="*/ 33 w 68"/>
                <a:gd name="T5" fmla="*/ 76 h 87"/>
                <a:gd name="T6" fmla="*/ 11 w 68"/>
                <a:gd name="T7" fmla="*/ 80 h 87"/>
                <a:gd name="T8" fmla="*/ 5 w 68"/>
                <a:gd name="T9" fmla="*/ 60 h 87"/>
                <a:gd name="T10" fmla="*/ 36 w 68"/>
                <a:gd name="T11" fmla="*/ 9 h 87"/>
                <a:gd name="T12" fmla="*/ 46 w 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87">
                  <a:moveTo>
                    <a:pt x="46" y="0"/>
                  </a:moveTo>
                  <a:cubicBezTo>
                    <a:pt x="59" y="0"/>
                    <a:pt x="68" y="15"/>
                    <a:pt x="62" y="26"/>
                  </a:cubicBezTo>
                  <a:cubicBezTo>
                    <a:pt x="52" y="43"/>
                    <a:pt x="42" y="59"/>
                    <a:pt x="33" y="76"/>
                  </a:cubicBezTo>
                  <a:cubicBezTo>
                    <a:pt x="27" y="87"/>
                    <a:pt x="20" y="85"/>
                    <a:pt x="11" y="80"/>
                  </a:cubicBezTo>
                  <a:cubicBezTo>
                    <a:pt x="3" y="75"/>
                    <a:pt x="0" y="69"/>
                    <a:pt x="5" y="60"/>
                  </a:cubicBezTo>
                  <a:cubicBezTo>
                    <a:pt x="16" y="43"/>
                    <a:pt x="26" y="26"/>
                    <a:pt x="36" y="9"/>
                  </a:cubicBezTo>
                  <a:cubicBezTo>
                    <a:pt x="38" y="5"/>
                    <a:pt x="4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4A7B0B0E-4DB1-4E26-8B44-E686F5216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50" y="2012950"/>
              <a:ext cx="173038" cy="130175"/>
            </a:xfrm>
            <a:custGeom>
              <a:avLst/>
              <a:gdLst>
                <a:gd name="T0" fmla="*/ 16 w 90"/>
                <a:gd name="T1" fmla="*/ 67 h 67"/>
                <a:gd name="T2" fmla="*/ 3 w 90"/>
                <a:gd name="T3" fmla="*/ 52 h 67"/>
                <a:gd name="T4" fmla="*/ 7 w 90"/>
                <a:gd name="T5" fmla="*/ 38 h 67"/>
                <a:gd name="T6" fmla="*/ 64 w 90"/>
                <a:gd name="T7" fmla="*/ 5 h 67"/>
                <a:gd name="T8" fmla="*/ 81 w 90"/>
                <a:gd name="T9" fmla="*/ 13 h 67"/>
                <a:gd name="T10" fmla="*/ 81 w 90"/>
                <a:gd name="T11" fmla="*/ 30 h 67"/>
                <a:gd name="T12" fmla="*/ 21 w 90"/>
                <a:gd name="T13" fmla="*/ 65 h 67"/>
                <a:gd name="T14" fmla="*/ 16 w 90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67">
                  <a:moveTo>
                    <a:pt x="16" y="67"/>
                  </a:moveTo>
                  <a:cubicBezTo>
                    <a:pt x="8" y="64"/>
                    <a:pt x="6" y="57"/>
                    <a:pt x="3" y="52"/>
                  </a:cubicBezTo>
                  <a:cubicBezTo>
                    <a:pt x="0" y="46"/>
                    <a:pt x="2" y="41"/>
                    <a:pt x="7" y="38"/>
                  </a:cubicBezTo>
                  <a:cubicBezTo>
                    <a:pt x="26" y="27"/>
                    <a:pt x="45" y="16"/>
                    <a:pt x="64" y="5"/>
                  </a:cubicBezTo>
                  <a:cubicBezTo>
                    <a:pt x="73" y="0"/>
                    <a:pt x="78" y="6"/>
                    <a:pt x="81" y="13"/>
                  </a:cubicBezTo>
                  <a:cubicBezTo>
                    <a:pt x="85" y="19"/>
                    <a:pt x="90" y="25"/>
                    <a:pt x="81" y="30"/>
                  </a:cubicBezTo>
                  <a:cubicBezTo>
                    <a:pt x="62" y="42"/>
                    <a:pt x="41" y="54"/>
                    <a:pt x="21" y="65"/>
                  </a:cubicBezTo>
                  <a:cubicBezTo>
                    <a:pt x="19" y="66"/>
                    <a:pt x="17" y="66"/>
                    <a:pt x="1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05C393B9-3BA7-484C-ACA1-ED7E8D7CA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2011363"/>
              <a:ext cx="169863" cy="134938"/>
            </a:xfrm>
            <a:custGeom>
              <a:avLst/>
              <a:gdLst>
                <a:gd name="T0" fmla="*/ 87 w 88"/>
                <a:gd name="T1" fmla="*/ 46 h 70"/>
                <a:gd name="T2" fmla="*/ 62 w 88"/>
                <a:gd name="T3" fmla="*/ 63 h 70"/>
                <a:gd name="T4" fmla="*/ 10 w 88"/>
                <a:gd name="T5" fmla="*/ 33 h 70"/>
                <a:gd name="T6" fmla="*/ 7 w 88"/>
                <a:gd name="T7" fmla="*/ 15 h 70"/>
                <a:gd name="T8" fmla="*/ 24 w 88"/>
                <a:gd name="T9" fmla="*/ 6 h 70"/>
                <a:gd name="T10" fmla="*/ 82 w 88"/>
                <a:gd name="T11" fmla="*/ 39 h 70"/>
                <a:gd name="T12" fmla="*/ 87 w 88"/>
                <a:gd name="T13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70">
                  <a:moveTo>
                    <a:pt x="87" y="46"/>
                  </a:moveTo>
                  <a:cubicBezTo>
                    <a:pt x="88" y="61"/>
                    <a:pt x="74" y="70"/>
                    <a:pt x="62" y="63"/>
                  </a:cubicBezTo>
                  <a:cubicBezTo>
                    <a:pt x="44" y="53"/>
                    <a:pt x="27" y="43"/>
                    <a:pt x="10" y="33"/>
                  </a:cubicBezTo>
                  <a:cubicBezTo>
                    <a:pt x="0" y="28"/>
                    <a:pt x="3" y="22"/>
                    <a:pt x="7" y="15"/>
                  </a:cubicBezTo>
                  <a:cubicBezTo>
                    <a:pt x="11" y="8"/>
                    <a:pt x="14" y="0"/>
                    <a:pt x="24" y="6"/>
                  </a:cubicBezTo>
                  <a:cubicBezTo>
                    <a:pt x="43" y="17"/>
                    <a:pt x="63" y="28"/>
                    <a:pt x="82" y="39"/>
                  </a:cubicBezTo>
                  <a:cubicBezTo>
                    <a:pt x="85" y="41"/>
                    <a:pt x="87" y="44"/>
                    <a:pt x="8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E57234CA-100B-4ACA-8A3B-F32D78CAD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2174875"/>
              <a:ext cx="290513" cy="211138"/>
            </a:xfrm>
            <a:custGeom>
              <a:avLst/>
              <a:gdLst>
                <a:gd name="T0" fmla="*/ 60 w 150"/>
                <a:gd name="T1" fmla="*/ 109 h 109"/>
                <a:gd name="T2" fmla="*/ 57 w 150"/>
                <a:gd name="T3" fmla="*/ 109 h 109"/>
                <a:gd name="T4" fmla="*/ 1 w 150"/>
                <a:gd name="T5" fmla="*/ 52 h 109"/>
                <a:gd name="T6" fmla="*/ 11 w 150"/>
                <a:gd name="T7" fmla="*/ 36 h 109"/>
                <a:gd name="T8" fmla="*/ 25 w 150"/>
                <a:gd name="T9" fmla="*/ 37 h 109"/>
                <a:gd name="T10" fmla="*/ 30 w 150"/>
                <a:gd name="T11" fmla="*/ 41 h 109"/>
                <a:gd name="T12" fmla="*/ 87 w 150"/>
                <a:gd name="T13" fmla="*/ 40 h 109"/>
                <a:gd name="T14" fmla="*/ 120 w 150"/>
                <a:gd name="T15" fmla="*/ 7 h 109"/>
                <a:gd name="T16" fmla="*/ 139 w 150"/>
                <a:gd name="T17" fmla="*/ 10 h 109"/>
                <a:gd name="T18" fmla="*/ 142 w 150"/>
                <a:gd name="T19" fmla="*/ 29 h 109"/>
                <a:gd name="T20" fmla="*/ 66 w 150"/>
                <a:gd name="T21" fmla="*/ 105 h 109"/>
                <a:gd name="T22" fmla="*/ 60 w 150"/>
                <a:gd name="T2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09">
                  <a:moveTo>
                    <a:pt x="60" y="109"/>
                  </a:moveTo>
                  <a:cubicBezTo>
                    <a:pt x="58" y="109"/>
                    <a:pt x="58" y="109"/>
                    <a:pt x="57" y="109"/>
                  </a:cubicBezTo>
                  <a:cubicBezTo>
                    <a:pt x="53" y="108"/>
                    <a:pt x="1" y="57"/>
                    <a:pt x="1" y="52"/>
                  </a:cubicBezTo>
                  <a:cubicBezTo>
                    <a:pt x="0" y="45"/>
                    <a:pt x="7" y="41"/>
                    <a:pt x="11" y="36"/>
                  </a:cubicBezTo>
                  <a:cubicBezTo>
                    <a:pt x="16" y="32"/>
                    <a:pt x="21" y="32"/>
                    <a:pt x="25" y="37"/>
                  </a:cubicBezTo>
                  <a:cubicBezTo>
                    <a:pt x="27" y="38"/>
                    <a:pt x="28" y="39"/>
                    <a:pt x="30" y="41"/>
                  </a:cubicBezTo>
                  <a:cubicBezTo>
                    <a:pt x="59" y="68"/>
                    <a:pt x="59" y="68"/>
                    <a:pt x="87" y="40"/>
                  </a:cubicBezTo>
                  <a:cubicBezTo>
                    <a:pt x="98" y="29"/>
                    <a:pt x="109" y="18"/>
                    <a:pt x="120" y="7"/>
                  </a:cubicBezTo>
                  <a:cubicBezTo>
                    <a:pt x="128" y="0"/>
                    <a:pt x="133" y="5"/>
                    <a:pt x="139" y="10"/>
                  </a:cubicBezTo>
                  <a:cubicBezTo>
                    <a:pt x="144" y="16"/>
                    <a:pt x="150" y="21"/>
                    <a:pt x="142" y="29"/>
                  </a:cubicBezTo>
                  <a:cubicBezTo>
                    <a:pt x="117" y="54"/>
                    <a:pt x="91" y="80"/>
                    <a:pt x="66" y="105"/>
                  </a:cubicBezTo>
                  <a:cubicBezTo>
                    <a:pt x="64" y="107"/>
                    <a:pt x="62" y="108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uppieren 215">
            <a:extLst>
              <a:ext uri="{FF2B5EF4-FFF2-40B4-BE49-F238E27FC236}">
                <a16:creationId xmlns:a16="http://schemas.microsoft.com/office/drawing/2014/main" id="{0C14F3EA-29DE-4135-B1CF-DB39D859A514}"/>
              </a:ext>
            </a:extLst>
          </p:cNvPr>
          <p:cNvGrpSpPr/>
          <p:nvPr/>
        </p:nvGrpSpPr>
        <p:grpSpPr bwMode="gray">
          <a:xfrm>
            <a:off x="8209968" y="3637388"/>
            <a:ext cx="362354" cy="372190"/>
            <a:chOff x="-16246475" y="1563688"/>
            <a:chExt cx="701675" cy="720725"/>
          </a:xfrm>
          <a:solidFill>
            <a:schemeClr val="bg1"/>
          </a:solidFill>
        </p:grpSpPr>
        <p:sp>
          <p:nvSpPr>
            <p:cNvPr id="121" name="Freeform 81">
              <a:extLst>
                <a:ext uri="{FF2B5EF4-FFF2-40B4-BE49-F238E27FC236}">
                  <a16:creationId xmlns:a16="http://schemas.microsoft.com/office/drawing/2014/main" id="{7894F3AC-C42B-49C0-94B8-62DF10325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2">
              <a:extLst>
                <a:ext uri="{FF2B5EF4-FFF2-40B4-BE49-F238E27FC236}">
                  <a16:creationId xmlns:a16="http://schemas.microsoft.com/office/drawing/2014/main" id="{0A170C37-853C-4A5D-A421-35A0B97A75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Freeform 47">
            <a:extLst>
              <a:ext uri="{FF2B5EF4-FFF2-40B4-BE49-F238E27FC236}">
                <a16:creationId xmlns:a16="http://schemas.microsoft.com/office/drawing/2014/main" id="{DA1FD08E-1B8F-4D25-96F9-987E35946207}"/>
              </a:ext>
            </a:extLst>
          </p:cNvPr>
          <p:cNvSpPr>
            <a:spLocks noEditPoints="1"/>
          </p:cNvSpPr>
          <p:nvPr/>
        </p:nvSpPr>
        <p:spPr bwMode="gray">
          <a:xfrm>
            <a:off x="6974523" y="2993212"/>
            <a:ext cx="263146" cy="331754"/>
          </a:xfrm>
          <a:custGeom>
            <a:avLst/>
            <a:gdLst>
              <a:gd name="T0" fmla="*/ 16 w 128"/>
              <a:gd name="T1" fmla="*/ 132 h 162"/>
              <a:gd name="T2" fmla="*/ 20 w 128"/>
              <a:gd name="T3" fmla="*/ 140 h 162"/>
              <a:gd name="T4" fmla="*/ 19 w 128"/>
              <a:gd name="T5" fmla="*/ 137 h 162"/>
              <a:gd name="T6" fmla="*/ 94 w 128"/>
              <a:gd name="T7" fmla="*/ 46 h 162"/>
              <a:gd name="T8" fmla="*/ 83 w 128"/>
              <a:gd name="T9" fmla="*/ 0 h 162"/>
              <a:gd name="T10" fmla="*/ 0 w 128"/>
              <a:gd name="T11" fmla="*/ 9 h 162"/>
              <a:gd name="T12" fmla="*/ 7 w 128"/>
              <a:gd name="T13" fmla="*/ 162 h 162"/>
              <a:gd name="T14" fmla="*/ 128 w 128"/>
              <a:gd name="T15" fmla="*/ 153 h 162"/>
              <a:gd name="T16" fmla="*/ 94 w 128"/>
              <a:gd name="T17" fmla="*/ 46 h 162"/>
              <a:gd name="T18" fmla="*/ 20 w 128"/>
              <a:gd name="T19" fmla="*/ 59 h 162"/>
              <a:gd name="T20" fmla="*/ 43 w 128"/>
              <a:gd name="T21" fmla="*/ 65 h 162"/>
              <a:gd name="T22" fmla="*/ 37 w 128"/>
              <a:gd name="T23" fmla="*/ 89 h 162"/>
              <a:gd name="T24" fmla="*/ 14 w 128"/>
              <a:gd name="T25" fmla="*/ 83 h 162"/>
              <a:gd name="T26" fmla="*/ 42 w 128"/>
              <a:gd name="T27" fmla="*/ 115 h 162"/>
              <a:gd name="T28" fmla="*/ 43 w 128"/>
              <a:gd name="T29" fmla="*/ 137 h 162"/>
              <a:gd name="T30" fmla="*/ 20 w 128"/>
              <a:gd name="T31" fmla="*/ 143 h 162"/>
              <a:gd name="T32" fmla="*/ 14 w 128"/>
              <a:gd name="T33" fmla="*/ 128 h 162"/>
              <a:gd name="T34" fmla="*/ 14 w 128"/>
              <a:gd name="T35" fmla="*/ 126 h 162"/>
              <a:gd name="T36" fmla="*/ 20 w 128"/>
              <a:gd name="T37" fmla="*/ 113 h 162"/>
              <a:gd name="T38" fmla="*/ 39 w 128"/>
              <a:gd name="T39" fmla="*/ 114 h 162"/>
              <a:gd name="T40" fmla="*/ 52 w 128"/>
              <a:gd name="T41" fmla="*/ 106 h 162"/>
              <a:gd name="T42" fmla="*/ 109 w 128"/>
              <a:gd name="T43" fmla="*/ 139 h 162"/>
              <a:gd name="T44" fmla="*/ 58 w 128"/>
              <a:gd name="T45" fmla="*/ 118 h 162"/>
              <a:gd name="T46" fmla="*/ 109 w 128"/>
              <a:gd name="T47" fmla="*/ 139 h 162"/>
              <a:gd name="T48" fmla="*/ 58 w 128"/>
              <a:gd name="T49" fmla="*/ 85 h 162"/>
              <a:gd name="T50" fmla="*/ 109 w 128"/>
              <a:gd name="T51" fmla="*/ 63 h 162"/>
              <a:gd name="T52" fmla="*/ 94 w 128"/>
              <a:gd name="T53" fmla="*/ 41 h 162"/>
              <a:gd name="T54" fmla="*/ 88 w 128"/>
              <a:gd name="T55" fmla="*/ 5 h 162"/>
              <a:gd name="T56" fmla="*/ 94 w 128"/>
              <a:gd name="T57" fmla="*/ 41 h 162"/>
              <a:gd name="T58" fmla="*/ 37 w 128"/>
              <a:gd name="T59" fmla="*/ 86 h 162"/>
              <a:gd name="T60" fmla="*/ 40 w 128"/>
              <a:gd name="T61" fmla="*/ 65 h 162"/>
              <a:gd name="T62" fmla="*/ 20 w 128"/>
              <a:gd name="T63" fmla="*/ 62 h 162"/>
              <a:gd name="T64" fmla="*/ 16 w 128"/>
              <a:gd name="T65" fmla="*/ 83 h 162"/>
              <a:gd name="T66" fmla="*/ 38 w 128"/>
              <a:gd name="T67" fmla="*/ 120 h 162"/>
              <a:gd name="T68" fmla="*/ 24 w 128"/>
              <a:gd name="T69" fmla="*/ 139 h 162"/>
              <a:gd name="T70" fmla="*/ 37 w 128"/>
              <a:gd name="T71" fmla="*/ 140 h 162"/>
              <a:gd name="T72" fmla="*/ 40 w 128"/>
              <a:gd name="T73" fmla="*/ 119 h 162"/>
              <a:gd name="T74" fmla="*/ 38 w 128"/>
              <a:gd name="T75" fmla="*/ 120 h 162"/>
              <a:gd name="T76" fmla="*/ 20 w 128"/>
              <a:gd name="T77" fmla="*/ 116 h 162"/>
              <a:gd name="T78" fmla="*/ 16 w 128"/>
              <a:gd name="T79" fmla="*/ 124 h 162"/>
              <a:gd name="T80" fmla="*/ 22 w 128"/>
              <a:gd name="T81" fmla="*/ 130 h 162"/>
              <a:gd name="T82" fmla="*/ 36 w 128"/>
              <a:gd name="T83" fmla="*/ 11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8" h="162">
                <a:moveTo>
                  <a:pt x="18" y="136"/>
                </a:moveTo>
                <a:cubicBezTo>
                  <a:pt x="18" y="134"/>
                  <a:pt x="17" y="133"/>
                  <a:pt x="16" y="132"/>
                </a:cubicBezTo>
                <a:cubicBezTo>
                  <a:pt x="16" y="137"/>
                  <a:pt x="16" y="137"/>
                  <a:pt x="16" y="137"/>
                </a:cubicBezTo>
                <a:cubicBezTo>
                  <a:pt x="16" y="139"/>
                  <a:pt x="18" y="140"/>
                  <a:pt x="20" y="140"/>
                </a:cubicBezTo>
                <a:cubicBezTo>
                  <a:pt x="20" y="140"/>
                  <a:pt x="20" y="140"/>
                  <a:pt x="20" y="140"/>
                </a:cubicBezTo>
                <a:cubicBezTo>
                  <a:pt x="20" y="140"/>
                  <a:pt x="19" y="139"/>
                  <a:pt x="19" y="137"/>
                </a:cubicBezTo>
                <a:cubicBezTo>
                  <a:pt x="18" y="136"/>
                  <a:pt x="18" y="136"/>
                  <a:pt x="18" y="136"/>
                </a:cubicBezTo>
                <a:close/>
                <a:moveTo>
                  <a:pt x="94" y="46"/>
                </a:moveTo>
                <a:cubicBezTo>
                  <a:pt x="88" y="46"/>
                  <a:pt x="83" y="41"/>
                  <a:pt x="83" y="33"/>
                </a:cubicBezTo>
                <a:cubicBezTo>
                  <a:pt x="83" y="33"/>
                  <a:pt x="83" y="3"/>
                  <a:pt x="83" y="0"/>
                </a:cubicBezTo>
                <a:cubicBezTo>
                  <a:pt x="81" y="0"/>
                  <a:pt x="7" y="0"/>
                  <a:pt x="7" y="0"/>
                </a:cubicBezTo>
                <a:cubicBezTo>
                  <a:pt x="2" y="0"/>
                  <a:pt x="0" y="4"/>
                  <a:pt x="0" y="9"/>
                </a:cubicBezTo>
                <a:cubicBezTo>
                  <a:pt x="0" y="9"/>
                  <a:pt x="0" y="9"/>
                  <a:pt x="0" y="153"/>
                </a:cubicBezTo>
                <a:cubicBezTo>
                  <a:pt x="0" y="158"/>
                  <a:pt x="2" y="162"/>
                  <a:pt x="7" y="162"/>
                </a:cubicBezTo>
                <a:cubicBezTo>
                  <a:pt x="7" y="162"/>
                  <a:pt x="7" y="162"/>
                  <a:pt x="121" y="162"/>
                </a:cubicBezTo>
                <a:cubicBezTo>
                  <a:pt x="125" y="162"/>
                  <a:pt x="128" y="158"/>
                  <a:pt x="128" y="153"/>
                </a:cubicBezTo>
                <a:cubicBezTo>
                  <a:pt x="128" y="153"/>
                  <a:pt x="128" y="48"/>
                  <a:pt x="128" y="46"/>
                </a:cubicBezTo>
                <a:cubicBezTo>
                  <a:pt x="126" y="46"/>
                  <a:pt x="94" y="46"/>
                  <a:pt x="94" y="46"/>
                </a:cubicBezTo>
                <a:close/>
                <a:moveTo>
                  <a:pt x="14" y="65"/>
                </a:moveTo>
                <a:cubicBezTo>
                  <a:pt x="14" y="62"/>
                  <a:pt x="16" y="59"/>
                  <a:pt x="20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41" y="59"/>
                  <a:pt x="43" y="62"/>
                  <a:pt x="43" y="65"/>
                </a:cubicBezTo>
                <a:cubicBezTo>
                  <a:pt x="43" y="83"/>
                  <a:pt x="43" y="83"/>
                  <a:pt x="43" y="83"/>
                </a:cubicBezTo>
                <a:cubicBezTo>
                  <a:pt x="43" y="86"/>
                  <a:pt x="41" y="89"/>
                  <a:pt x="37" y="89"/>
                </a:cubicBezTo>
                <a:cubicBezTo>
                  <a:pt x="20" y="89"/>
                  <a:pt x="20" y="89"/>
                  <a:pt x="20" y="89"/>
                </a:cubicBezTo>
                <a:cubicBezTo>
                  <a:pt x="16" y="89"/>
                  <a:pt x="14" y="86"/>
                  <a:pt x="14" y="83"/>
                </a:cubicBezTo>
                <a:lnTo>
                  <a:pt x="14" y="65"/>
                </a:lnTo>
                <a:close/>
                <a:moveTo>
                  <a:pt x="42" y="115"/>
                </a:moveTo>
                <a:cubicBezTo>
                  <a:pt x="43" y="116"/>
                  <a:pt x="43" y="118"/>
                  <a:pt x="43" y="119"/>
                </a:cubicBezTo>
                <a:cubicBezTo>
                  <a:pt x="43" y="137"/>
                  <a:pt x="43" y="137"/>
                  <a:pt x="43" y="137"/>
                </a:cubicBezTo>
                <a:cubicBezTo>
                  <a:pt x="43" y="141"/>
                  <a:pt x="41" y="143"/>
                  <a:pt x="37" y="143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16" y="143"/>
                  <a:pt x="14" y="141"/>
                  <a:pt x="14" y="137"/>
                </a:cubicBezTo>
                <a:cubicBezTo>
                  <a:pt x="14" y="128"/>
                  <a:pt x="14" y="128"/>
                  <a:pt x="14" y="128"/>
                </a:cubicBezTo>
                <a:cubicBezTo>
                  <a:pt x="13" y="128"/>
                  <a:pt x="12" y="127"/>
                  <a:pt x="12" y="127"/>
                </a:cubicBezTo>
                <a:cubicBezTo>
                  <a:pt x="12" y="127"/>
                  <a:pt x="13" y="126"/>
                  <a:pt x="14" y="126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4" y="116"/>
                  <a:pt x="16" y="113"/>
                  <a:pt x="20" y="113"/>
                </a:cubicBezTo>
                <a:cubicBezTo>
                  <a:pt x="37" y="113"/>
                  <a:pt x="37" y="113"/>
                  <a:pt x="37" y="113"/>
                </a:cubicBezTo>
                <a:cubicBezTo>
                  <a:pt x="38" y="113"/>
                  <a:pt x="38" y="113"/>
                  <a:pt x="39" y="114"/>
                </a:cubicBezTo>
                <a:cubicBezTo>
                  <a:pt x="43" y="110"/>
                  <a:pt x="47" y="106"/>
                  <a:pt x="50" y="104"/>
                </a:cubicBezTo>
                <a:cubicBezTo>
                  <a:pt x="52" y="106"/>
                  <a:pt x="52" y="106"/>
                  <a:pt x="52" y="106"/>
                </a:cubicBezTo>
                <a:cubicBezTo>
                  <a:pt x="49" y="108"/>
                  <a:pt x="45" y="111"/>
                  <a:pt x="42" y="115"/>
                </a:cubicBezTo>
                <a:close/>
                <a:moveTo>
                  <a:pt x="109" y="139"/>
                </a:moveTo>
                <a:cubicBezTo>
                  <a:pt x="58" y="139"/>
                  <a:pt x="58" y="139"/>
                  <a:pt x="58" y="139"/>
                </a:cubicBezTo>
                <a:cubicBezTo>
                  <a:pt x="58" y="118"/>
                  <a:pt x="58" y="118"/>
                  <a:pt x="58" y="118"/>
                </a:cubicBezTo>
                <a:cubicBezTo>
                  <a:pt x="109" y="118"/>
                  <a:pt x="109" y="118"/>
                  <a:pt x="109" y="118"/>
                </a:cubicBezTo>
                <a:lnTo>
                  <a:pt x="109" y="139"/>
                </a:lnTo>
                <a:close/>
                <a:moveTo>
                  <a:pt x="109" y="85"/>
                </a:moveTo>
                <a:cubicBezTo>
                  <a:pt x="58" y="85"/>
                  <a:pt x="58" y="85"/>
                  <a:pt x="58" y="85"/>
                </a:cubicBezTo>
                <a:cubicBezTo>
                  <a:pt x="58" y="63"/>
                  <a:pt x="58" y="63"/>
                  <a:pt x="58" y="63"/>
                </a:cubicBezTo>
                <a:cubicBezTo>
                  <a:pt x="109" y="63"/>
                  <a:pt x="109" y="63"/>
                  <a:pt x="109" y="63"/>
                </a:cubicBezTo>
                <a:lnTo>
                  <a:pt x="109" y="85"/>
                </a:lnTo>
                <a:close/>
                <a:moveTo>
                  <a:pt x="94" y="41"/>
                </a:moveTo>
                <a:cubicBezTo>
                  <a:pt x="94" y="41"/>
                  <a:pt x="119" y="41"/>
                  <a:pt x="124" y="41"/>
                </a:cubicBezTo>
                <a:cubicBezTo>
                  <a:pt x="88" y="5"/>
                  <a:pt x="88" y="5"/>
                  <a:pt x="88" y="5"/>
                </a:cubicBezTo>
                <a:cubicBezTo>
                  <a:pt x="88" y="10"/>
                  <a:pt x="88" y="33"/>
                  <a:pt x="88" y="33"/>
                </a:cubicBezTo>
                <a:cubicBezTo>
                  <a:pt x="88" y="38"/>
                  <a:pt x="91" y="41"/>
                  <a:pt x="94" y="41"/>
                </a:cubicBezTo>
                <a:close/>
                <a:moveTo>
                  <a:pt x="2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39" y="86"/>
                  <a:pt x="40" y="85"/>
                  <a:pt x="40" y="83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3"/>
                  <a:pt x="39" y="62"/>
                  <a:pt x="37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18" y="62"/>
                  <a:pt x="16" y="63"/>
                  <a:pt x="16" y="65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5"/>
                  <a:pt x="18" y="86"/>
                  <a:pt x="20" y="86"/>
                </a:cubicBezTo>
                <a:close/>
                <a:moveTo>
                  <a:pt x="38" y="120"/>
                </a:moveTo>
                <a:cubicBezTo>
                  <a:pt x="33" y="126"/>
                  <a:pt x="29" y="132"/>
                  <a:pt x="26" y="138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4" y="140"/>
                  <a:pt x="23" y="140"/>
                  <a:pt x="23" y="140"/>
                </a:cubicBezTo>
                <a:cubicBezTo>
                  <a:pt x="37" y="140"/>
                  <a:pt x="37" y="140"/>
                  <a:pt x="37" y="140"/>
                </a:cubicBezTo>
                <a:cubicBezTo>
                  <a:pt x="39" y="140"/>
                  <a:pt x="40" y="139"/>
                  <a:pt x="40" y="137"/>
                </a:cubicBezTo>
                <a:cubicBezTo>
                  <a:pt x="40" y="119"/>
                  <a:pt x="40" y="119"/>
                  <a:pt x="40" y="119"/>
                </a:cubicBezTo>
                <a:cubicBezTo>
                  <a:pt x="40" y="119"/>
                  <a:pt x="40" y="118"/>
                  <a:pt x="40" y="118"/>
                </a:cubicBezTo>
                <a:cubicBezTo>
                  <a:pt x="39" y="118"/>
                  <a:pt x="39" y="119"/>
                  <a:pt x="38" y="120"/>
                </a:cubicBezTo>
                <a:close/>
                <a:moveTo>
                  <a:pt x="36" y="116"/>
                </a:moveTo>
                <a:cubicBezTo>
                  <a:pt x="20" y="116"/>
                  <a:pt x="20" y="116"/>
                  <a:pt x="20" y="116"/>
                </a:cubicBezTo>
                <a:cubicBezTo>
                  <a:pt x="18" y="116"/>
                  <a:pt x="16" y="118"/>
                  <a:pt x="16" y="119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9" y="124"/>
                  <a:pt x="21" y="126"/>
                  <a:pt x="22" y="130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6" y="126"/>
                  <a:pt x="31" y="121"/>
                  <a:pt x="36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myP_Data tool">
            <a:extLst>
              <a:ext uri="{FF2B5EF4-FFF2-40B4-BE49-F238E27FC236}">
                <a16:creationId xmlns:a16="http://schemas.microsoft.com/office/drawing/2014/main" id="{D21FA75F-E9AC-4F20-83E0-A8AE4E36331F}"/>
              </a:ext>
            </a:extLst>
          </p:cNvPr>
          <p:cNvSpPr>
            <a:spLocks noEditPoints="1"/>
          </p:cNvSpPr>
          <p:nvPr/>
        </p:nvSpPr>
        <p:spPr bwMode="auto">
          <a:xfrm>
            <a:off x="5632183" y="3640298"/>
            <a:ext cx="343292" cy="353844"/>
          </a:xfrm>
          <a:custGeom>
            <a:avLst/>
            <a:gdLst>
              <a:gd name="T0" fmla="*/ 770 w 891"/>
              <a:gd name="T1" fmla="*/ 485 h 914"/>
              <a:gd name="T2" fmla="*/ 799 w 891"/>
              <a:gd name="T3" fmla="*/ 675 h 914"/>
              <a:gd name="T4" fmla="*/ 883 w 891"/>
              <a:gd name="T5" fmla="*/ 817 h 914"/>
              <a:gd name="T6" fmla="*/ 683 w 891"/>
              <a:gd name="T7" fmla="*/ 828 h 914"/>
              <a:gd name="T8" fmla="*/ 766 w 891"/>
              <a:gd name="T9" fmla="*/ 661 h 914"/>
              <a:gd name="T10" fmla="*/ 744 w 891"/>
              <a:gd name="T11" fmla="*/ 519 h 914"/>
              <a:gd name="T12" fmla="*/ 576 w 891"/>
              <a:gd name="T13" fmla="*/ 540 h 914"/>
              <a:gd name="T14" fmla="*/ 542 w 891"/>
              <a:gd name="T15" fmla="*/ 635 h 914"/>
              <a:gd name="T16" fmla="*/ 460 w 891"/>
              <a:gd name="T17" fmla="*/ 654 h 914"/>
              <a:gd name="T18" fmla="*/ 486 w 891"/>
              <a:gd name="T19" fmla="*/ 708 h 914"/>
              <a:gd name="T20" fmla="*/ 438 w 891"/>
              <a:gd name="T21" fmla="*/ 903 h 914"/>
              <a:gd name="T22" fmla="*/ 407 w 891"/>
              <a:gd name="T23" fmla="*/ 705 h 914"/>
              <a:gd name="T24" fmla="*/ 426 w 891"/>
              <a:gd name="T25" fmla="*/ 658 h 914"/>
              <a:gd name="T26" fmla="*/ 342 w 891"/>
              <a:gd name="T27" fmla="*/ 635 h 914"/>
              <a:gd name="T28" fmla="*/ 310 w 891"/>
              <a:gd name="T29" fmla="*/ 537 h 914"/>
              <a:gd name="T30" fmla="*/ 148 w 891"/>
              <a:gd name="T31" fmla="*/ 519 h 914"/>
              <a:gd name="T32" fmla="*/ 132 w 891"/>
              <a:gd name="T33" fmla="*/ 683 h 914"/>
              <a:gd name="T34" fmla="*/ 219 w 891"/>
              <a:gd name="T35" fmla="*/ 805 h 914"/>
              <a:gd name="T36" fmla="*/ 18 w 891"/>
              <a:gd name="T37" fmla="*/ 834 h 914"/>
              <a:gd name="T38" fmla="*/ 98 w 891"/>
              <a:gd name="T39" fmla="*/ 674 h 914"/>
              <a:gd name="T40" fmla="*/ 132 w 891"/>
              <a:gd name="T41" fmla="*/ 485 h 914"/>
              <a:gd name="T42" fmla="*/ 310 w 891"/>
              <a:gd name="T43" fmla="*/ 463 h 914"/>
              <a:gd name="T44" fmla="*/ 351 w 891"/>
              <a:gd name="T45" fmla="*/ 369 h 914"/>
              <a:gd name="T46" fmla="*/ 426 w 891"/>
              <a:gd name="T47" fmla="*/ 352 h 914"/>
              <a:gd name="T48" fmla="*/ 276 w 891"/>
              <a:gd name="T49" fmla="*/ 303 h 914"/>
              <a:gd name="T50" fmla="*/ 284 w 891"/>
              <a:gd name="T51" fmla="*/ 113 h 914"/>
              <a:gd name="T52" fmla="*/ 502 w 891"/>
              <a:gd name="T53" fmla="*/ 59 h 914"/>
              <a:gd name="T54" fmla="*/ 635 w 891"/>
              <a:gd name="T55" fmla="*/ 126 h 914"/>
              <a:gd name="T56" fmla="*/ 694 w 891"/>
              <a:gd name="T57" fmla="*/ 240 h 914"/>
              <a:gd name="T58" fmla="*/ 480 w 891"/>
              <a:gd name="T59" fmla="*/ 303 h 914"/>
              <a:gd name="T60" fmla="*/ 504 w 891"/>
              <a:gd name="T61" fmla="*/ 369 h 914"/>
              <a:gd name="T62" fmla="*/ 576 w 891"/>
              <a:gd name="T63" fmla="*/ 398 h 914"/>
              <a:gd name="T64" fmla="*/ 598 w 891"/>
              <a:gd name="T65" fmla="*/ 485 h 914"/>
              <a:gd name="T66" fmla="*/ 440 w 891"/>
              <a:gd name="T67" fmla="*/ 261 h 914"/>
              <a:gd name="T68" fmla="*/ 633 w 891"/>
              <a:gd name="T69" fmla="*/ 254 h 914"/>
              <a:gd name="T70" fmla="*/ 622 w 891"/>
              <a:gd name="T71" fmla="*/ 182 h 914"/>
              <a:gd name="T72" fmla="*/ 576 w 891"/>
              <a:gd name="T73" fmla="*/ 112 h 914"/>
              <a:gd name="T74" fmla="*/ 534 w 891"/>
              <a:gd name="T75" fmla="*/ 135 h 914"/>
              <a:gd name="T76" fmla="*/ 511 w 891"/>
              <a:gd name="T77" fmla="*/ 170 h 914"/>
              <a:gd name="T78" fmla="*/ 489 w 891"/>
              <a:gd name="T79" fmla="*/ 130 h 914"/>
              <a:gd name="T80" fmla="*/ 339 w 891"/>
              <a:gd name="T81" fmla="*/ 140 h 914"/>
              <a:gd name="T82" fmla="*/ 285 w 891"/>
              <a:gd name="T83" fmla="*/ 159 h 914"/>
              <a:gd name="T84" fmla="*/ 282 w 891"/>
              <a:gd name="T85" fmla="*/ 260 h 914"/>
              <a:gd name="T86" fmla="*/ 354 w 891"/>
              <a:gd name="T87" fmla="*/ 500 h 914"/>
              <a:gd name="T88" fmla="*/ 373 w 891"/>
              <a:gd name="T89" fmla="*/ 593 h 914"/>
              <a:gd name="T90" fmla="*/ 533 w 891"/>
              <a:gd name="T91" fmla="*/ 577 h 914"/>
              <a:gd name="T92" fmla="*/ 517 w 891"/>
              <a:gd name="T93" fmla="*/ 411 h 914"/>
              <a:gd name="T94" fmla="*/ 354 w 891"/>
              <a:gd name="T95" fmla="*/ 428 h 914"/>
              <a:gd name="T96" fmla="*/ 444 w 891"/>
              <a:gd name="T97" fmla="*/ 742 h 914"/>
              <a:gd name="T98" fmla="*/ 443 w 891"/>
              <a:gd name="T99" fmla="*/ 860 h 914"/>
              <a:gd name="T100" fmla="*/ 444 w 891"/>
              <a:gd name="T101" fmla="*/ 742 h 914"/>
              <a:gd name="T102" fmla="*/ 56 w 891"/>
              <a:gd name="T103" fmla="*/ 800 h 914"/>
              <a:gd name="T104" fmla="*/ 174 w 891"/>
              <a:gd name="T105" fmla="*/ 799 h 914"/>
              <a:gd name="T106" fmla="*/ 723 w 891"/>
              <a:gd name="T107" fmla="*/ 801 h 914"/>
              <a:gd name="T108" fmla="*/ 841 w 891"/>
              <a:gd name="T109" fmla="*/ 800 h 914"/>
              <a:gd name="T110" fmla="*/ 723 w 891"/>
              <a:gd name="T111" fmla="*/ 801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91" h="914">
                <a:moveTo>
                  <a:pt x="684" y="485"/>
                </a:moveTo>
                <a:cubicBezTo>
                  <a:pt x="712" y="485"/>
                  <a:pt x="741" y="485"/>
                  <a:pt x="770" y="485"/>
                </a:cubicBezTo>
                <a:cubicBezTo>
                  <a:pt x="794" y="485"/>
                  <a:pt x="799" y="490"/>
                  <a:pt x="799" y="515"/>
                </a:cubicBezTo>
                <a:cubicBezTo>
                  <a:pt x="799" y="568"/>
                  <a:pt x="799" y="621"/>
                  <a:pt x="799" y="675"/>
                </a:cubicBezTo>
                <a:cubicBezTo>
                  <a:pt x="798" y="691"/>
                  <a:pt x="802" y="699"/>
                  <a:pt x="819" y="705"/>
                </a:cubicBezTo>
                <a:cubicBezTo>
                  <a:pt x="865" y="721"/>
                  <a:pt x="891" y="768"/>
                  <a:pt x="883" y="817"/>
                </a:cubicBezTo>
                <a:cubicBezTo>
                  <a:pt x="876" y="863"/>
                  <a:pt x="835" y="901"/>
                  <a:pt x="788" y="903"/>
                </a:cubicBezTo>
                <a:cubicBezTo>
                  <a:pt x="740" y="906"/>
                  <a:pt x="695" y="874"/>
                  <a:pt x="683" y="828"/>
                </a:cubicBezTo>
                <a:cubicBezTo>
                  <a:pt x="670" y="780"/>
                  <a:pt x="690" y="728"/>
                  <a:pt x="736" y="710"/>
                </a:cubicBezTo>
                <a:cubicBezTo>
                  <a:pt x="762" y="699"/>
                  <a:pt x="767" y="685"/>
                  <a:pt x="766" y="661"/>
                </a:cubicBezTo>
                <a:cubicBezTo>
                  <a:pt x="764" y="621"/>
                  <a:pt x="765" y="581"/>
                  <a:pt x="765" y="541"/>
                </a:cubicBezTo>
                <a:cubicBezTo>
                  <a:pt x="766" y="525"/>
                  <a:pt x="761" y="518"/>
                  <a:pt x="744" y="519"/>
                </a:cubicBezTo>
                <a:cubicBezTo>
                  <a:pt x="695" y="520"/>
                  <a:pt x="646" y="520"/>
                  <a:pt x="596" y="519"/>
                </a:cubicBezTo>
                <a:cubicBezTo>
                  <a:pt x="579" y="518"/>
                  <a:pt x="576" y="525"/>
                  <a:pt x="576" y="540"/>
                </a:cubicBezTo>
                <a:cubicBezTo>
                  <a:pt x="577" y="560"/>
                  <a:pt x="577" y="581"/>
                  <a:pt x="577" y="602"/>
                </a:cubicBezTo>
                <a:cubicBezTo>
                  <a:pt x="576" y="631"/>
                  <a:pt x="571" y="635"/>
                  <a:pt x="542" y="635"/>
                </a:cubicBezTo>
                <a:cubicBezTo>
                  <a:pt x="521" y="635"/>
                  <a:pt x="500" y="636"/>
                  <a:pt x="478" y="635"/>
                </a:cubicBezTo>
                <a:cubicBezTo>
                  <a:pt x="464" y="635"/>
                  <a:pt x="458" y="640"/>
                  <a:pt x="460" y="654"/>
                </a:cubicBezTo>
                <a:cubicBezTo>
                  <a:pt x="460" y="658"/>
                  <a:pt x="460" y="662"/>
                  <a:pt x="460" y="666"/>
                </a:cubicBezTo>
                <a:cubicBezTo>
                  <a:pt x="456" y="688"/>
                  <a:pt x="464" y="699"/>
                  <a:pt x="486" y="708"/>
                </a:cubicBezTo>
                <a:cubicBezTo>
                  <a:pt x="533" y="727"/>
                  <a:pt x="555" y="778"/>
                  <a:pt x="543" y="827"/>
                </a:cubicBezTo>
                <a:cubicBezTo>
                  <a:pt x="531" y="873"/>
                  <a:pt x="486" y="905"/>
                  <a:pt x="438" y="903"/>
                </a:cubicBezTo>
                <a:cubicBezTo>
                  <a:pt x="391" y="901"/>
                  <a:pt x="350" y="864"/>
                  <a:pt x="342" y="818"/>
                </a:cubicBezTo>
                <a:cubicBezTo>
                  <a:pt x="334" y="770"/>
                  <a:pt x="360" y="721"/>
                  <a:pt x="407" y="705"/>
                </a:cubicBezTo>
                <a:cubicBezTo>
                  <a:pt x="421" y="700"/>
                  <a:pt x="428" y="693"/>
                  <a:pt x="426" y="678"/>
                </a:cubicBezTo>
                <a:cubicBezTo>
                  <a:pt x="425" y="671"/>
                  <a:pt x="425" y="665"/>
                  <a:pt x="426" y="658"/>
                </a:cubicBezTo>
                <a:cubicBezTo>
                  <a:pt x="428" y="641"/>
                  <a:pt x="421" y="634"/>
                  <a:pt x="403" y="635"/>
                </a:cubicBezTo>
                <a:cubicBezTo>
                  <a:pt x="383" y="636"/>
                  <a:pt x="362" y="636"/>
                  <a:pt x="342" y="635"/>
                </a:cubicBezTo>
                <a:cubicBezTo>
                  <a:pt x="317" y="635"/>
                  <a:pt x="310" y="628"/>
                  <a:pt x="310" y="603"/>
                </a:cubicBezTo>
                <a:cubicBezTo>
                  <a:pt x="309" y="581"/>
                  <a:pt x="309" y="559"/>
                  <a:pt x="310" y="537"/>
                </a:cubicBezTo>
                <a:cubicBezTo>
                  <a:pt x="310" y="524"/>
                  <a:pt x="305" y="519"/>
                  <a:pt x="292" y="519"/>
                </a:cubicBezTo>
                <a:cubicBezTo>
                  <a:pt x="244" y="519"/>
                  <a:pt x="196" y="519"/>
                  <a:pt x="148" y="519"/>
                </a:cubicBezTo>
                <a:cubicBezTo>
                  <a:pt x="136" y="519"/>
                  <a:pt x="132" y="523"/>
                  <a:pt x="132" y="535"/>
                </a:cubicBezTo>
                <a:cubicBezTo>
                  <a:pt x="132" y="585"/>
                  <a:pt x="132" y="634"/>
                  <a:pt x="132" y="683"/>
                </a:cubicBezTo>
                <a:cubicBezTo>
                  <a:pt x="131" y="698"/>
                  <a:pt x="141" y="700"/>
                  <a:pt x="151" y="704"/>
                </a:cubicBezTo>
                <a:cubicBezTo>
                  <a:pt x="193" y="721"/>
                  <a:pt x="221" y="762"/>
                  <a:pt x="219" y="805"/>
                </a:cubicBezTo>
                <a:cubicBezTo>
                  <a:pt x="216" y="849"/>
                  <a:pt x="186" y="887"/>
                  <a:pt x="143" y="899"/>
                </a:cubicBezTo>
                <a:cubicBezTo>
                  <a:pt x="91" y="914"/>
                  <a:pt x="36" y="886"/>
                  <a:pt x="18" y="834"/>
                </a:cubicBezTo>
                <a:cubicBezTo>
                  <a:pt x="0" y="782"/>
                  <a:pt x="26" y="724"/>
                  <a:pt x="77" y="706"/>
                </a:cubicBezTo>
                <a:cubicBezTo>
                  <a:pt x="94" y="699"/>
                  <a:pt x="99" y="691"/>
                  <a:pt x="98" y="674"/>
                </a:cubicBezTo>
                <a:cubicBezTo>
                  <a:pt x="97" y="622"/>
                  <a:pt x="98" y="570"/>
                  <a:pt x="98" y="518"/>
                </a:cubicBezTo>
                <a:cubicBezTo>
                  <a:pt x="98" y="489"/>
                  <a:pt x="103" y="485"/>
                  <a:pt x="132" y="485"/>
                </a:cubicBezTo>
                <a:cubicBezTo>
                  <a:pt x="184" y="485"/>
                  <a:pt x="236" y="484"/>
                  <a:pt x="288" y="485"/>
                </a:cubicBezTo>
                <a:cubicBezTo>
                  <a:pt x="305" y="486"/>
                  <a:pt x="311" y="480"/>
                  <a:pt x="310" y="463"/>
                </a:cubicBezTo>
                <a:cubicBezTo>
                  <a:pt x="309" y="446"/>
                  <a:pt x="309" y="428"/>
                  <a:pt x="310" y="410"/>
                </a:cubicBezTo>
                <a:cubicBezTo>
                  <a:pt x="310" y="373"/>
                  <a:pt x="314" y="369"/>
                  <a:pt x="351" y="369"/>
                </a:cubicBezTo>
                <a:cubicBezTo>
                  <a:pt x="371" y="369"/>
                  <a:pt x="390" y="368"/>
                  <a:pt x="409" y="369"/>
                </a:cubicBezTo>
                <a:cubicBezTo>
                  <a:pt x="421" y="369"/>
                  <a:pt x="426" y="364"/>
                  <a:pt x="426" y="352"/>
                </a:cubicBezTo>
                <a:cubicBezTo>
                  <a:pt x="426" y="292"/>
                  <a:pt x="432" y="304"/>
                  <a:pt x="380" y="303"/>
                </a:cubicBezTo>
                <a:cubicBezTo>
                  <a:pt x="345" y="303"/>
                  <a:pt x="311" y="303"/>
                  <a:pt x="276" y="303"/>
                </a:cubicBezTo>
                <a:cubicBezTo>
                  <a:pt x="223" y="303"/>
                  <a:pt x="189" y="270"/>
                  <a:pt x="190" y="217"/>
                </a:cubicBezTo>
                <a:cubicBezTo>
                  <a:pt x="191" y="158"/>
                  <a:pt x="229" y="113"/>
                  <a:pt x="284" y="113"/>
                </a:cubicBezTo>
                <a:cubicBezTo>
                  <a:pt x="295" y="113"/>
                  <a:pt x="299" y="108"/>
                  <a:pt x="302" y="99"/>
                </a:cubicBezTo>
                <a:cubicBezTo>
                  <a:pt x="330" y="19"/>
                  <a:pt x="443" y="0"/>
                  <a:pt x="502" y="59"/>
                </a:cubicBezTo>
                <a:cubicBezTo>
                  <a:pt x="510" y="68"/>
                  <a:pt x="516" y="70"/>
                  <a:pt x="529" y="66"/>
                </a:cubicBezTo>
                <a:cubicBezTo>
                  <a:pt x="576" y="50"/>
                  <a:pt x="623" y="77"/>
                  <a:pt x="635" y="126"/>
                </a:cubicBezTo>
                <a:cubicBezTo>
                  <a:pt x="637" y="135"/>
                  <a:pt x="641" y="139"/>
                  <a:pt x="649" y="143"/>
                </a:cubicBezTo>
                <a:cubicBezTo>
                  <a:pt x="686" y="162"/>
                  <a:pt x="703" y="200"/>
                  <a:pt x="694" y="240"/>
                </a:cubicBezTo>
                <a:cubicBezTo>
                  <a:pt x="686" y="278"/>
                  <a:pt x="654" y="302"/>
                  <a:pt x="612" y="303"/>
                </a:cubicBezTo>
                <a:cubicBezTo>
                  <a:pt x="568" y="304"/>
                  <a:pt x="524" y="304"/>
                  <a:pt x="480" y="303"/>
                </a:cubicBezTo>
                <a:cubicBezTo>
                  <a:pt x="464" y="303"/>
                  <a:pt x="459" y="308"/>
                  <a:pt x="460" y="324"/>
                </a:cubicBezTo>
                <a:cubicBezTo>
                  <a:pt x="461" y="378"/>
                  <a:pt x="454" y="367"/>
                  <a:pt x="504" y="369"/>
                </a:cubicBezTo>
                <a:cubicBezTo>
                  <a:pt x="518" y="369"/>
                  <a:pt x="532" y="369"/>
                  <a:pt x="546" y="369"/>
                </a:cubicBezTo>
                <a:cubicBezTo>
                  <a:pt x="570" y="369"/>
                  <a:pt x="576" y="374"/>
                  <a:pt x="576" y="398"/>
                </a:cubicBezTo>
                <a:cubicBezTo>
                  <a:pt x="576" y="420"/>
                  <a:pt x="577" y="442"/>
                  <a:pt x="576" y="464"/>
                </a:cubicBezTo>
                <a:cubicBezTo>
                  <a:pt x="575" y="481"/>
                  <a:pt x="581" y="486"/>
                  <a:pt x="598" y="485"/>
                </a:cubicBezTo>
                <a:cubicBezTo>
                  <a:pt x="626" y="484"/>
                  <a:pt x="655" y="485"/>
                  <a:pt x="684" y="485"/>
                </a:cubicBezTo>
                <a:close/>
                <a:moveTo>
                  <a:pt x="440" y="261"/>
                </a:moveTo>
                <a:cubicBezTo>
                  <a:pt x="493" y="261"/>
                  <a:pt x="547" y="260"/>
                  <a:pt x="600" y="261"/>
                </a:cubicBezTo>
                <a:cubicBezTo>
                  <a:pt x="612" y="261"/>
                  <a:pt x="623" y="260"/>
                  <a:pt x="633" y="254"/>
                </a:cubicBezTo>
                <a:cubicBezTo>
                  <a:pt x="650" y="245"/>
                  <a:pt x="656" y="230"/>
                  <a:pt x="652" y="212"/>
                </a:cubicBezTo>
                <a:cubicBezTo>
                  <a:pt x="649" y="196"/>
                  <a:pt x="641" y="184"/>
                  <a:pt x="622" y="182"/>
                </a:cubicBezTo>
                <a:cubicBezTo>
                  <a:pt x="585" y="178"/>
                  <a:pt x="585" y="177"/>
                  <a:pt x="591" y="141"/>
                </a:cubicBezTo>
                <a:cubicBezTo>
                  <a:pt x="593" y="128"/>
                  <a:pt x="587" y="119"/>
                  <a:pt x="576" y="112"/>
                </a:cubicBezTo>
                <a:cubicBezTo>
                  <a:pt x="565" y="105"/>
                  <a:pt x="552" y="104"/>
                  <a:pt x="540" y="109"/>
                </a:cubicBezTo>
                <a:cubicBezTo>
                  <a:pt x="527" y="114"/>
                  <a:pt x="533" y="126"/>
                  <a:pt x="534" y="135"/>
                </a:cubicBezTo>
                <a:cubicBezTo>
                  <a:pt x="534" y="140"/>
                  <a:pt x="534" y="145"/>
                  <a:pt x="533" y="149"/>
                </a:cubicBezTo>
                <a:cubicBezTo>
                  <a:pt x="531" y="162"/>
                  <a:pt x="525" y="171"/>
                  <a:pt x="511" y="170"/>
                </a:cubicBezTo>
                <a:cubicBezTo>
                  <a:pt x="498" y="170"/>
                  <a:pt x="491" y="160"/>
                  <a:pt x="490" y="148"/>
                </a:cubicBezTo>
                <a:cubicBezTo>
                  <a:pt x="489" y="142"/>
                  <a:pt x="490" y="136"/>
                  <a:pt x="489" y="130"/>
                </a:cubicBezTo>
                <a:cubicBezTo>
                  <a:pt x="486" y="103"/>
                  <a:pt x="472" y="84"/>
                  <a:pt x="447" y="74"/>
                </a:cubicBezTo>
                <a:cubicBezTo>
                  <a:pt x="402" y="56"/>
                  <a:pt x="336" y="80"/>
                  <a:pt x="339" y="140"/>
                </a:cubicBezTo>
                <a:cubicBezTo>
                  <a:pt x="340" y="158"/>
                  <a:pt x="329" y="165"/>
                  <a:pt x="310" y="163"/>
                </a:cubicBezTo>
                <a:cubicBezTo>
                  <a:pt x="302" y="161"/>
                  <a:pt x="293" y="159"/>
                  <a:pt x="285" y="159"/>
                </a:cubicBezTo>
                <a:cubicBezTo>
                  <a:pt x="254" y="159"/>
                  <a:pt x="232" y="185"/>
                  <a:pt x="233" y="218"/>
                </a:cubicBezTo>
                <a:cubicBezTo>
                  <a:pt x="234" y="246"/>
                  <a:pt x="250" y="260"/>
                  <a:pt x="282" y="260"/>
                </a:cubicBezTo>
                <a:cubicBezTo>
                  <a:pt x="335" y="261"/>
                  <a:pt x="387" y="261"/>
                  <a:pt x="440" y="261"/>
                </a:cubicBezTo>
                <a:close/>
                <a:moveTo>
                  <a:pt x="354" y="500"/>
                </a:moveTo>
                <a:cubicBezTo>
                  <a:pt x="354" y="525"/>
                  <a:pt x="355" y="549"/>
                  <a:pt x="354" y="574"/>
                </a:cubicBezTo>
                <a:cubicBezTo>
                  <a:pt x="354" y="587"/>
                  <a:pt x="359" y="593"/>
                  <a:pt x="373" y="593"/>
                </a:cubicBezTo>
                <a:cubicBezTo>
                  <a:pt x="421" y="592"/>
                  <a:pt x="468" y="592"/>
                  <a:pt x="516" y="593"/>
                </a:cubicBezTo>
                <a:cubicBezTo>
                  <a:pt x="528" y="593"/>
                  <a:pt x="534" y="589"/>
                  <a:pt x="533" y="577"/>
                </a:cubicBezTo>
                <a:cubicBezTo>
                  <a:pt x="533" y="527"/>
                  <a:pt x="533" y="477"/>
                  <a:pt x="533" y="427"/>
                </a:cubicBezTo>
                <a:cubicBezTo>
                  <a:pt x="534" y="415"/>
                  <a:pt x="528" y="411"/>
                  <a:pt x="517" y="411"/>
                </a:cubicBezTo>
                <a:cubicBezTo>
                  <a:pt x="468" y="412"/>
                  <a:pt x="419" y="412"/>
                  <a:pt x="371" y="411"/>
                </a:cubicBezTo>
                <a:cubicBezTo>
                  <a:pt x="359" y="411"/>
                  <a:pt x="354" y="417"/>
                  <a:pt x="354" y="428"/>
                </a:cubicBezTo>
                <a:cubicBezTo>
                  <a:pt x="355" y="452"/>
                  <a:pt x="354" y="476"/>
                  <a:pt x="354" y="500"/>
                </a:cubicBezTo>
                <a:close/>
                <a:moveTo>
                  <a:pt x="444" y="742"/>
                </a:moveTo>
                <a:cubicBezTo>
                  <a:pt x="410" y="742"/>
                  <a:pt x="384" y="768"/>
                  <a:pt x="384" y="801"/>
                </a:cubicBezTo>
                <a:cubicBezTo>
                  <a:pt x="384" y="832"/>
                  <a:pt x="412" y="860"/>
                  <a:pt x="443" y="860"/>
                </a:cubicBezTo>
                <a:cubicBezTo>
                  <a:pt x="476" y="860"/>
                  <a:pt x="502" y="833"/>
                  <a:pt x="502" y="800"/>
                </a:cubicBezTo>
                <a:cubicBezTo>
                  <a:pt x="502" y="766"/>
                  <a:pt x="477" y="742"/>
                  <a:pt x="444" y="742"/>
                </a:cubicBezTo>
                <a:close/>
                <a:moveTo>
                  <a:pt x="114" y="742"/>
                </a:moveTo>
                <a:cubicBezTo>
                  <a:pt x="81" y="742"/>
                  <a:pt x="56" y="768"/>
                  <a:pt x="56" y="800"/>
                </a:cubicBezTo>
                <a:cubicBezTo>
                  <a:pt x="56" y="833"/>
                  <a:pt x="84" y="861"/>
                  <a:pt x="116" y="860"/>
                </a:cubicBezTo>
                <a:cubicBezTo>
                  <a:pt x="149" y="860"/>
                  <a:pt x="175" y="832"/>
                  <a:pt x="174" y="799"/>
                </a:cubicBezTo>
                <a:cubicBezTo>
                  <a:pt x="173" y="766"/>
                  <a:pt x="148" y="742"/>
                  <a:pt x="114" y="742"/>
                </a:cubicBezTo>
                <a:close/>
                <a:moveTo>
                  <a:pt x="723" y="801"/>
                </a:moveTo>
                <a:cubicBezTo>
                  <a:pt x="723" y="834"/>
                  <a:pt x="750" y="861"/>
                  <a:pt x="783" y="860"/>
                </a:cubicBezTo>
                <a:cubicBezTo>
                  <a:pt x="814" y="860"/>
                  <a:pt x="842" y="831"/>
                  <a:pt x="841" y="800"/>
                </a:cubicBezTo>
                <a:cubicBezTo>
                  <a:pt x="840" y="766"/>
                  <a:pt x="815" y="742"/>
                  <a:pt x="780" y="742"/>
                </a:cubicBezTo>
                <a:cubicBezTo>
                  <a:pt x="747" y="743"/>
                  <a:pt x="723" y="767"/>
                  <a:pt x="723" y="8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5" name="myP_Gear">
            <a:extLst>
              <a:ext uri="{FF2B5EF4-FFF2-40B4-BE49-F238E27FC236}">
                <a16:creationId xmlns:a16="http://schemas.microsoft.com/office/drawing/2014/main" id="{A311A645-0F3A-49A7-B8F0-A3134A32483B}"/>
              </a:ext>
            </a:extLst>
          </p:cNvPr>
          <p:cNvGrpSpPr>
            <a:grpSpLocks/>
          </p:cNvGrpSpPr>
          <p:nvPr/>
        </p:nvGrpSpPr>
        <p:grpSpPr>
          <a:xfrm>
            <a:off x="4285452" y="2940137"/>
            <a:ext cx="338082" cy="437902"/>
            <a:chOff x="6074146" y="4571873"/>
            <a:chExt cx="680014" cy="880788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CDC4544E-680A-4FA2-A92E-1AE6E69C5E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11921" y="4897821"/>
              <a:ext cx="633823" cy="475858"/>
            </a:xfrm>
            <a:custGeom>
              <a:avLst/>
              <a:gdLst>
                <a:gd name="T0" fmla="*/ 1 w 743"/>
                <a:gd name="T1" fmla="*/ 392 h 558"/>
                <a:gd name="T2" fmla="*/ 20 w 743"/>
                <a:gd name="T3" fmla="*/ 379 h 558"/>
                <a:gd name="T4" fmla="*/ 92 w 743"/>
                <a:gd name="T5" fmla="*/ 377 h 558"/>
                <a:gd name="T6" fmla="*/ 118 w 743"/>
                <a:gd name="T7" fmla="*/ 397 h 558"/>
                <a:gd name="T8" fmla="*/ 91 w 743"/>
                <a:gd name="T9" fmla="*/ 416 h 558"/>
                <a:gd name="T10" fmla="*/ 71 w 743"/>
                <a:gd name="T11" fmla="*/ 416 h 558"/>
                <a:gd name="T12" fmla="*/ 79 w 743"/>
                <a:gd name="T13" fmla="*/ 428 h 558"/>
                <a:gd name="T14" fmla="*/ 254 w 743"/>
                <a:gd name="T15" fmla="*/ 508 h 558"/>
                <a:gd name="T16" fmla="*/ 668 w 743"/>
                <a:gd name="T17" fmla="*/ 201 h 558"/>
                <a:gd name="T18" fmla="*/ 672 w 743"/>
                <a:gd name="T19" fmla="*/ 184 h 558"/>
                <a:gd name="T20" fmla="*/ 672 w 743"/>
                <a:gd name="T21" fmla="*/ 168 h 558"/>
                <a:gd name="T22" fmla="*/ 672 w 743"/>
                <a:gd name="T23" fmla="*/ 136 h 558"/>
                <a:gd name="T24" fmla="*/ 672 w 743"/>
                <a:gd name="T25" fmla="*/ 120 h 558"/>
                <a:gd name="T26" fmla="*/ 652 w 743"/>
                <a:gd name="T27" fmla="*/ 33 h 558"/>
                <a:gd name="T28" fmla="*/ 662 w 743"/>
                <a:gd name="T29" fmla="*/ 5 h 558"/>
                <a:gd name="T30" fmla="*/ 689 w 743"/>
                <a:gd name="T31" fmla="*/ 21 h 558"/>
                <a:gd name="T32" fmla="*/ 578 w 743"/>
                <a:gd name="T33" fmla="*/ 451 h 558"/>
                <a:gd name="T34" fmla="*/ 284 w 743"/>
                <a:gd name="T35" fmla="*/ 551 h 558"/>
                <a:gd name="T36" fmla="*/ 62 w 743"/>
                <a:gd name="T37" fmla="*/ 464 h 558"/>
                <a:gd name="T38" fmla="*/ 40 w 743"/>
                <a:gd name="T39" fmla="*/ 447 h 558"/>
                <a:gd name="T40" fmla="*/ 21 w 743"/>
                <a:gd name="T41" fmla="*/ 495 h 558"/>
                <a:gd name="T42" fmla="*/ 0 w 743"/>
                <a:gd name="T43" fmla="*/ 479 h 558"/>
                <a:gd name="T44" fmla="*/ 1 w 743"/>
                <a:gd name="T45" fmla="*/ 39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3" h="558">
                  <a:moveTo>
                    <a:pt x="1" y="392"/>
                  </a:moveTo>
                  <a:cubicBezTo>
                    <a:pt x="3" y="382"/>
                    <a:pt x="10" y="379"/>
                    <a:pt x="20" y="379"/>
                  </a:cubicBezTo>
                  <a:cubicBezTo>
                    <a:pt x="44" y="378"/>
                    <a:pt x="68" y="378"/>
                    <a:pt x="92" y="377"/>
                  </a:cubicBezTo>
                  <a:cubicBezTo>
                    <a:pt x="106" y="376"/>
                    <a:pt x="118" y="381"/>
                    <a:pt x="118" y="397"/>
                  </a:cubicBezTo>
                  <a:cubicBezTo>
                    <a:pt x="118" y="413"/>
                    <a:pt x="106" y="417"/>
                    <a:pt x="91" y="416"/>
                  </a:cubicBezTo>
                  <a:cubicBezTo>
                    <a:pt x="85" y="415"/>
                    <a:pt x="78" y="416"/>
                    <a:pt x="71" y="416"/>
                  </a:cubicBezTo>
                  <a:cubicBezTo>
                    <a:pt x="69" y="423"/>
                    <a:pt x="76" y="425"/>
                    <a:pt x="79" y="428"/>
                  </a:cubicBezTo>
                  <a:cubicBezTo>
                    <a:pt x="130" y="470"/>
                    <a:pt x="189" y="497"/>
                    <a:pt x="254" y="508"/>
                  </a:cubicBezTo>
                  <a:cubicBezTo>
                    <a:pt x="461" y="540"/>
                    <a:pt x="643" y="394"/>
                    <a:pt x="668" y="201"/>
                  </a:cubicBezTo>
                  <a:cubicBezTo>
                    <a:pt x="669" y="195"/>
                    <a:pt x="671" y="189"/>
                    <a:pt x="672" y="184"/>
                  </a:cubicBezTo>
                  <a:cubicBezTo>
                    <a:pt x="677" y="178"/>
                    <a:pt x="677" y="173"/>
                    <a:pt x="672" y="168"/>
                  </a:cubicBezTo>
                  <a:cubicBezTo>
                    <a:pt x="672" y="157"/>
                    <a:pt x="672" y="146"/>
                    <a:pt x="672" y="136"/>
                  </a:cubicBezTo>
                  <a:cubicBezTo>
                    <a:pt x="677" y="130"/>
                    <a:pt x="677" y="125"/>
                    <a:pt x="672" y="120"/>
                  </a:cubicBezTo>
                  <a:cubicBezTo>
                    <a:pt x="666" y="91"/>
                    <a:pt x="662" y="61"/>
                    <a:pt x="652" y="33"/>
                  </a:cubicBezTo>
                  <a:cubicBezTo>
                    <a:pt x="647" y="21"/>
                    <a:pt x="650" y="9"/>
                    <a:pt x="662" y="5"/>
                  </a:cubicBezTo>
                  <a:cubicBezTo>
                    <a:pt x="676" y="0"/>
                    <a:pt x="684" y="8"/>
                    <a:pt x="689" y="21"/>
                  </a:cubicBezTo>
                  <a:cubicBezTo>
                    <a:pt x="743" y="166"/>
                    <a:pt x="696" y="348"/>
                    <a:pt x="578" y="451"/>
                  </a:cubicBezTo>
                  <a:cubicBezTo>
                    <a:pt x="493" y="524"/>
                    <a:pt x="396" y="558"/>
                    <a:pt x="284" y="551"/>
                  </a:cubicBezTo>
                  <a:cubicBezTo>
                    <a:pt x="201" y="546"/>
                    <a:pt x="127" y="516"/>
                    <a:pt x="62" y="464"/>
                  </a:cubicBezTo>
                  <a:cubicBezTo>
                    <a:pt x="55" y="459"/>
                    <a:pt x="48" y="453"/>
                    <a:pt x="40" y="447"/>
                  </a:cubicBezTo>
                  <a:cubicBezTo>
                    <a:pt x="35" y="465"/>
                    <a:pt x="48" y="489"/>
                    <a:pt x="21" y="495"/>
                  </a:cubicBezTo>
                  <a:cubicBezTo>
                    <a:pt x="10" y="498"/>
                    <a:pt x="2" y="491"/>
                    <a:pt x="0" y="479"/>
                  </a:cubicBezTo>
                  <a:cubicBezTo>
                    <a:pt x="6" y="450"/>
                    <a:pt x="6" y="421"/>
                    <a:pt x="1" y="3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0E1D4BA0-8CB6-4A4B-BD19-8F4D20092285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75769" y="4658705"/>
              <a:ext cx="657371" cy="483707"/>
            </a:xfrm>
            <a:custGeom>
              <a:avLst/>
              <a:gdLst>
                <a:gd name="T0" fmla="*/ 730 w 770"/>
                <a:gd name="T1" fmla="*/ 122 h 567"/>
                <a:gd name="T2" fmla="*/ 730 w 770"/>
                <a:gd name="T3" fmla="*/ 89 h 567"/>
                <a:gd name="T4" fmla="*/ 748 w 770"/>
                <a:gd name="T5" fmla="*/ 69 h 567"/>
                <a:gd name="T6" fmla="*/ 769 w 770"/>
                <a:gd name="T7" fmla="*/ 87 h 567"/>
                <a:gd name="T8" fmla="*/ 768 w 770"/>
                <a:gd name="T9" fmla="*/ 175 h 567"/>
                <a:gd name="T10" fmla="*/ 747 w 770"/>
                <a:gd name="T11" fmla="*/ 190 h 567"/>
                <a:gd name="T12" fmla="*/ 673 w 770"/>
                <a:gd name="T13" fmla="*/ 190 h 567"/>
                <a:gd name="T14" fmla="*/ 653 w 770"/>
                <a:gd name="T15" fmla="*/ 172 h 567"/>
                <a:gd name="T16" fmla="*/ 671 w 770"/>
                <a:gd name="T17" fmla="*/ 151 h 567"/>
                <a:gd name="T18" fmla="*/ 701 w 770"/>
                <a:gd name="T19" fmla="*/ 150 h 567"/>
                <a:gd name="T20" fmla="*/ 576 w 770"/>
                <a:gd name="T21" fmla="*/ 74 h 567"/>
                <a:gd name="T22" fmla="*/ 101 w 770"/>
                <a:gd name="T23" fmla="*/ 359 h 567"/>
                <a:gd name="T24" fmla="*/ 115 w 770"/>
                <a:gd name="T25" fmla="*/ 528 h 567"/>
                <a:gd name="T26" fmla="*/ 105 w 770"/>
                <a:gd name="T27" fmla="*/ 561 h 567"/>
                <a:gd name="T28" fmla="*/ 78 w 770"/>
                <a:gd name="T29" fmla="*/ 540 h 567"/>
                <a:gd name="T30" fmla="*/ 399 w 770"/>
                <a:gd name="T31" fmla="*/ 19 h 567"/>
                <a:gd name="T32" fmla="*/ 574 w 770"/>
                <a:gd name="T33" fmla="*/ 32 h 567"/>
                <a:gd name="T34" fmla="*/ 730 w 770"/>
                <a:gd name="T35" fmla="*/ 12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567">
                  <a:moveTo>
                    <a:pt x="730" y="122"/>
                  </a:moveTo>
                  <a:cubicBezTo>
                    <a:pt x="730" y="108"/>
                    <a:pt x="729" y="99"/>
                    <a:pt x="730" y="89"/>
                  </a:cubicBezTo>
                  <a:cubicBezTo>
                    <a:pt x="730" y="77"/>
                    <a:pt x="737" y="70"/>
                    <a:pt x="748" y="69"/>
                  </a:cubicBezTo>
                  <a:cubicBezTo>
                    <a:pt x="760" y="69"/>
                    <a:pt x="768" y="76"/>
                    <a:pt x="769" y="87"/>
                  </a:cubicBezTo>
                  <a:cubicBezTo>
                    <a:pt x="770" y="116"/>
                    <a:pt x="770" y="146"/>
                    <a:pt x="768" y="175"/>
                  </a:cubicBezTo>
                  <a:cubicBezTo>
                    <a:pt x="768" y="184"/>
                    <a:pt x="757" y="190"/>
                    <a:pt x="747" y="190"/>
                  </a:cubicBezTo>
                  <a:cubicBezTo>
                    <a:pt x="722" y="190"/>
                    <a:pt x="698" y="190"/>
                    <a:pt x="673" y="190"/>
                  </a:cubicBezTo>
                  <a:cubicBezTo>
                    <a:pt x="661" y="190"/>
                    <a:pt x="654" y="185"/>
                    <a:pt x="653" y="172"/>
                  </a:cubicBezTo>
                  <a:cubicBezTo>
                    <a:pt x="652" y="159"/>
                    <a:pt x="659" y="152"/>
                    <a:pt x="671" y="151"/>
                  </a:cubicBezTo>
                  <a:cubicBezTo>
                    <a:pt x="679" y="150"/>
                    <a:pt x="688" y="150"/>
                    <a:pt x="701" y="150"/>
                  </a:cubicBezTo>
                  <a:cubicBezTo>
                    <a:pt x="663" y="114"/>
                    <a:pt x="621" y="90"/>
                    <a:pt x="576" y="74"/>
                  </a:cubicBezTo>
                  <a:cubicBezTo>
                    <a:pt x="364" y="0"/>
                    <a:pt x="136" y="136"/>
                    <a:pt x="101" y="359"/>
                  </a:cubicBezTo>
                  <a:cubicBezTo>
                    <a:pt x="92" y="416"/>
                    <a:pt x="97" y="473"/>
                    <a:pt x="115" y="528"/>
                  </a:cubicBezTo>
                  <a:cubicBezTo>
                    <a:pt x="119" y="542"/>
                    <a:pt x="122" y="556"/>
                    <a:pt x="105" y="561"/>
                  </a:cubicBezTo>
                  <a:cubicBezTo>
                    <a:pt x="89" y="567"/>
                    <a:pt x="82" y="554"/>
                    <a:pt x="78" y="540"/>
                  </a:cubicBezTo>
                  <a:cubicBezTo>
                    <a:pt x="0" y="305"/>
                    <a:pt x="154" y="55"/>
                    <a:pt x="399" y="19"/>
                  </a:cubicBezTo>
                  <a:cubicBezTo>
                    <a:pt x="457" y="11"/>
                    <a:pt x="516" y="14"/>
                    <a:pt x="574" y="32"/>
                  </a:cubicBezTo>
                  <a:cubicBezTo>
                    <a:pt x="631" y="50"/>
                    <a:pt x="682" y="79"/>
                    <a:pt x="730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BC737843-F28D-4D68-9778-8CBCF40EC79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87176" y="5148005"/>
              <a:ext cx="31397" cy="32378"/>
            </a:xfrm>
            <a:custGeom>
              <a:avLst/>
              <a:gdLst>
                <a:gd name="T0" fmla="*/ 37 w 37"/>
                <a:gd name="T1" fmla="*/ 19 h 37"/>
                <a:gd name="T2" fmla="*/ 16 w 37"/>
                <a:gd name="T3" fmla="*/ 36 h 37"/>
                <a:gd name="T4" fmla="*/ 0 w 37"/>
                <a:gd name="T5" fmla="*/ 18 h 37"/>
                <a:gd name="T6" fmla="*/ 20 w 37"/>
                <a:gd name="T7" fmla="*/ 1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5" y="30"/>
                    <a:pt x="28" y="37"/>
                    <a:pt x="16" y="36"/>
                  </a:cubicBezTo>
                  <a:cubicBezTo>
                    <a:pt x="6" y="35"/>
                    <a:pt x="0" y="28"/>
                    <a:pt x="0" y="18"/>
                  </a:cubicBezTo>
                  <a:cubicBezTo>
                    <a:pt x="0" y="7"/>
                    <a:pt x="8" y="0"/>
                    <a:pt x="20" y="1"/>
                  </a:cubicBezTo>
                  <a:cubicBezTo>
                    <a:pt x="30" y="1"/>
                    <a:pt x="36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EE622237-4419-4553-B2CF-F06A7A59E15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00849" y="5275457"/>
              <a:ext cx="32379" cy="31397"/>
            </a:xfrm>
            <a:custGeom>
              <a:avLst/>
              <a:gdLst>
                <a:gd name="T0" fmla="*/ 19 w 37"/>
                <a:gd name="T1" fmla="*/ 37 h 37"/>
                <a:gd name="T2" fmla="*/ 1 w 37"/>
                <a:gd name="T3" fmla="*/ 17 h 37"/>
                <a:gd name="T4" fmla="*/ 19 w 37"/>
                <a:gd name="T5" fmla="*/ 0 h 37"/>
                <a:gd name="T6" fmla="*/ 36 w 37"/>
                <a:gd name="T7" fmla="*/ 20 h 37"/>
                <a:gd name="T8" fmla="*/ 19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4"/>
                    <a:pt x="0" y="28"/>
                    <a:pt x="1" y="17"/>
                  </a:cubicBezTo>
                  <a:cubicBezTo>
                    <a:pt x="2" y="7"/>
                    <a:pt x="8" y="0"/>
                    <a:pt x="19" y="0"/>
                  </a:cubicBezTo>
                  <a:cubicBezTo>
                    <a:pt x="31" y="1"/>
                    <a:pt x="37" y="7"/>
                    <a:pt x="36" y="20"/>
                  </a:cubicBezTo>
                  <a:cubicBezTo>
                    <a:pt x="36" y="31"/>
                    <a:pt x="27" y="34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">
              <a:extLst>
                <a:ext uri="{FF2B5EF4-FFF2-40B4-BE49-F238E27FC236}">
                  <a16:creationId xmlns:a16="http://schemas.microsoft.com/office/drawing/2014/main" id="{934307B0-F7FA-445D-8518-647AA940526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77452" y="4735004"/>
              <a:ext cx="30416" cy="31397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5 h 36"/>
                <a:gd name="T4" fmla="*/ 1 w 36"/>
                <a:gd name="T5" fmla="*/ 16 h 36"/>
                <a:gd name="T6" fmla="*/ 20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6" y="29"/>
                    <a:pt x="29" y="36"/>
                    <a:pt x="19" y="35"/>
                  </a:cubicBezTo>
                  <a:cubicBezTo>
                    <a:pt x="8" y="35"/>
                    <a:pt x="0" y="28"/>
                    <a:pt x="1" y="16"/>
                  </a:cubicBezTo>
                  <a:cubicBezTo>
                    <a:pt x="2" y="6"/>
                    <a:pt x="9" y="0"/>
                    <a:pt x="20" y="0"/>
                  </a:cubicBezTo>
                  <a:cubicBezTo>
                    <a:pt x="31" y="1"/>
                    <a:pt x="36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">
              <a:extLst>
                <a:ext uri="{FF2B5EF4-FFF2-40B4-BE49-F238E27FC236}">
                  <a16:creationId xmlns:a16="http://schemas.microsoft.com/office/drawing/2014/main" id="{BB4C88FB-4770-416A-B6FA-7C63BB40D3A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73829" y="4803138"/>
              <a:ext cx="30416" cy="30416"/>
            </a:xfrm>
            <a:custGeom>
              <a:avLst/>
              <a:gdLst>
                <a:gd name="T0" fmla="*/ 17 w 36"/>
                <a:gd name="T1" fmla="*/ 36 h 36"/>
                <a:gd name="T2" fmla="*/ 1 w 36"/>
                <a:gd name="T3" fmla="*/ 20 h 36"/>
                <a:gd name="T4" fmla="*/ 16 w 36"/>
                <a:gd name="T5" fmla="*/ 1 h 36"/>
                <a:gd name="T6" fmla="*/ 36 w 36"/>
                <a:gd name="T7" fmla="*/ 18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9" y="35"/>
                    <a:pt x="1" y="31"/>
                    <a:pt x="1" y="20"/>
                  </a:cubicBezTo>
                  <a:cubicBezTo>
                    <a:pt x="0" y="9"/>
                    <a:pt x="4" y="2"/>
                    <a:pt x="16" y="1"/>
                  </a:cubicBezTo>
                  <a:cubicBezTo>
                    <a:pt x="28" y="0"/>
                    <a:pt x="35" y="7"/>
                    <a:pt x="36" y="18"/>
                  </a:cubicBezTo>
                  <a:cubicBezTo>
                    <a:pt x="36" y="28"/>
                    <a:pt x="29" y="34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C54D7C56-8FB2-4F0B-B427-4235F5F9BFA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99008" y="5232790"/>
              <a:ext cx="31397" cy="31397"/>
            </a:xfrm>
            <a:custGeom>
              <a:avLst/>
              <a:gdLst>
                <a:gd name="T0" fmla="*/ 37 w 37"/>
                <a:gd name="T1" fmla="*/ 20 h 37"/>
                <a:gd name="T2" fmla="*/ 20 w 37"/>
                <a:gd name="T3" fmla="*/ 36 h 37"/>
                <a:gd name="T4" fmla="*/ 2 w 37"/>
                <a:gd name="T5" fmla="*/ 17 h 37"/>
                <a:gd name="T6" fmla="*/ 21 w 37"/>
                <a:gd name="T7" fmla="*/ 1 h 37"/>
                <a:gd name="T8" fmla="*/ 37 w 3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20"/>
                  </a:moveTo>
                  <a:cubicBezTo>
                    <a:pt x="36" y="30"/>
                    <a:pt x="30" y="37"/>
                    <a:pt x="20" y="36"/>
                  </a:cubicBezTo>
                  <a:cubicBezTo>
                    <a:pt x="8" y="36"/>
                    <a:pt x="0" y="29"/>
                    <a:pt x="2" y="17"/>
                  </a:cubicBezTo>
                  <a:cubicBezTo>
                    <a:pt x="3" y="7"/>
                    <a:pt x="9" y="0"/>
                    <a:pt x="21" y="1"/>
                  </a:cubicBezTo>
                  <a:cubicBezTo>
                    <a:pt x="31" y="2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63DDD46D-0A4D-4AC4-B817-B7C39F998B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58075" y="5198795"/>
              <a:ext cx="31397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17 w 36"/>
                <a:gd name="T5" fmla="*/ 1 h 37"/>
                <a:gd name="T6" fmla="*/ 35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30"/>
                    <a:pt x="0" y="19"/>
                  </a:cubicBezTo>
                  <a:cubicBezTo>
                    <a:pt x="0" y="8"/>
                    <a:pt x="6" y="2"/>
                    <a:pt x="17" y="1"/>
                  </a:cubicBezTo>
                  <a:cubicBezTo>
                    <a:pt x="29" y="0"/>
                    <a:pt x="36" y="8"/>
                    <a:pt x="35" y="19"/>
                  </a:cubicBezTo>
                  <a:cubicBezTo>
                    <a:pt x="35" y="29"/>
                    <a:pt x="27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">
              <a:extLst>
                <a:ext uri="{FF2B5EF4-FFF2-40B4-BE49-F238E27FC236}">
                  <a16:creationId xmlns:a16="http://schemas.microsoft.com/office/drawing/2014/main" id="{520609D8-200B-4B69-9425-B80B531FD10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12487" y="5273519"/>
              <a:ext cx="30416" cy="30416"/>
            </a:xfrm>
            <a:custGeom>
              <a:avLst/>
              <a:gdLst>
                <a:gd name="T0" fmla="*/ 36 w 36"/>
                <a:gd name="T1" fmla="*/ 17 h 36"/>
                <a:gd name="T2" fmla="*/ 20 w 36"/>
                <a:gd name="T3" fmla="*/ 36 h 36"/>
                <a:gd name="T4" fmla="*/ 0 w 36"/>
                <a:gd name="T5" fmla="*/ 16 h 36"/>
                <a:gd name="T6" fmla="*/ 17 w 36"/>
                <a:gd name="T7" fmla="*/ 0 h 36"/>
                <a:gd name="T8" fmla="*/ 36 w 36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7"/>
                  </a:moveTo>
                  <a:cubicBezTo>
                    <a:pt x="36" y="29"/>
                    <a:pt x="31" y="35"/>
                    <a:pt x="20" y="36"/>
                  </a:cubicBezTo>
                  <a:cubicBezTo>
                    <a:pt x="8" y="36"/>
                    <a:pt x="0" y="29"/>
                    <a:pt x="0" y="16"/>
                  </a:cubicBezTo>
                  <a:cubicBezTo>
                    <a:pt x="0" y="5"/>
                    <a:pt x="6" y="0"/>
                    <a:pt x="17" y="0"/>
                  </a:cubicBezTo>
                  <a:cubicBezTo>
                    <a:pt x="29" y="0"/>
                    <a:pt x="35" y="6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6">
              <a:extLst>
                <a:ext uri="{FF2B5EF4-FFF2-40B4-BE49-F238E27FC236}">
                  <a16:creationId xmlns:a16="http://schemas.microsoft.com/office/drawing/2014/main" id="{AD25E4D3-9ED5-4619-A08B-8877F07E27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82907" y="4766918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7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2"/>
                    <a:pt x="36" y="6"/>
                    <a:pt x="36" y="17"/>
                  </a:cubicBezTo>
                  <a:cubicBezTo>
                    <a:pt x="36" y="30"/>
                    <a:pt x="28" y="36"/>
                    <a:pt x="17" y="35"/>
                  </a:cubicBezTo>
                  <a:cubicBezTo>
                    <a:pt x="7" y="35"/>
                    <a:pt x="0" y="29"/>
                    <a:pt x="0" y="17"/>
                  </a:cubicBezTo>
                  <a:cubicBezTo>
                    <a:pt x="1" y="6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5E4D2F3A-22B5-47A5-9AC6-BCF2454F1F6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23253" y="5044919"/>
              <a:ext cx="31397" cy="30416"/>
            </a:xfrm>
            <a:custGeom>
              <a:avLst/>
              <a:gdLst>
                <a:gd name="T0" fmla="*/ 36 w 36"/>
                <a:gd name="T1" fmla="*/ 19 h 36"/>
                <a:gd name="T2" fmla="*/ 19 w 36"/>
                <a:gd name="T3" fmla="*/ 36 h 36"/>
                <a:gd name="T4" fmla="*/ 0 w 36"/>
                <a:gd name="T5" fmla="*/ 17 h 36"/>
                <a:gd name="T6" fmla="*/ 18 w 36"/>
                <a:gd name="T7" fmla="*/ 0 h 36"/>
                <a:gd name="T8" fmla="*/ 36 w 36"/>
                <a:gd name="T9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9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5"/>
                    <a:pt x="0" y="28"/>
                    <a:pt x="0" y="17"/>
                  </a:cubicBezTo>
                  <a:cubicBezTo>
                    <a:pt x="0" y="8"/>
                    <a:pt x="7" y="0"/>
                    <a:pt x="18" y="0"/>
                  </a:cubicBezTo>
                  <a:cubicBezTo>
                    <a:pt x="30" y="0"/>
                    <a:pt x="36" y="7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8">
              <a:extLst>
                <a:ext uri="{FF2B5EF4-FFF2-40B4-BE49-F238E27FC236}">
                  <a16:creationId xmlns:a16="http://schemas.microsoft.com/office/drawing/2014/main" id="{DDE55C0A-20D7-4C08-ADD6-B9A769A73AA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35383" y="4843377"/>
              <a:ext cx="32379" cy="30416"/>
            </a:xfrm>
            <a:custGeom>
              <a:avLst/>
              <a:gdLst>
                <a:gd name="T0" fmla="*/ 18 w 37"/>
                <a:gd name="T1" fmla="*/ 0 h 36"/>
                <a:gd name="T2" fmla="*/ 36 w 37"/>
                <a:gd name="T3" fmla="*/ 16 h 36"/>
                <a:gd name="T4" fmla="*/ 19 w 37"/>
                <a:gd name="T5" fmla="*/ 36 h 36"/>
                <a:gd name="T6" fmla="*/ 0 w 37"/>
                <a:gd name="T7" fmla="*/ 18 h 36"/>
                <a:gd name="T8" fmla="*/ 18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18" y="0"/>
                  </a:moveTo>
                  <a:cubicBezTo>
                    <a:pt x="27" y="2"/>
                    <a:pt x="35" y="5"/>
                    <a:pt x="36" y="16"/>
                  </a:cubicBezTo>
                  <a:cubicBezTo>
                    <a:pt x="37" y="28"/>
                    <a:pt x="31" y="36"/>
                    <a:pt x="19" y="36"/>
                  </a:cubicBezTo>
                  <a:cubicBezTo>
                    <a:pt x="9" y="36"/>
                    <a:pt x="0" y="30"/>
                    <a:pt x="0" y="18"/>
                  </a:cubicBezTo>
                  <a:cubicBezTo>
                    <a:pt x="0" y="7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809F5F54-DECD-4EB7-8495-8DEF1A4671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12045" y="5228974"/>
              <a:ext cx="30416" cy="31397"/>
            </a:xfrm>
            <a:custGeom>
              <a:avLst/>
              <a:gdLst>
                <a:gd name="T0" fmla="*/ 36 w 36"/>
                <a:gd name="T1" fmla="*/ 18 h 37"/>
                <a:gd name="T2" fmla="*/ 20 w 36"/>
                <a:gd name="T3" fmla="*/ 36 h 37"/>
                <a:gd name="T4" fmla="*/ 1 w 36"/>
                <a:gd name="T5" fmla="*/ 20 h 37"/>
                <a:gd name="T6" fmla="*/ 18 w 36"/>
                <a:gd name="T7" fmla="*/ 0 h 37"/>
                <a:gd name="T8" fmla="*/ 36 w 36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8"/>
                  </a:moveTo>
                  <a:cubicBezTo>
                    <a:pt x="36" y="28"/>
                    <a:pt x="32" y="35"/>
                    <a:pt x="20" y="36"/>
                  </a:cubicBezTo>
                  <a:cubicBezTo>
                    <a:pt x="9" y="37"/>
                    <a:pt x="3" y="30"/>
                    <a:pt x="1" y="20"/>
                  </a:cubicBezTo>
                  <a:cubicBezTo>
                    <a:pt x="0" y="9"/>
                    <a:pt x="6" y="1"/>
                    <a:pt x="18" y="0"/>
                  </a:cubicBezTo>
                  <a:cubicBezTo>
                    <a:pt x="29" y="0"/>
                    <a:pt x="35" y="7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57C38BF1-0CAF-4B7E-88AA-B81F0B99D87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64869" y="5256725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9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1"/>
                    <a:pt x="35" y="6"/>
                    <a:pt x="36" y="17"/>
                  </a:cubicBezTo>
                  <a:cubicBezTo>
                    <a:pt x="36" y="29"/>
                    <a:pt x="29" y="35"/>
                    <a:pt x="19" y="35"/>
                  </a:cubicBezTo>
                  <a:cubicBezTo>
                    <a:pt x="8" y="36"/>
                    <a:pt x="0" y="29"/>
                    <a:pt x="0" y="17"/>
                  </a:cubicBezTo>
                  <a:cubicBezTo>
                    <a:pt x="0" y="5"/>
                    <a:pt x="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1">
              <a:extLst>
                <a:ext uri="{FF2B5EF4-FFF2-40B4-BE49-F238E27FC236}">
                  <a16:creationId xmlns:a16="http://schemas.microsoft.com/office/drawing/2014/main" id="{FBDCEBBD-9318-43E2-9CA3-5A364431443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67894" y="4837827"/>
              <a:ext cx="30416" cy="30416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6 h 36"/>
                <a:gd name="T4" fmla="*/ 0 w 36"/>
                <a:gd name="T5" fmla="*/ 20 h 36"/>
                <a:gd name="T6" fmla="*/ 18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4" y="27"/>
                    <a:pt x="30" y="35"/>
                    <a:pt x="19" y="36"/>
                  </a:cubicBezTo>
                  <a:cubicBezTo>
                    <a:pt x="8" y="36"/>
                    <a:pt x="1" y="31"/>
                    <a:pt x="0" y="20"/>
                  </a:cubicBezTo>
                  <a:cubicBezTo>
                    <a:pt x="0" y="8"/>
                    <a:pt x="6" y="1"/>
                    <a:pt x="18" y="0"/>
                  </a:cubicBezTo>
                  <a:cubicBezTo>
                    <a:pt x="28" y="0"/>
                    <a:pt x="34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">
              <a:extLst>
                <a:ext uri="{FF2B5EF4-FFF2-40B4-BE49-F238E27FC236}">
                  <a16:creationId xmlns:a16="http://schemas.microsoft.com/office/drawing/2014/main" id="{A45538CC-C35B-4D8B-95B6-5BA015D5AC0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31914" y="474624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20 w 36"/>
                <a:gd name="T3" fmla="*/ 35 h 35"/>
                <a:gd name="T4" fmla="*/ 1 w 36"/>
                <a:gd name="T5" fmla="*/ 17 h 35"/>
                <a:gd name="T6" fmla="*/ 18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6" y="28"/>
                    <a:pt x="30" y="35"/>
                    <a:pt x="20" y="35"/>
                  </a:cubicBezTo>
                  <a:cubicBezTo>
                    <a:pt x="8" y="35"/>
                    <a:pt x="1" y="29"/>
                    <a:pt x="1" y="17"/>
                  </a:cubicBezTo>
                  <a:cubicBezTo>
                    <a:pt x="0" y="5"/>
                    <a:pt x="9" y="0"/>
                    <a:pt x="18" y="0"/>
                  </a:cubicBezTo>
                  <a:cubicBezTo>
                    <a:pt x="28" y="0"/>
                    <a:pt x="36" y="5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FF026748-B477-4FA3-BE4A-8D7F60A2738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07082" y="4890900"/>
              <a:ext cx="31397" cy="30416"/>
            </a:xfrm>
            <a:custGeom>
              <a:avLst/>
              <a:gdLst>
                <a:gd name="T0" fmla="*/ 17 w 36"/>
                <a:gd name="T1" fmla="*/ 0 h 36"/>
                <a:gd name="T2" fmla="*/ 35 w 36"/>
                <a:gd name="T3" fmla="*/ 20 h 36"/>
                <a:gd name="T4" fmla="*/ 17 w 36"/>
                <a:gd name="T5" fmla="*/ 36 h 36"/>
                <a:gd name="T6" fmla="*/ 0 w 36"/>
                <a:gd name="T7" fmla="*/ 18 h 36"/>
                <a:gd name="T8" fmla="*/ 17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0"/>
                  </a:moveTo>
                  <a:cubicBezTo>
                    <a:pt x="30" y="2"/>
                    <a:pt x="36" y="8"/>
                    <a:pt x="35" y="20"/>
                  </a:cubicBezTo>
                  <a:cubicBezTo>
                    <a:pt x="34" y="31"/>
                    <a:pt x="27" y="36"/>
                    <a:pt x="17" y="36"/>
                  </a:cubicBezTo>
                  <a:cubicBezTo>
                    <a:pt x="6" y="35"/>
                    <a:pt x="0" y="29"/>
                    <a:pt x="0" y="18"/>
                  </a:cubicBezTo>
                  <a:cubicBezTo>
                    <a:pt x="0" y="7"/>
                    <a:pt x="8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03EE2E95-504D-4CBB-8E23-06DCC778A1C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99248" y="5104788"/>
              <a:ext cx="30416" cy="31397"/>
            </a:xfrm>
            <a:custGeom>
              <a:avLst/>
              <a:gdLst>
                <a:gd name="T0" fmla="*/ 36 w 36"/>
                <a:gd name="T1" fmla="*/ 20 h 36"/>
                <a:gd name="T2" fmla="*/ 19 w 36"/>
                <a:gd name="T3" fmla="*/ 36 h 36"/>
                <a:gd name="T4" fmla="*/ 1 w 36"/>
                <a:gd name="T5" fmla="*/ 20 h 36"/>
                <a:gd name="T6" fmla="*/ 19 w 36"/>
                <a:gd name="T7" fmla="*/ 1 h 36"/>
                <a:gd name="T8" fmla="*/ 36 w 36"/>
                <a:gd name="T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20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6"/>
                    <a:pt x="1" y="29"/>
                    <a:pt x="1" y="20"/>
                  </a:cubicBezTo>
                  <a:cubicBezTo>
                    <a:pt x="0" y="8"/>
                    <a:pt x="7" y="0"/>
                    <a:pt x="19" y="1"/>
                  </a:cubicBezTo>
                  <a:cubicBezTo>
                    <a:pt x="30" y="1"/>
                    <a:pt x="35" y="8"/>
                    <a:pt x="3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F25F7060-7D67-40A5-8A17-39A46BBD492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29736" y="4798282"/>
              <a:ext cx="30416" cy="30416"/>
            </a:xfrm>
            <a:custGeom>
              <a:avLst/>
              <a:gdLst>
                <a:gd name="T0" fmla="*/ 15 w 36"/>
                <a:gd name="T1" fmla="*/ 1 h 36"/>
                <a:gd name="T2" fmla="*/ 35 w 36"/>
                <a:gd name="T3" fmla="*/ 17 h 36"/>
                <a:gd name="T4" fmla="*/ 17 w 36"/>
                <a:gd name="T5" fmla="*/ 36 h 36"/>
                <a:gd name="T6" fmla="*/ 1 w 36"/>
                <a:gd name="T7" fmla="*/ 18 h 36"/>
                <a:gd name="T8" fmla="*/ 15 w 36"/>
                <a:gd name="T9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5" y="1"/>
                  </a:moveTo>
                  <a:cubicBezTo>
                    <a:pt x="28" y="0"/>
                    <a:pt x="35" y="8"/>
                    <a:pt x="35" y="17"/>
                  </a:cubicBezTo>
                  <a:cubicBezTo>
                    <a:pt x="36" y="28"/>
                    <a:pt x="30" y="36"/>
                    <a:pt x="17" y="36"/>
                  </a:cubicBezTo>
                  <a:cubicBezTo>
                    <a:pt x="6" y="36"/>
                    <a:pt x="1" y="29"/>
                    <a:pt x="1" y="18"/>
                  </a:cubicBezTo>
                  <a:cubicBezTo>
                    <a:pt x="0" y="7"/>
                    <a:pt x="7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6">
              <a:extLst>
                <a:ext uri="{FF2B5EF4-FFF2-40B4-BE49-F238E27FC236}">
                  <a16:creationId xmlns:a16="http://schemas.microsoft.com/office/drawing/2014/main" id="{1E2E266B-007B-4726-8077-D2E0C42F403F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7500" y="4934812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20 w 36"/>
                <a:gd name="T5" fmla="*/ 2 h 37"/>
                <a:gd name="T6" fmla="*/ 35 w 36"/>
                <a:gd name="T7" fmla="*/ 20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6"/>
                    <a:pt x="0" y="30"/>
                    <a:pt x="0" y="19"/>
                  </a:cubicBezTo>
                  <a:cubicBezTo>
                    <a:pt x="0" y="7"/>
                    <a:pt x="8" y="0"/>
                    <a:pt x="20" y="2"/>
                  </a:cubicBezTo>
                  <a:cubicBezTo>
                    <a:pt x="29" y="2"/>
                    <a:pt x="36" y="9"/>
                    <a:pt x="35" y="20"/>
                  </a:cubicBezTo>
                  <a:cubicBezTo>
                    <a:pt x="34" y="31"/>
                    <a:pt x="28" y="37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A1B2628B-35FE-4D4B-8853-B93D6B10E56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21950" y="4736391"/>
              <a:ext cx="30416" cy="31397"/>
            </a:xfrm>
            <a:custGeom>
              <a:avLst/>
              <a:gdLst>
                <a:gd name="T0" fmla="*/ 16 w 36"/>
                <a:gd name="T1" fmla="*/ 0 h 36"/>
                <a:gd name="T2" fmla="*/ 36 w 36"/>
                <a:gd name="T3" fmla="*/ 15 h 36"/>
                <a:gd name="T4" fmla="*/ 19 w 36"/>
                <a:gd name="T5" fmla="*/ 35 h 36"/>
                <a:gd name="T6" fmla="*/ 1 w 36"/>
                <a:gd name="T7" fmla="*/ 19 h 36"/>
                <a:gd name="T8" fmla="*/ 16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6" y="0"/>
                  </a:moveTo>
                  <a:cubicBezTo>
                    <a:pt x="29" y="0"/>
                    <a:pt x="35" y="4"/>
                    <a:pt x="36" y="15"/>
                  </a:cubicBezTo>
                  <a:cubicBezTo>
                    <a:pt x="36" y="27"/>
                    <a:pt x="31" y="34"/>
                    <a:pt x="19" y="35"/>
                  </a:cubicBezTo>
                  <a:cubicBezTo>
                    <a:pt x="8" y="36"/>
                    <a:pt x="2" y="28"/>
                    <a:pt x="1" y="19"/>
                  </a:cubicBezTo>
                  <a:cubicBezTo>
                    <a:pt x="0" y="8"/>
                    <a:pt x="6" y="1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B58A34E-5EBE-4BED-87F1-8354C2983A2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67692" y="4747839"/>
              <a:ext cx="31397" cy="31397"/>
            </a:xfrm>
            <a:custGeom>
              <a:avLst/>
              <a:gdLst>
                <a:gd name="T0" fmla="*/ 36 w 36"/>
                <a:gd name="T1" fmla="*/ 19 h 37"/>
                <a:gd name="T2" fmla="*/ 20 w 36"/>
                <a:gd name="T3" fmla="*/ 36 h 37"/>
                <a:gd name="T4" fmla="*/ 1 w 36"/>
                <a:gd name="T5" fmla="*/ 18 h 37"/>
                <a:gd name="T6" fmla="*/ 20 w 36"/>
                <a:gd name="T7" fmla="*/ 1 h 37"/>
                <a:gd name="T8" fmla="*/ 36 w 36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9"/>
                  </a:moveTo>
                  <a:cubicBezTo>
                    <a:pt x="36" y="29"/>
                    <a:pt x="30" y="35"/>
                    <a:pt x="20" y="36"/>
                  </a:cubicBezTo>
                  <a:cubicBezTo>
                    <a:pt x="8" y="37"/>
                    <a:pt x="0" y="28"/>
                    <a:pt x="1" y="18"/>
                  </a:cubicBezTo>
                  <a:cubicBezTo>
                    <a:pt x="1" y="8"/>
                    <a:pt x="8" y="0"/>
                    <a:pt x="20" y="1"/>
                  </a:cubicBezTo>
                  <a:cubicBezTo>
                    <a:pt x="31" y="1"/>
                    <a:pt x="36" y="8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9">
              <a:extLst>
                <a:ext uri="{FF2B5EF4-FFF2-40B4-BE49-F238E27FC236}">
                  <a16:creationId xmlns:a16="http://schemas.microsoft.com/office/drawing/2014/main" id="{76AA2C74-612A-4044-AB9C-783F84866AF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0908" y="509868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19 w 36"/>
                <a:gd name="T3" fmla="*/ 35 h 35"/>
                <a:gd name="T4" fmla="*/ 0 w 36"/>
                <a:gd name="T5" fmla="*/ 19 h 35"/>
                <a:gd name="T6" fmla="*/ 19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5" y="28"/>
                    <a:pt x="30" y="35"/>
                    <a:pt x="19" y="35"/>
                  </a:cubicBezTo>
                  <a:cubicBezTo>
                    <a:pt x="8" y="35"/>
                    <a:pt x="1" y="30"/>
                    <a:pt x="0" y="19"/>
                  </a:cubicBezTo>
                  <a:cubicBezTo>
                    <a:pt x="0" y="7"/>
                    <a:pt x="8" y="0"/>
                    <a:pt x="19" y="0"/>
                  </a:cubicBezTo>
                  <a:cubicBezTo>
                    <a:pt x="28" y="0"/>
                    <a:pt x="35" y="7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C0C79051-D4E2-4123-A263-0A9F81B9C79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88841" y="4943137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17 w 36"/>
                <a:gd name="T5" fmla="*/ 1 h 37"/>
                <a:gd name="T6" fmla="*/ 36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8" y="35"/>
                    <a:pt x="1" y="30"/>
                    <a:pt x="1" y="19"/>
                  </a:cubicBezTo>
                  <a:cubicBezTo>
                    <a:pt x="0" y="8"/>
                    <a:pt x="5" y="1"/>
                    <a:pt x="17" y="1"/>
                  </a:cubicBezTo>
                  <a:cubicBezTo>
                    <a:pt x="29" y="0"/>
                    <a:pt x="36" y="8"/>
                    <a:pt x="36" y="19"/>
                  </a:cubicBezTo>
                  <a:cubicBezTo>
                    <a:pt x="36" y="29"/>
                    <a:pt x="28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E610433-2567-4A52-89AE-D0DCF087D77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18433" y="4770733"/>
              <a:ext cx="31397" cy="31397"/>
            </a:xfrm>
            <a:custGeom>
              <a:avLst/>
              <a:gdLst>
                <a:gd name="T0" fmla="*/ 17 w 36"/>
                <a:gd name="T1" fmla="*/ 36 h 36"/>
                <a:gd name="T2" fmla="*/ 0 w 36"/>
                <a:gd name="T3" fmla="*/ 18 h 36"/>
                <a:gd name="T4" fmla="*/ 17 w 36"/>
                <a:gd name="T5" fmla="*/ 1 h 36"/>
                <a:gd name="T6" fmla="*/ 35 w 36"/>
                <a:gd name="T7" fmla="*/ 20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6" y="34"/>
                    <a:pt x="0" y="29"/>
                    <a:pt x="0" y="18"/>
                  </a:cubicBezTo>
                  <a:cubicBezTo>
                    <a:pt x="0" y="7"/>
                    <a:pt x="6" y="0"/>
                    <a:pt x="17" y="1"/>
                  </a:cubicBezTo>
                  <a:cubicBezTo>
                    <a:pt x="29" y="1"/>
                    <a:pt x="36" y="9"/>
                    <a:pt x="35" y="20"/>
                  </a:cubicBezTo>
                  <a:cubicBezTo>
                    <a:pt x="35" y="30"/>
                    <a:pt x="27" y="35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6295CD15-E7DE-40F0-A1CD-898BB820878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49103" y="5261175"/>
              <a:ext cx="30416" cy="29435"/>
            </a:xfrm>
            <a:custGeom>
              <a:avLst/>
              <a:gdLst>
                <a:gd name="T0" fmla="*/ 17 w 36"/>
                <a:gd name="T1" fmla="*/ 0 h 35"/>
                <a:gd name="T2" fmla="*/ 35 w 36"/>
                <a:gd name="T3" fmla="*/ 16 h 35"/>
                <a:gd name="T4" fmla="*/ 17 w 36"/>
                <a:gd name="T5" fmla="*/ 35 h 35"/>
                <a:gd name="T6" fmla="*/ 0 w 36"/>
                <a:gd name="T7" fmla="*/ 16 h 35"/>
                <a:gd name="T8" fmla="*/ 17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17" y="0"/>
                  </a:moveTo>
                  <a:cubicBezTo>
                    <a:pt x="28" y="0"/>
                    <a:pt x="35" y="6"/>
                    <a:pt x="35" y="16"/>
                  </a:cubicBezTo>
                  <a:cubicBezTo>
                    <a:pt x="36" y="28"/>
                    <a:pt x="28" y="35"/>
                    <a:pt x="17" y="35"/>
                  </a:cubicBezTo>
                  <a:cubicBezTo>
                    <a:pt x="7" y="34"/>
                    <a:pt x="0" y="28"/>
                    <a:pt x="0" y="16"/>
                  </a:cubicBezTo>
                  <a:cubicBezTo>
                    <a:pt x="1" y="5"/>
                    <a:pt x="7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3">
              <a:extLst>
                <a:ext uri="{FF2B5EF4-FFF2-40B4-BE49-F238E27FC236}">
                  <a16:creationId xmlns:a16="http://schemas.microsoft.com/office/drawing/2014/main" id="{9158D4C7-EF4F-4243-A292-CFFE0468769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97379" y="4882778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20 w 36"/>
                <a:gd name="T5" fmla="*/ 2 h 37"/>
                <a:gd name="T6" fmla="*/ 35 w 36"/>
                <a:gd name="T7" fmla="*/ 21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29"/>
                    <a:pt x="1" y="19"/>
                  </a:cubicBezTo>
                  <a:cubicBezTo>
                    <a:pt x="1" y="8"/>
                    <a:pt x="8" y="0"/>
                    <a:pt x="20" y="2"/>
                  </a:cubicBezTo>
                  <a:cubicBezTo>
                    <a:pt x="31" y="3"/>
                    <a:pt x="36" y="10"/>
                    <a:pt x="35" y="21"/>
                  </a:cubicBezTo>
                  <a:cubicBezTo>
                    <a:pt x="34" y="31"/>
                    <a:pt x="28" y="36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4">
              <a:extLst>
                <a:ext uri="{FF2B5EF4-FFF2-40B4-BE49-F238E27FC236}">
                  <a16:creationId xmlns:a16="http://schemas.microsoft.com/office/drawing/2014/main" id="{99C2AD2C-3DE1-426F-9397-8E264A63752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57333" y="5279620"/>
              <a:ext cx="30416" cy="31397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9 h 36"/>
                <a:gd name="T4" fmla="*/ 20 w 36"/>
                <a:gd name="T5" fmla="*/ 1 h 36"/>
                <a:gd name="T6" fmla="*/ 36 w 36"/>
                <a:gd name="T7" fmla="*/ 20 h 36"/>
                <a:gd name="T8" fmla="*/ 18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7" y="35"/>
                    <a:pt x="0" y="29"/>
                    <a:pt x="0" y="19"/>
                  </a:cubicBezTo>
                  <a:cubicBezTo>
                    <a:pt x="0" y="7"/>
                    <a:pt x="9" y="0"/>
                    <a:pt x="20" y="1"/>
                  </a:cubicBezTo>
                  <a:cubicBezTo>
                    <a:pt x="29" y="2"/>
                    <a:pt x="36" y="8"/>
                    <a:pt x="36" y="20"/>
                  </a:cubicBezTo>
                  <a:cubicBezTo>
                    <a:pt x="35" y="31"/>
                    <a:pt x="29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5">
              <a:extLst>
                <a:ext uri="{FF2B5EF4-FFF2-40B4-BE49-F238E27FC236}">
                  <a16:creationId xmlns:a16="http://schemas.microsoft.com/office/drawing/2014/main" id="{48B7473C-B0F3-4DBE-9C86-0B374D264FD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25408" y="5155229"/>
              <a:ext cx="29435" cy="30416"/>
            </a:xfrm>
            <a:custGeom>
              <a:avLst/>
              <a:gdLst>
                <a:gd name="T0" fmla="*/ 35 w 35"/>
                <a:gd name="T1" fmla="*/ 18 h 36"/>
                <a:gd name="T2" fmla="*/ 17 w 35"/>
                <a:gd name="T3" fmla="*/ 36 h 36"/>
                <a:gd name="T4" fmla="*/ 0 w 35"/>
                <a:gd name="T5" fmla="*/ 19 h 36"/>
                <a:gd name="T6" fmla="*/ 17 w 35"/>
                <a:gd name="T7" fmla="*/ 1 h 36"/>
                <a:gd name="T8" fmla="*/ 35 w 35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5" y="18"/>
                  </a:moveTo>
                  <a:cubicBezTo>
                    <a:pt x="32" y="27"/>
                    <a:pt x="29" y="36"/>
                    <a:pt x="17" y="36"/>
                  </a:cubicBezTo>
                  <a:cubicBezTo>
                    <a:pt x="6" y="36"/>
                    <a:pt x="0" y="30"/>
                    <a:pt x="0" y="19"/>
                  </a:cubicBezTo>
                  <a:cubicBezTo>
                    <a:pt x="0" y="8"/>
                    <a:pt x="7" y="2"/>
                    <a:pt x="17" y="1"/>
                  </a:cubicBezTo>
                  <a:cubicBezTo>
                    <a:pt x="27" y="0"/>
                    <a:pt x="32" y="9"/>
                    <a:pt x="3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6">
              <a:extLst>
                <a:ext uri="{FF2B5EF4-FFF2-40B4-BE49-F238E27FC236}">
                  <a16:creationId xmlns:a16="http://schemas.microsoft.com/office/drawing/2014/main" id="{89327A56-809D-4FD0-BCAA-20C0C0D3D4CA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54509" y="5191857"/>
              <a:ext cx="29435" cy="31397"/>
            </a:xfrm>
            <a:custGeom>
              <a:avLst/>
              <a:gdLst>
                <a:gd name="T0" fmla="*/ 17 w 35"/>
                <a:gd name="T1" fmla="*/ 0 h 37"/>
                <a:gd name="T2" fmla="*/ 34 w 35"/>
                <a:gd name="T3" fmla="*/ 17 h 37"/>
                <a:gd name="T4" fmla="*/ 19 w 35"/>
                <a:gd name="T5" fmla="*/ 36 h 37"/>
                <a:gd name="T6" fmla="*/ 1 w 35"/>
                <a:gd name="T7" fmla="*/ 20 h 37"/>
                <a:gd name="T8" fmla="*/ 17 w 35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17" y="0"/>
                  </a:moveTo>
                  <a:cubicBezTo>
                    <a:pt x="26" y="2"/>
                    <a:pt x="34" y="7"/>
                    <a:pt x="34" y="17"/>
                  </a:cubicBezTo>
                  <a:cubicBezTo>
                    <a:pt x="35" y="28"/>
                    <a:pt x="30" y="35"/>
                    <a:pt x="19" y="36"/>
                  </a:cubicBezTo>
                  <a:cubicBezTo>
                    <a:pt x="8" y="37"/>
                    <a:pt x="2" y="29"/>
                    <a:pt x="1" y="20"/>
                  </a:cubicBezTo>
                  <a:cubicBezTo>
                    <a:pt x="0" y="10"/>
                    <a:pt x="7" y="3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">
              <a:extLst>
                <a:ext uri="{FF2B5EF4-FFF2-40B4-BE49-F238E27FC236}">
                  <a16:creationId xmlns:a16="http://schemas.microsoft.com/office/drawing/2014/main" id="{698D99F6-2F34-4019-B9A2-867DFCBFCFF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08486" y="4970463"/>
              <a:ext cx="5887" cy="74567"/>
            </a:xfrm>
            <a:custGeom>
              <a:avLst/>
              <a:gdLst>
                <a:gd name="T0" fmla="*/ 3 w 8"/>
                <a:gd name="T1" fmla="*/ 0 h 87"/>
                <a:gd name="T2" fmla="*/ 2 w 8"/>
                <a:gd name="T3" fmla="*/ 87 h 87"/>
                <a:gd name="T4" fmla="*/ 3 w 8"/>
                <a:gd name="T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7">
                  <a:moveTo>
                    <a:pt x="3" y="0"/>
                  </a:moveTo>
                  <a:cubicBezTo>
                    <a:pt x="8" y="29"/>
                    <a:pt x="8" y="58"/>
                    <a:pt x="2" y="87"/>
                  </a:cubicBezTo>
                  <a:cubicBezTo>
                    <a:pt x="1" y="58"/>
                    <a:pt x="0" y="29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8">
              <a:extLst>
                <a:ext uri="{FF2B5EF4-FFF2-40B4-BE49-F238E27FC236}">
                  <a16:creationId xmlns:a16="http://schemas.microsoft.com/office/drawing/2014/main" id="{20D76BFA-045A-4E43-8D2A-A07E6C15F687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71283" y="5249599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9">
              <a:extLst>
                <a:ext uri="{FF2B5EF4-FFF2-40B4-BE49-F238E27FC236}">
                  <a16:creationId xmlns:a16="http://schemas.microsoft.com/office/drawing/2014/main" id="{9631E4F8-08EB-4ABF-A5F9-0250223FF2E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00422" y="5220460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0">
              <a:extLst>
                <a:ext uri="{FF2B5EF4-FFF2-40B4-BE49-F238E27FC236}">
                  <a16:creationId xmlns:a16="http://schemas.microsoft.com/office/drawing/2014/main" id="{9AB0F6CA-7A3B-4C66-AB23-523830D9D2E8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241754" y="4894971"/>
              <a:ext cx="262948" cy="266873"/>
            </a:xfrm>
            <a:custGeom>
              <a:avLst/>
              <a:gdLst>
                <a:gd name="T0" fmla="*/ 281 w 309"/>
                <a:gd name="T1" fmla="*/ 244 h 313"/>
                <a:gd name="T2" fmla="*/ 261 w 309"/>
                <a:gd name="T3" fmla="*/ 266 h 313"/>
                <a:gd name="T4" fmla="*/ 221 w 309"/>
                <a:gd name="T5" fmla="*/ 270 h 313"/>
                <a:gd name="T6" fmla="*/ 186 w 309"/>
                <a:gd name="T7" fmla="*/ 285 h 313"/>
                <a:gd name="T8" fmla="*/ 155 w 309"/>
                <a:gd name="T9" fmla="*/ 310 h 313"/>
                <a:gd name="T10" fmla="*/ 122 w 309"/>
                <a:gd name="T11" fmla="*/ 286 h 313"/>
                <a:gd name="T12" fmla="*/ 93 w 309"/>
                <a:gd name="T13" fmla="*/ 265 h 313"/>
                <a:gd name="T14" fmla="*/ 36 w 309"/>
                <a:gd name="T15" fmla="*/ 254 h 313"/>
                <a:gd name="T16" fmla="*/ 29 w 309"/>
                <a:gd name="T17" fmla="*/ 244 h 313"/>
                <a:gd name="T18" fmla="*/ 3 w 309"/>
                <a:gd name="T19" fmla="*/ 181 h 313"/>
                <a:gd name="T20" fmla="*/ 1 w 309"/>
                <a:gd name="T21" fmla="*/ 166 h 313"/>
                <a:gd name="T22" fmla="*/ 1 w 309"/>
                <a:gd name="T23" fmla="*/ 129 h 313"/>
                <a:gd name="T24" fmla="*/ 15 w 309"/>
                <a:gd name="T25" fmla="*/ 126 h 313"/>
                <a:gd name="T26" fmla="*/ 34 w 309"/>
                <a:gd name="T27" fmla="*/ 81 h 313"/>
                <a:gd name="T28" fmla="*/ 44 w 309"/>
                <a:gd name="T29" fmla="*/ 49 h 313"/>
                <a:gd name="T30" fmla="*/ 79 w 309"/>
                <a:gd name="T31" fmla="*/ 36 h 313"/>
                <a:gd name="T32" fmla="*/ 124 w 309"/>
                <a:gd name="T33" fmla="*/ 20 h 313"/>
                <a:gd name="T34" fmla="*/ 143 w 309"/>
                <a:gd name="T35" fmla="*/ 3 h 313"/>
                <a:gd name="T36" fmla="*/ 179 w 309"/>
                <a:gd name="T37" fmla="*/ 2 h 313"/>
                <a:gd name="T38" fmla="*/ 183 w 309"/>
                <a:gd name="T39" fmla="*/ 14 h 313"/>
                <a:gd name="T40" fmla="*/ 230 w 309"/>
                <a:gd name="T41" fmla="*/ 35 h 313"/>
                <a:gd name="T42" fmla="*/ 264 w 309"/>
                <a:gd name="T43" fmla="*/ 51 h 313"/>
                <a:gd name="T44" fmla="*/ 272 w 309"/>
                <a:gd name="T45" fmla="*/ 82 h 313"/>
                <a:gd name="T46" fmla="*/ 291 w 309"/>
                <a:gd name="T47" fmla="*/ 127 h 313"/>
                <a:gd name="T48" fmla="*/ 307 w 309"/>
                <a:gd name="T49" fmla="*/ 144 h 313"/>
                <a:gd name="T50" fmla="*/ 307 w 309"/>
                <a:gd name="T51" fmla="*/ 180 h 313"/>
                <a:gd name="T52" fmla="*/ 281 w 309"/>
                <a:gd name="T53" fmla="*/ 244 h 313"/>
                <a:gd name="T54" fmla="*/ 153 w 309"/>
                <a:gd name="T55" fmla="*/ 94 h 313"/>
                <a:gd name="T56" fmla="*/ 91 w 309"/>
                <a:gd name="T57" fmla="*/ 155 h 313"/>
                <a:gd name="T58" fmla="*/ 154 w 309"/>
                <a:gd name="T59" fmla="*/ 218 h 313"/>
                <a:gd name="T60" fmla="*/ 217 w 309"/>
                <a:gd name="T61" fmla="*/ 156 h 313"/>
                <a:gd name="T62" fmla="*/ 153 w 309"/>
                <a:gd name="T63" fmla="*/ 9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9" h="313">
                  <a:moveTo>
                    <a:pt x="281" y="244"/>
                  </a:moveTo>
                  <a:cubicBezTo>
                    <a:pt x="273" y="252"/>
                    <a:pt x="267" y="259"/>
                    <a:pt x="261" y="266"/>
                  </a:cubicBezTo>
                  <a:cubicBezTo>
                    <a:pt x="249" y="281"/>
                    <a:pt x="237" y="284"/>
                    <a:pt x="221" y="270"/>
                  </a:cubicBezTo>
                  <a:cubicBezTo>
                    <a:pt x="202" y="253"/>
                    <a:pt x="190" y="258"/>
                    <a:pt x="186" y="285"/>
                  </a:cubicBezTo>
                  <a:cubicBezTo>
                    <a:pt x="184" y="305"/>
                    <a:pt x="175" y="311"/>
                    <a:pt x="155" y="310"/>
                  </a:cubicBezTo>
                  <a:cubicBezTo>
                    <a:pt x="138" y="309"/>
                    <a:pt x="123" y="313"/>
                    <a:pt x="122" y="286"/>
                  </a:cubicBezTo>
                  <a:cubicBezTo>
                    <a:pt x="121" y="263"/>
                    <a:pt x="106" y="253"/>
                    <a:pt x="93" y="265"/>
                  </a:cubicBezTo>
                  <a:cubicBezTo>
                    <a:pt x="67" y="290"/>
                    <a:pt x="52" y="273"/>
                    <a:pt x="36" y="254"/>
                  </a:cubicBezTo>
                  <a:cubicBezTo>
                    <a:pt x="34" y="251"/>
                    <a:pt x="31" y="247"/>
                    <a:pt x="29" y="244"/>
                  </a:cubicBezTo>
                  <a:cubicBezTo>
                    <a:pt x="56" y="195"/>
                    <a:pt x="56" y="195"/>
                    <a:pt x="3" y="181"/>
                  </a:cubicBezTo>
                  <a:cubicBezTo>
                    <a:pt x="2" y="177"/>
                    <a:pt x="1" y="172"/>
                    <a:pt x="1" y="166"/>
                  </a:cubicBezTo>
                  <a:cubicBezTo>
                    <a:pt x="0" y="154"/>
                    <a:pt x="1" y="142"/>
                    <a:pt x="1" y="129"/>
                  </a:cubicBezTo>
                  <a:cubicBezTo>
                    <a:pt x="7" y="127"/>
                    <a:pt x="11" y="127"/>
                    <a:pt x="15" y="126"/>
                  </a:cubicBezTo>
                  <a:cubicBezTo>
                    <a:pt x="54" y="118"/>
                    <a:pt x="57" y="113"/>
                    <a:pt x="34" y="81"/>
                  </a:cubicBezTo>
                  <a:cubicBezTo>
                    <a:pt x="22" y="64"/>
                    <a:pt x="36" y="57"/>
                    <a:pt x="44" y="49"/>
                  </a:cubicBezTo>
                  <a:cubicBezTo>
                    <a:pt x="53" y="40"/>
                    <a:pt x="60" y="24"/>
                    <a:pt x="79" y="36"/>
                  </a:cubicBezTo>
                  <a:cubicBezTo>
                    <a:pt x="112" y="59"/>
                    <a:pt x="114" y="57"/>
                    <a:pt x="124" y="20"/>
                  </a:cubicBezTo>
                  <a:cubicBezTo>
                    <a:pt x="125" y="13"/>
                    <a:pt x="135" y="5"/>
                    <a:pt x="143" y="3"/>
                  </a:cubicBezTo>
                  <a:cubicBezTo>
                    <a:pt x="154" y="0"/>
                    <a:pt x="167" y="2"/>
                    <a:pt x="179" y="2"/>
                  </a:cubicBezTo>
                  <a:cubicBezTo>
                    <a:pt x="181" y="8"/>
                    <a:pt x="182" y="11"/>
                    <a:pt x="183" y="14"/>
                  </a:cubicBezTo>
                  <a:cubicBezTo>
                    <a:pt x="192" y="55"/>
                    <a:pt x="193" y="55"/>
                    <a:pt x="230" y="35"/>
                  </a:cubicBezTo>
                  <a:cubicBezTo>
                    <a:pt x="249" y="25"/>
                    <a:pt x="255" y="43"/>
                    <a:pt x="264" y="51"/>
                  </a:cubicBezTo>
                  <a:cubicBezTo>
                    <a:pt x="273" y="58"/>
                    <a:pt x="282" y="67"/>
                    <a:pt x="272" y="82"/>
                  </a:cubicBezTo>
                  <a:cubicBezTo>
                    <a:pt x="250" y="112"/>
                    <a:pt x="254" y="118"/>
                    <a:pt x="291" y="127"/>
                  </a:cubicBezTo>
                  <a:cubicBezTo>
                    <a:pt x="297" y="129"/>
                    <a:pt x="305" y="138"/>
                    <a:pt x="307" y="144"/>
                  </a:cubicBezTo>
                  <a:cubicBezTo>
                    <a:pt x="309" y="156"/>
                    <a:pt x="307" y="169"/>
                    <a:pt x="307" y="180"/>
                  </a:cubicBezTo>
                  <a:cubicBezTo>
                    <a:pt x="252" y="201"/>
                    <a:pt x="252" y="201"/>
                    <a:pt x="281" y="244"/>
                  </a:cubicBezTo>
                  <a:close/>
                  <a:moveTo>
                    <a:pt x="153" y="94"/>
                  </a:moveTo>
                  <a:cubicBezTo>
                    <a:pt x="118" y="94"/>
                    <a:pt x="92" y="121"/>
                    <a:pt x="91" y="155"/>
                  </a:cubicBezTo>
                  <a:cubicBezTo>
                    <a:pt x="91" y="191"/>
                    <a:pt x="119" y="218"/>
                    <a:pt x="154" y="218"/>
                  </a:cubicBezTo>
                  <a:cubicBezTo>
                    <a:pt x="188" y="217"/>
                    <a:pt x="216" y="190"/>
                    <a:pt x="217" y="156"/>
                  </a:cubicBezTo>
                  <a:cubicBezTo>
                    <a:pt x="217" y="122"/>
                    <a:pt x="188" y="93"/>
                    <a:pt x="153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1">
              <a:extLst>
                <a:ext uri="{FF2B5EF4-FFF2-40B4-BE49-F238E27FC236}">
                  <a16:creationId xmlns:a16="http://schemas.microsoft.com/office/drawing/2014/main" id="{E51ACE7D-4CFB-4CF6-A6CC-82FBA2A864E1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500239" y="4894185"/>
              <a:ext cx="156003" cy="160908"/>
            </a:xfrm>
            <a:custGeom>
              <a:avLst/>
              <a:gdLst>
                <a:gd name="T0" fmla="*/ 31 w 183"/>
                <a:gd name="T1" fmla="*/ 23 h 189"/>
                <a:gd name="T2" fmla="*/ 80 w 183"/>
                <a:gd name="T3" fmla="*/ 24 h 189"/>
                <a:gd name="T4" fmla="*/ 105 w 183"/>
                <a:gd name="T5" fmla="*/ 23 h 189"/>
                <a:gd name="T6" fmla="*/ 122 w 183"/>
                <a:gd name="T7" fmla="*/ 5 h 189"/>
                <a:gd name="T8" fmla="*/ 151 w 183"/>
                <a:gd name="T9" fmla="*/ 21 h 189"/>
                <a:gd name="T10" fmla="*/ 147 w 183"/>
                <a:gd name="T11" fmla="*/ 38 h 189"/>
                <a:gd name="T12" fmla="*/ 166 w 183"/>
                <a:gd name="T13" fmla="*/ 72 h 189"/>
                <a:gd name="T14" fmla="*/ 182 w 183"/>
                <a:gd name="T15" fmla="*/ 91 h 189"/>
                <a:gd name="T16" fmla="*/ 170 w 183"/>
                <a:gd name="T17" fmla="*/ 112 h 189"/>
                <a:gd name="T18" fmla="*/ 149 w 183"/>
                <a:gd name="T19" fmla="*/ 152 h 189"/>
                <a:gd name="T20" fmla="*/ 151 w 183"/>
                <a:gd name="T21" fmla="*/ 163 h 189"/>
                <a:gd name="T22" fmla="*/ 119 w 183"/>
                <a:gd name="T23" fmla="*/ 183 h 189"/>
                <a:gd name="T24" fmla="*/ 110 w 183"/>
                <a:gd name="T25" fmla="*/ 167 h 189"/>
                <a:gd name="T26" fmla="*/ 74 w 183"/>
                <a:gd name="T27" fmla="*/ 166 h 189"/>
                <a:gd name="T28" fmla="*/ 32 w 183"/>
                <a:gd name="T29" fmla="*/ 163 h 189"/>
                <a:gd name="T30" fmla="*/ 35 w 183"/>
                <a:gd name="T31" fmla="*/ 149 h 189"/>
                <a:gd name="T32" fmla="*/ 15 w 183"/>
                <a:gd name="T33" fmla="*/ 112 h 189"/>
                <a:gd name="T34" fmla="*/ 1 w 183"/>
                <a:gd name="T35" fmla="*/ 91 h 189"/>
                <a:gd name="T36" fmla="*/ 14 w 183"/>
                <a:gd name="T37" fmla="*/ 72 h 189"/>
                <a:gd name="T38" fmla="*/ 35 w 183"/>
                <a:gd name="T39" fmla="*/ 34 h 189"/>
                <a:gd name="T40" fmla="*/ 31 w 183"/>
                <a:gd name="T41" fmla="*/ 23 h 189"/>
                <a:gd name="T42" fmla="*/ 90 w 183"/>
                <a:gd name="T43" fmla="*/ 124 h 189"/>
                <a:gd name="T44" fmla="*/ 123 w 183"/>
                <a:gd name="T45" fmla="*/ 93 h 189"/>
                <a:gd name="T46" fmla="*/ 92 w 183"/>
                <a:gd name="T47" fmla="*/ 61 h 189"/>
                <a:gd name="T48" fmla="*/ 61 w 183"/>
                <a:gd name="T49" fmla="*/ 92 h 189"/>
                <a:gd name="T50" fmla="*/ 90 w 183"/>
                <a:gd name="T51" fmla="*/ 12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89">
                  <a:moveTo>
                    <a:pt x="31" y="23"/>
                  </a:moveTo>
                  <a:cubicBezTo>
                    <a:pt x="49" y="7"/>
                    <a:pt x="64" y="0"/>
                    <a:pt x="80" y="24"/>
                  </a:cubicBezTo>
                  <a:cubicBezTo>
                    <a:pt x="82" y="28"/>
                    <a:pt x="98" y="26"/>
                    <a:pt x="105" y="23"/>
                  </a:cubicBezTo>
                  <a:cubicBezTo>
                    <a:pt x="112" y="20"/>
                    <a:pt x="116" y="12"/>
                    <a:pt x="122" y="5"/>
                  </a:cubicBezTo>
                  <a:cubicBezTo>
                    <a:pt x="132" y="10"/>
                    <a:pt x="141" y="15"/>
                    <a:pt x="151" y="21"/>
                  </a:cubicBezTo>
                  <a:cubicBezTo>
                    <a:pt x="150" y="27"/>
                    <a:pt x="149" y="33"/>
                    <a:pt x="147" y="38"/>
                  </a:cubicBezTo>
                  <a:cubicBezTo>
                    <a:pt x="138" y="58"/>
                    <a:pt x="142" y="69"/>
                    <a:pt x="166" y="72"/>
                  </a:cubicBezTo>
                  <a:cubicBezTo>
                    <a:pt x="172" y="73"/>
                    <a:pt x="181" y="84"/>
                    <a:pt x="182" y="91"/>
                  </a:cubicBezTo>
                  <a:cubicBezTo>
                    <a:pt x="183" y="98"/>
                    <a:pt x="175" y="111"/>
                    <a:pt x="170" y="112"/>
                  </a:cubicBezTo>
                  <a:cubicBezTo>
                    <a:pt x="140" y="114"/>
                    <a:pt x="137" y="128"/>
                    <a:pt x="149" y="152"/>
                  </a:cubicBezTo>
                  <a:cubicBezTo>
                    <a:pt x="151" y="155"/>
                    <a:pt x="150" y="158"/>
                    <a:pt x="151" y="163"/>
                  </a:cubicBezTo>
                  <a:cubicBezTo>
                    <a:pt x="142" y="168"/>
                    <a:pt x="133" y="174"/>
                    <a:pt x="119" y="183"/>
                  </a:cubicBezTo>
                  <a:cubicBezTo>
                    <a:pt x="116" y="178"/>
                    <a:pt x="113" y="172"/>
                    <a:pt x="110" y="167"/>
                  </a:cubicBezTo>
                  <a:cubicBezTo>
                    <a:pt x="99" y="150"/>
                    <a:pt x="87" y="146"/>
                    <a:pt x="74" y="166"/>
                  </a:cubicBezTo>
                  <a:cubicBezTo>
                    <a:pt x="59" y="189"/>
                    <a:pt x="47" y="171"/>
                    <a:pt x="32" y="163"/>
                  </a:cubicBezTo>
                  <a:cubicBezTo>
                    <a:pt x="33" y="158"/>
                    <a:pt x="33" y="153"/>
                    <a:pt x="35" y="149"/>
                  </a:cubicBezTo>
                  <a:cubicBezTo>
                    <a:pt x="46" y="127"/>
                    <a:pt x="42" y="115"/>
                    <a:pt x="15" y="112"/>
                  </a:cubicBezTo>
                  <a:cubicBezTo>
                    <a:pt x="9" y="111"/>
                    <a:pt x="1" y="99"/>
                    <a:pt x="1" y="91"/>
                  </a:cubicBezTo>
                  <a:cubicBezTo>
                    <a:pt x="0" y="85"/>
                    <a:pt x="8" y="74"/>
                    <a:pt x="14" y="72"/>
                  </a:cubicBezTo>
                  <a:cubicBezTo>
                    <a:pt x="45" y="63"/>
                    <a:pt x="45" y="63"/>
                    <a:pt x="35" y="34"/>
                  </a:cubicBezTo>
                  <a:cubicBezTo>
                    <a:pt x="34" y="31"/>
                    <a:pt x="32" y="27"/>
                    <a:pt x="31" y="23"/>
                  </a:cubicBezTo>
                  <a:close/>
                  <a:moveTo>
                    <a:pt x="90" y="124"/>
                  </a:moveTo>
                  <a:cubicBezTo>
                    <a:pt x="111" y="123"/>
                    <a:pt x="123" y="111"/>
                    <a:pt x="123" y="93"/>
                  </a:cubicBezTo>
                  <a:cubicBezTo>
                    <a:pt x="123" y="75"/>
                    <a:pt x="112" y="61"/>
                    <a:pt x="92" y="61"/>
                  </a:cubicBezTo>
                  <a:cubicBezTo>
                    <a:pt x="73" y="61"/>
                    <a:pt x="61" y="72"/>
                    <a:pt x="61" y="92"/>
                  </a:cubicBezTo>
                  <a:cubicBezTo>
                    <a:pt x="60" y="112"/>
                    <a:pt x="73" y="121"/>
                    <a:pt x="9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6A2D546-5AE9-4FE2-BA97-8F4A18B8D44B}"/>
              </a:ext>
            </a:extLst>
          </p:cNvPr>
          <p:cNvSpPr/>
          <p:nvPr/>
        </p:nvSpPr>
        <p:spPr bwMode="gray">
          <a:xfrm>
            <a:off x="10940635" y="1980838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1</a:t>
            </a:r>
            <a:r>
              <a:rPr kumimoji="0" lang="en-US" sz="105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st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SteerCo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D66ECD21-95FA-4189-8C7E-1737E2AB584E}"/>
              </a:ext>
            </a:extLst>
          </p:cNvPr>
          <p:cNvSpPr/>
          <p:nvPr/>
        </p:nvSpPr>
        <p:spPr>
          <a:xfrm>
            <a:off x="10531739" y="2064888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5381916-3B69-4B7C-B12D-7382BF2E17F3}"/>
              </a:ext>
            </a:extLst>
          </p:cNvPr>
          <p:cNvGrpSpPr/>
          <p:nvPr/>
        </p:nvGrpSpPr>
        <p:grpSpPr bwMode="gray">
          <a:xfrm>
            <a:off x="10495916" y="2017790"/>
            <a:ext cx="205069" cy="214556"/>
            <a:chOff x="5710238" y="596900"/>
            <a:chExt cx="538163" cy="498475"/>
          </a:xfrm>
          <a:solidFill>
            <a:schemeClr val="accent6"/>
          </a:solidFill>
        </p:grpSpPr>
        <p:sp>
          <p:nvSpPr>
            <p:cNvPr id="92" name="Freeform 63">
              <a:extLst>
                <a:ext uri="{FF2B5EF4-FFF2-40B4-BE49-F238E27FC236}">
                  <a16:creationId xmlns:a16="http://schemas.microsoft.com/office/drawing/2014/main" id="{78AA75F8-080E-4971-8449-EC6CB97BF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596900"/>
              <a:ext cx="430213" cy="479425"/>
            </a:xfrm>
            <a:custGeom>
              <a:avLst/>
              <a:gdLst>
                <a:gd name="T0" fmla="*/ 132 w 132"/>
                <a:gd name="T1" fmla="*/ 0 h 146"/>
                <a:gd name="T2" fmla="*/ 106 w 132"/>
                <a:gd name="T3" fmla="*/ 11 h 146"/>
                <a:gd name="T4" fmla="*/ 56 w 132"/>
                <a:gd name="T5" fmla="*/ 64 h 146"/>
                <a:gd name="T6" fmla="*/ 9 w 132"/>
                <a:gd name="T7" fmla="*/ 119 h 146"/>
                <a:gd name="T8" fmla="*/ 0 w 132"/>
                <a:gd name="T9" fmla="*/ 146 h 146"/>
                <a:gd name="T10" fmla="*/ 25 w 132"/>
                <a:gd name="T11" fmla="*/ 133 h 146"/>
                <a:gd name="T12" fmla="*/ 73 w 132"/>
                <a:gd name="T13" fmla="*/ 79 h 146"/>
                <a:gd name="T14" fmla="*/ 121 w 132"/>
                <a:gd name="T15" fmla="*/ 26 h 146"/>
                <a:gd name="T16" fmla="*/ 132 w 132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46">
                  <a:moveTo>
                    <a:pt x="132" y="0"/>
                  </a:moveTo>
                  <a:cubicBezTo>
                    <a:pt x="121" y="1"/>
                    <a:pt x="114" y="3"/>
                    <a:pt x="106" y="11"/>
                  </a:cubicBezTo>
                  <a:cubicBezTo>
                    <a:pt x="97" y="19"/>
                    <a:pt x="56" y="64"/>
                    <a:pt x="56" y="64"/>
                  </a:cubicBezTo>
                  <a:cubicBezTo>
                    <a:pt x="56" y="64"/>
                    <a:pt x="16" y="109"/>
                    <a:pt x="9" y="119"/>
                  </a:cubicBezTo>
                  <a:cubicBezTo>
                    <a:pt x="2" y="127"/>
                    <a:pt x="1" y="135"/>
                    <a:pt x="0" y="146"/>
                  </a:cubicBezTo>
                  <a:cubicBezTo>
                    <a:pt x="11" y="143"/>
                    <a:pt x="18" y="141"/>
                    <a:pt x="25" y="133"/>
                  </a:cubicBezTo>
                  <a:cubicBezTo>
                    <a:pt x="33" y="123"/>
                    <a:pt x="72" y="78"/>
                    <a:pt x="73" y="79"/>
                  </a:cubicBezTo>
                  <a:cubicBezTo>
                    <a:pt x="72" y="78"/>
                    <a:pt x="113" y="35"/>
                    <a:pt x="121" y="26"/>
                  </a:cubicBezTo>
                  <a:cubicBezTo>
                    <a:pt x="129" y="18"/>
                    <a:pt x="131" y="11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93" name="Freeform 64">
              <a:extLst>
                <a:ext uri="{FF2B5EF4-FFF2-40B4-BE49-F238E27FC236}">
                  <a16:creationId xmlns:a16="http://schemas.microsoft.com/office/drawing/2014/main" id="{BC120912-A5F2-49D4-B673-ADF6CBD9E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708025"/>
              <a:ext cx="538163" cy="387350"/>
            </a:xfrm>
            <a:custGeom>
              <a:avLst/>
              <a:gdLst>
                <a:gd name="T0" fmla="*/ 0 w 165"/>
                <a:gd name="T1" fmla="*/ 2 h 118"/>
                <a:gd name="T2" fmla="*/ 19 w 165"/>
                <a:gd name="T3" fmla="*/ 25 h 118"/>
                <a:gd name="T4" fmla="*/ 81 w 165"/>
                <a:gd name="T5" fmla="*/ 63 h 118"/>
                <a:gd name="T6" fmla="*/ 138 w 165"/>
                <a:gd name="T7" fmla="*/ 107 h 118"/>
                <a:gd name="T8" fmla="*/ 165 w 165"/>
                <a:gd name="T9" fmla="*/ 118 h 118"/>
                <a:gd name="T10" fmla="*/ 153 w 165"/>
                <a:gd name="T11" fmla="*/ 91 h 118"/>
                <a:gd name="T12" fmla="*/ 93 w 165"/>
                <a:gd name="T13" fmla="*/ 45 h 118"/>
                <a:gd name="T14" fmla="*/ 30 w 165"/>
                <a:gd name="T15" fmla="*/ 5 h 118"/>
                <a:gd name="T16" fmla="*/ 0 w 165"/>
                <a:gd name="T17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18">
                  <a:moveTo>
                    <a:pt x="0" y="2"/>
                  </a:moveTo>
                  <a:cubicBezTo>
                    <a:pt x="5" y="13"/>
                    <a:pt x="9" y="19"/>
                    <a:pt x="19" y="25"/>
                  </a:cubicBezTo>
                  <a:cubicBezTo>
                    <a:pt x="30" y="30"/>
                    <a:pt x="82" y="62"/>
                    <a:pt x="81" y="63"/>
                  </a:cubicBezTo>
                  <a:cubicBezTo>
                    <a:pt x="82" y="62"/>
                    <a:pt x="130" y="98"/>
                    <a:pt x="138" y="107"/>
                  </a:cubicBezTo>
                  <a:cubicBezTo>
                    <a:pt x="147" y="114"/>
                    <a:pt x="153" y="116"/>
                    <a:pt x="165" y="118"/>
                  </a:cubicBezTo>
                  <a:cubicBezTo>
                    <a:pt x="163" y="107"/>
                    <a:pt x="162" y="98"/>
                    <a:pt x="153" y="91"/>
                  </a:cubicBezTo>
                  <a:cubicBezTo>
                    <a:pt x="144" y="81"/>
                    <a:pt x="94" y="44"/>
                    <a:pt x="93" y="45"/>
                  </a:cubicBezTo>
                  <a:cubicBezTo>
                    <a:pt x="94" y="44"/>
                    <a:pt x="41" y="11"/>
                    <a:pt x="30" y="5"/>
                  </a:cubicBezTo>
                  <a:cubicBezTo>
                    <a:pt x="19" y="0"/>
                    <a:pt x="1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E2C5D19B-9D81-4967-BB13-5BB2DFCDABF1}"/>
              </a:ext>
            </a:extLst>
          </p:cNvPr>
          <p:cNvCxnSpPr/>
          <p:nvPr/>
        </p:nvCxnSpPr>
        <p:spPr>
          <a:xfrm>
            <a:off x="10683947" y="2142789"/>
            <a:ext cx="290402" cy="6194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arrow" w="med" len="med"/>
            <a:tailEnd type="none" w="med" len="med"/>
          </a:ln>
          <a:effectLst/>
        </p:spPr>
      </p:cxn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6454D665-349F-493D-8858-454376068319}"/>
              </a:ext>
            </a:extLst>
          </p:cNvPr>
          <p:cNvGrpSpPr>
            <a:grpSpLocks/>
          </p:cNvGrpSpPr>
          <p:nvPr/>
        </p:nvGrpSpPr>
        <p:grpSpPr>
          <a:xfrm rot="5400000">
            <a:off x="5069696" y="4561595"/>
            <a:ext cx="144000" cy="1332000"/>
            <a:chOff x="5688912" y="2372505"/>
            <a:chExt cx="712725" cy="1671702"/>
          </a:xfrm>
        </p:grpSpPr>
        <p:sp>
          <p:nvSpPr>
            <p:cNvPr id="248" name="Raute 132">
              <a:extLst>
                <a:ext uri="{FF2B5EF4-FFF2-40B4-BE49-F238E27FC236}">
                  <a16:creationId xmlns:a16="http://schemas.microsoft.com/office/drawing/2014/main" id="{922EE92F-633E-4FF2-8D44-A739629E4C02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  <p:sp>
          <p:nvSpPr>
            <p:cNvPr id="249" name="Raute 132">
              <a:extLst>
                <a:ext uri="{FF2B5EF4-FFF2-40B4-BE49-F238E27FC236}">
                  <a16:creationId xmlns:a16="http://schemas.microsoft.com/office/drawing/2014/main" id="{A48587E3-1320-4A49-89B9-6B4FDC1DB069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4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</p:grpSp>
      <p:sp>
        <p:nvSpPr>
          <p:cNvPr id="250" name="Rectangle 249">
            <a:extLst>
              <a:ext uri="{FF2B5EF4-FFF2-40B4-BE49-F238E27FC236}">
                <a16:creationId xmlns:a16="http://schemas.microsoft.com/office/drawing/2014/main" id="{5E92F0B4-1D01-44B3-BA49-6AF5EFAB18C7}"/>
              </a:ext>
            </a:extLst>
          </p:cNvPr>
          <p:cNvSpPr>
            <a:spLocks/>
          </p:cNvSpPr>
          <p:nvPr/>
        </p:nvSpPr>
        <p:spPr>
          <a:xfrm>
            <a:off x="1233402" y="5491846"/>
            <a:ext cx="7816589" cy="969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In February we outlined the project, organized the individual teams and started experimenting with the provided data. While first results already looked promising....</a:t>
            </a:r>
          </a:p>
        </p:txBody>
      </p:sp>
    </p:spTree>
    <p:extLst>
      <p:ext uri="{BB962C8B-B14F-4D97-AF65-F5344CB8AC3E}">
        <p14:creationId xmlns:p14="http://schemas.microsoft.com/office/powerpoint/2010/main" val="158972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0940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1A246C2-7891-4153-8173-AB72BCCBDA2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1" y="1138299"/>
            <a:ext cx="8600936" cy="334028"/>
          </a:xfrm>
        </p:spPr>
        <p:txBody>
          <a:bodyPr/>
          <a:lstStyle/>
          <a:p>
            <a:endParaRPr lang="de-DE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Holmes Development Lifecycle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C2AF88E-1B69-45F8-8E85-6207ADFDF830}"/>
              </a:ext>
            </a:extLst>
          </p:cNvPr>
          <p:cNvGrpSpPr/>
          <p:nvPr/>
        </p:nvGrpSpPr>
        <p:grpSpPr>
          <a:xfrm>
            <a:off x="1251012" y="2500956"/>
            <a:ext cx="6454593" cy="1974396"/>
            <a:chOff x="751586" y="2271014"/>
            <a:chExt cx="6609396" cy="2121408"/>
          </a:xfrm>
        </p:grpSpPr>
        <p:sp>
          <p:nvSpPr>
            <p:cNvPr id="197" name="Hexagon 10">
              <a:extLst>
                <a:ext uri="{FF2B5EF4-FFF2-40B4-BE49-F238E27FC236}">
                  <a16:creationId xmlns:a16="http://schemas.microsoft.com/office/drawing/2014/main" id="{33B4A255-A42A-47E5-BBF8-450FEC78C35C}"/>
                </a:ext>
              </a:extLst>
            </p:cNvPr>
            <p:cNvSpPr/>
            <p:nvPr/>
          </p:nvSpPr>
          <p:spPr bwMode="gray">
            <a:xfrm rot="5400000">
              <a:off x="658336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8" name="Hexagon 10">
              <a:extLst>
                <a:ext uri="{FF2B5EF4-FFF2-40B4-BE49-F238E27FC236}">
                  <a16:creationId xmlns:a16="http://schemas.microsoft.com/office/drawing/2014/main" id="{4FD3C07C-4B78-484D-9648-55078F5DE087}"/>
                </a:ext>
              </a:extLst>
            </p:cNvPr>
            <p:cNvSpPr/>
            <p:nvPr/>
          </p:nvSpPr>
          <p:spPr bwMode="gray">
            <a:xfrm rot="5400000" flipH="1">
              <a:off x="2015648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9" name="Hexagon 10">
              <a:extLst>
                <a:ext uri="{FF2B5EF4-FFF2-40B4-BE49-F238E27FC236}">
                  <a16:creationId xmlns:a16="http://schemas.microsoft.com/office/drawing/2014/main" id="{2CBD80C7-DE19-41BB-9401-273E837E419D}"/>
                </a:ext>
              </a:extLst>
            </p:cNvPr>
            <p:cNvSpPr/>
            <p:nvPr/>
          </p:nvSpPr>
          <p:spPr bwMode="gray">
            <a:xfrm rot="5400000">
              <a:off x="3349148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accent4"/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0" name="Hexagon 10">
              <a:extLst>
                <a:ext uri="{FF2B5EF4-FFF2-40B4-BE49-F238E27FC236}">
                  <a16:creationId xmlns:a16="http://schemas.microsoft.com/office/drawing/2014/main" id="{A53386E8-9D04-4401-84C1-CE8DB86499D4}"/>
                </a:ext>
              </a:extLst>
            </p:cNvPr>
            <p:cNvSpPr/>
            <p:nvPr/>
          </p:nvSpPr>
          <p:spPr bwMode="gray">
            <a:xfrm rot="5400000" flipH="1">
              <a:off x="4706460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1" name="Hexagon 10">
              <a:extLst>
                <a:ext uri="{FF2B5EF4-FFF2-40B4-BE49-F238E27FC236}">
                  <a16:creationId xmlns:a16="http://schemas.microsoft.com/office/drawing/2014/main" id="{60153D2B-67A4-4BD9-9702-351AD78AD926}"/>
                </a:ext>
              </a:extLst>
            </p:cNvPr>
            <p:cNvSpPr/>
            <p:nvPr/>
          </p:nvSpPr>
          <p:spPr bwMode="gray">
            <a:xfrm rot="5400000">
              <a:off x="6039960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02" name="Hexagon 201">
            <a:extLst>
              <a:ext uri="{FF2B5EF4-FFF2-40B4-BE49-F238E27FC236}">
                <a16:creationId xmlns:a16="http://schemas.microsoft.com/office/drawing/2014/main" id="{02218789-BB2C-4DF6-8226-EB9DB14783D6}"/>
              </a:ext>
            </a:extLst>
          </p:cNvPr>
          <p:cNvSpPr/>
          <p:nvPr/>
        </p:nvSpPr>
        <p:spPr bwMode="gray">
          <a:xfrm rot="16200000">
            <a:off x="1290471" y="2661334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3" name="Hexagon 202">
            <a:extLst>
              <a:ext uri="{FF2B5EF4-FFF2-40B4-BE49-F238E27FC236}">
                <a16:creationId xmlns:a16="http://schemas.microsoft.com/office/drawing/2014/main" id="{574A566D-36B0-4C0D-8434-34E020E4CD2C}"/>
              </a:ext>
            </a:extLst>
          </p:cNvPr>
          <p:cNvSpPr/>
          <p:nvPr/>
        </p:nvSpPr>
        <p:spPr bwMode="gray">
          <a:xfrm rot="16200000">
            <a:off x="2620754" y="3314928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4" name="Hexagon 203">
            <a:extLst>
              <a:ext uri="{FF2B5EF4-FFF2-40B4-BE49-F238E27FC236}">
                <a16:creationId xmlns:a16="http://schemas.microsoft.com/office/drawing/2014/main" id="{C87EE9CE-0A39-42B6-9AE6-CFFD383404CE}"/>
              </a:ext>
            </a:extLst>
          </p:cNvPr>
          <p:cNvSpPr>
            <a:spLocks/>
          </p:cNvSpPr>
          <p:nvPr/>
        </p:nvSpPr>
        <p:spPr bwMode="gray">
          <a:xfrm rot="16200000">
            <a:off x="3923021" y="2656796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5" name="Hexagon 204">
            <a:extLst>
              <a:ext uri="{FF2B5EF4-FFF2-40B4-BE49-F238E27FC236}">
                <a16:creationId xmlns:a16="http://schemas.microsoft.com/office/drawing/2014/main" id="{E1792963-3546-4BFD-8D1A-BA34CA47745D}"/>
              </a:ext>
            </a:extLst>
          </p:cNvPr>
          <p:cNvSpPr>
            <a:spLocks/>
          </p:cNvSpPr>
          <p:nvPr/>
        </p:nvSpPr>
        <p:spPr bwMode="gray">
          <a:xfrm rot="16200000">
            <a:off x="5248543" y="3314928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6" name="Hexagon 205">
            <a:extLst>
              <a:ext uri="{FF2B5EF4-FFF2-40B4-BE49-F238E27FC236}">
                <a16:creationId xmlns:a16="http://schemas.microsoft.com/office/drawing/2014/main" id="{4B3C7CAF-5C5E-47C4-8C7B-72CDF41A670A}"/>
              </a:ext>
            </a:extLst>
          </p:cNvPr>
          <p:cNvSpPr>
            <a:spLocks/>
          </p:cNvSpPr>
          <p:nvPr/>
        </p:nvSpPr>
        <p:spPr bwMode="gray">
          <a:xfrm rot="16200000">
            <a:off x="6550810" y="2656797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BE75C26D-288F-4048-BAF5-13CDAB244A66}"/>
              </a:ext>
            </a:extLst>
          </p:cNvPr>
          <p:cNvGrpSpPr/>
          <p:nvPr/>
        </p:nvGrpSpPr>
        <p:grpSpPr>
          <a:xfrm>
            <a:off x="1840997" y="2306089"/>
            <a:ext cx="5266309" cy="199404"/>
            <a:chOff x="1425933" y="1146206"/>
            <a:chExt cx="6282218" cy="1374704"/>
          </a:xfrm>
        </p:grpSpPr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71F48747-AE2E-45BD-9F8C-8099EA6125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5933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2CBEF1FD-75A0-43E4-8BC3-0E04C7EB8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66698" y="1146206"/>
              <a:ext cx="688" cy="1374704"/>
            </a:xfrm>
            <a:prstGeom prst="line">
              <a:avLst/>
            </a:prstGeom>
            <a:ln>
              <a:solidFill>
                <a:schemeClr val="accent4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D8F66EB9-E612-4CDF-B613-F04B582CBF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07463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9089C857-37A3-4736-929C-6D0D47610D60}"/>
              </a:ext>
            </a:extLst>
          </p:cNvPr>
          <p:cNvGrpSpPr/>
          <p:nvPr/>
        </p:nvGrpSpPr>
        <p:grpSpPr>
          <a:xfrm>
            <a:off x="3171428" y="4480396"/>
            <a:ext cx="2623921" cy="166857"/>
            <a:chOff x="3013013" y="5005847"/>
            <a:chExt cx="3130094" cy="938942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097C9AE1-C019-4ECF-9A3D-A604F9CA8C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2419" y="5005849"/>
              <a:ext cx="688" cy="938940"/>
            </a:xfrm>
            <a:prstGeom prst="line">
              <a:avLst/>
            </a:prstGeom>
            <a:ln>
              <a:solidFill>
                <a:schemeClr val="accent1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C355E85-2FD9-401F-AF69-354C5EE8C0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3013" y="5005847"/>
              <a:ext cx="688" cy="938939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1DB6B88C-ECB5-4448-BD58-2C51BDCEE0A5}"/>
              </a:ext>
            </a:extLst>
          </p:cNvPr>
          <p:cNvSpPr/>
          <p:nvPr/>
        </p:nvSpPr>
        <p:spPr>
          <a:xfrm>
            <a:off x="1130630" y="1975066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5ECADE8-3103-4B20-BA19-0554069258A4}"/>
              </a:ext>
            </a:extLst>
          </p:cNvPr>
          <p:cNvSpPr/>
          <p:nvPr/>
        </p:nvSpPr>
        <p:spPr>
          <a:xfrm>
            <a:off x="3878800" y="1975066"/>
            <a:ext cx="119901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Modelling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06935711-88E4-4E58-B4C9-4F9FF8B6A7E7}"/>
              </a:ext>
            </a:extLst>
          </p:cNvPr>
          <p:cNvSpPr/>
          <p:nvPr/>
        </p:nvSpPr>
        <p:spPr>
          <a:xfrm>
            <a:off x="5969299" y="1975066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Validation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D0E0F0B-E0A5-4F35-8CFB-F5AB6D6FB554}"/>
              </a:ext>
            </a:extLst>
          </p:cNvPr>
          <p:cNvSpPr/>
          <p:nvPr/>
        </p:nvSpPr>
        <p:spPr>
          <a:xfrm>
            <a:off x="2450028" y="4645728"/>
            <a:ext cx="14302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Explor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1EA8D65-1C1C-4350-95E1-07A4491AF15C}"/>
              </a:ext>
            </a:extLst>
          </p:cNvPr>
          <p:cNvSpPr/>
          <p:nvPr/>
        </p:nvSpPr>
        <p:spPr>
          <a:xfrm>
            <a:off x="4656148" y="4645728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Engineering</a:t>
            </a:r>
          </a:p>
        </p:txBody>
      </p:sp>
      <p:sp>
        <p:nvSpPr>
          <p:cNvPr id="226" name="Hexagon 58">
            <a:extLst>
              <a:ext uri="{FF2B5EF4-FFF2-40B4-BE49-F238E27FC236}">
                <a16:creationId xmlns:a16="http://schemas.microsoft.com/office/drawing/2014/main" id="{4608056B-4104-4663-94D5-07B238D0A2C6}"/>
              </a:ext>
            </a:extLst>
          </p:cNvPr>
          <p:cNvSpPr/>
          <p:nvPr/>
        </p:nvSpPr>
        <p:spPr bwMode="gray">
          <a:xfrm rot="16200000">
            <a:off x="1705714" y="3207830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7" name="Hexagon 58">
            <a:extLst>
              <a:ext uri="{FF2B5EF4-FFF2-40B4-BE49-F238E27FC236}">
                <a16:creationId xmlns:a16="http://schemas.microsoft.com/office/drawing/2014/main" id="{7FEDA1E9-9025-4222-8B3E-007DABE933E3}"/>
              </a:ext>
            </a:extLst>
          </p:cNvPr>
          <p:cNvSpPr/>
          <p:nvPr/>
        </p:nvSpPr>
        <p:spPr bwMode="gray">
          <a:xfrm rot="16200000">
            <a:off x="4328679" y="320329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8" name="Hexagon 58">
            <a:extLst>
              <a:ext uri="{FF2B5EF4-FFF2-40B4-BE49-F238E27FC236}">
                <a16:creationId xmlns:a16="http://schemas.microsoft.com/office/drawing/2014/main" id="{341DB174-C2B6-4609-9BEA-1A41A014DFF6}"/>
              </a:ext>
            </a:extLst>
          </p:cNvPr>
          <p:cNvSpPr/>
          <p:nvPr/>
        </p:nvSpPr>
        <p:spPr bwMode="gray">
          <a:xfrm rot="16200000">
            <a:off x="6951643" y="319875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9" name="Hexagon 58">
            <a:extLst>
              <a:ext uri="{FF2B5EF4-FFF2-40B4-BE49-F238E27FC236}">
                <a16:creationId xmlns:a16="http://schemas.microsoft.com/office/drawing/2014/main" id="{F2AE54A5-748B-45B5-8772-7F29C09500DB}"/>
              </a:ext>
            </a:extLst>
          </p:cNvPr>
          <p:cNvSpPr/>
          <p:nvPr/>
        </p:nvSpPr>
        <p:spPr bwMode="gray">
          <a:xfrm rot="5400000" flipV="1">
            <a:off x="5637999" y="253801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0" name="Hexagon 58">
            <a:extLst>
              <a:ext uri="{FF2B5EF4-FFF2-40B4-BE49-F238E27FC236}">
                <a16:creationId xmlns:a16="http://schemas.microsoft.com/office/drawing/2014/main" id="{71248B5A-4534-4A22-B526-3476100187D4}"/>
              </a:ext>
            </a:extLst>
          </p:cNvPr>
          <p:cNvSpPr/>
          <p:nvPr/>
        </p:nvSpPr>
        <p:spPr bwMode="gray">
          <a:xfrm rot="5400000" flipV="1">
            <a:off x="3029004" y="255131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1" name="Hexagon 10">
            <a:extLst>
              <a:ext uri="{FF2B5EF4-FFF2-40B4-BE49-F238E27FC236}">
                <a16:creationId xmlns:a16="http://schemas.microsoft.com/office/drawing/2014/main" id="{CC251BAF-13A4-4ECA-A47E-A0853474ED72}"/>
              </a:ext>
            </a:extLst>
          </p:cNvPr>
          <p:cNvSpPr/>
          <p:nvPr/>
        </p:nvSpPr>
        <p:spPr bwMode="gray">
          <a:xfrm rot="5400000" flipH="1">
            <a:off x="7768866" y="3231415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2" name="Hexagon 231">
            <a:extLst>
              <a:ext uri="{FF2B5EF4-FFF2-40B4-BE49-F238E27FC236}">
                <a16:creationId xmlns:a16="http://schemas.microsoft.com/office/drawing/2014/main" id="{2EF3E5C7-1C8A-47E8-8105-E633AC406B0F}"/>
              </a:ext>
            </a:extLst>
          </p:cNvPr>
          <p:cNvSpPr/>
          <p:nvPr/>
        </p:nvSpPr>
        <p:spPr bwMode="gray">
          <a:xfrm rot="16200000">
            <a:off x="7871711" y="3328631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F6ADF69-A80C-40A4-9F54-E20D16DB37A7}"/>
              </a:ext>
            </a:extLst>
          </p:cNvPr>
          <p:cNvSpPr/>
          <p:nvPr/>
        </p:nvSpPr>
        <p:spPr>
          <a:xfrm>
            <a:off x="7279316" y="4659431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Deployment</a:t>
            </a:r>
          </a:p>
        </p:txBody>
      </p:sp>
      <p:sp>
        <p:nvSpPr>
          <p:cNvPr id="236" name="Hexagon 58">
            <a:extLst>
              <a:ext uri="{FF2B5EF4-FFF2-40B4-BE49-F238E27FC236}">
                <a16:creationId xmlns:a16="http://schemas.microsoft.com/office/drawing/2014/main" id="{47E1E454-6BC6-4FE5-A45F-0AAE081AFE7A}"/>
              </a:ext>
            </a:extLst>
          </p:cNvPr>
          <p:cNvSpPr/>
          <p:nvPr/>
        </p:nvSpPr>
        <p:spPr bwMode="gray">
          <a:xfrm rot="5400000" flipV="1">
            <a:off x="8261167" y="2551715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0AD7F1F-DECA-4AA0-953E-372CA19338A9}"/>
              </a:ext>
            </a:extLst>
          </p:cNvPr>
          <p:cNvCxnSpPr>
            <a:cxnSpLocks/>
          </p:cNvCxnSpPr>
          <p:nvPr/>
        </p:nvCxnSpPr>
        <p:spPr>
          <a:xfrm flipH="1">
            <a:off x="8425800" y="4480396"/>
            <a:ext cx="577" cy="16685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3C57EA3E-85CE-4D5E-A634-A5972252D8CF}"/>
              </a:ext>
            </a:extLst>
          </p:cNvPr>
          <p:cNvSpPr>
            <a:spLocks/>
          </p:cNvSpPr>
          <p:nvPr/>
        </p:nvSpPr>
        <p:spPr bwMode="gray">
          <a:xfrm>
            <a:off x="9395701" y="2703405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Apr 21</a:t>
            </a:r>
          </a:p>
        </p:txBody>
      </p:sp>
      <p:grpSp>
        <p:nvGrpSpPr>
          <p:cNvPr id="97" name="myP_Server">
            <a:extLst>
              <a:ext uri="{FF2B5EF4-FFF2-40B4-BE49-F238E27FC236}">
                <a16:creationId xmlns:a16="http://schemas.microsoft.com/office/drawing/2014/main" id="{9B40E6A5-1B02-42DD-9A18-9A5F72D94E4A}"/>
              </a:ext>
            </a:extLst>
          </p:cNvPr>
          <p:cNvGrpSpPr/>
          <p:nvPr/>
        </p:nvGrpSpPr>
        <p:grpSpPr>
          <a:xfrm>
            <a:off x="3030897" y="3670257"/>
            <a:ext cx="355758" cy="354868"/>
            <a:chOff x="4972448" y="2995216"/>
            <a:chExt cx="533564" cy="532230"/>
          </a:xfrm>
          <a:solidFill>
            <a:schemeClr val="bg1"/>
          </a:solidFill>
        </p:grpSpPr>
        <p:sp>
          <p:nvSpPr>
            <p:cNvPr id="98" name="Freeform 619">
              <a:extLst>
                <a:ext uri="{FF2B5EF4-FFF2-40B4-BE49-F238E27FC236}">
                  <a16:creationId xmlns:a16="http://schemas.microsoft.com/office/drawing/2014/main" id="{075E3DA4-0DFF-4CFA-A8A9-971D98F0E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448" y="2995216"/>
              <a:ext cx="344149" cy="125387"/>
            </a:xfrm>
            <a:custGeom>
              <a:avLst/>
              <a:gdLst>
                <a:gd name="T0" fmla="*/ 22 w 297"/>
                <a:gd name="T1" fmla="*/ 81 h 108"/>
                <a:gd name="T2" fmla="*/ 45 w 297"/>
                <a:gd name="T3" fmla="*/ 91 h 108"/>
                <a:gd name="T4" fmla="*/ 54 w 297"/>
                <a:gd name="T5" fmla="*/ 95 h 108"/>
                <a:gd name="T6" fmla="*/ 74 w 297"/>
                <a:gd name="T7" fmla="*/ 100 h 108"/>
                <a:gd name="T8" fmla="*/ 85 w 297"/>
                <a:gd name="T9" fmla="*/ 102 h 108"/>
                <a:gd name="T10" fmla="*/ 97 w 297"/>
                <a:gd name="T11" fmla="*/ 104 h 108"/>
                <a:gd name="T12" fmla="*/ 109 w 297"/>
                <a:gd name="T13" fmla="*/ 105 h 108"/>
                <a:gd name="T14" fmla="*/ 122 w 297"/>
                <a:gd name="T15" fmla="*/ 107 h 108"/>
                <a:gd name="T16" fmla="*/ 136 w 297"/>
                <a:gd name="T17" fmla="*/ 107 h 108"/>
                <a:gd name="T18" fmla="*/ 161 w 297"/>
                <a:gd name="T19" fmla="*/ 107 h 108"/>
                <a:gd name="T20" fmla="*/ 174 w 297"/>
                <a:gd name="T21" fmla="*/ 107 h 108"/>
                <a:gd name="T22" fmla="*/ 188 w 297"/>
                <a:gd name="T23" fmla="*/ 105 h 108"/>
                <a:gd name="T24" fmla="*/ 200 w 297"/>
                <a:gd name="T25" fmla="*/ 104 h 108"/>
                <a:gd name="T26" fmla="*/ 211 w 297"/>
                <a:gd name="T27" fmla="*/ 102 h 108"/>
                <a:gd name="T28" fmla="*/ 223 w 297"/>
                <a:gd name="T29" fmla="*/ 100 h 108"/>
                <a:gd name="T30" fmla="*/ 243 w 297"/>
                <a:gd name="T31" fmla="*/ 95 h 108"/>
                <a:gd name="T32" fmla="*/ 252 w 297"/>
                <a:gd name="T33" fmla="*/ 91 h 108"/>
                <a:gd name="T34" fmla="*/ 275 w 297"/>
                <a:gd name="T35" fmla="*/ 81 h 108"/>
                <a:gd name="T36" fmla="*/ 297 w 297"/>
                <a:gd name="T37" fmla="*/ 54 h 108"/>
                <a:gd name="T38" fmla="*/ 275 w 297"/>
                <a:gd name="T39" fmla="*/ 27 h 108"/>
                <a:gd name="T40" fmla="*/ 252 w 297"/>
                <a:gd name="T41" fmla="*/ 16 h 108"/>
                <a:gd name="T42" fmla="*/ 243 w 297"/>
                <a:gd name="T43" fmla="*/ 13 h 108"/>
                <a:gd name="T44" fmla="*/ 223 w 297"/>
                <a:gd name="T45" fmla="*/ 8 h 108"/>
                <a:gd name="T46" fmla="*/ 211 w 297"/>
                <a:gd name="T47" fmla="*/ 5 h 108"/>
                <a:gd name="T48" fmla="*/ 200 w 297"/>
                <a:gd name="T49" fmla="*/ 4 h 108"/>
                <a:gd name="T50" fmla="*/ 188 w 297"/>
                <a:gd name="T51" fmla="*/ 2 h 108"/>
                <a:gd name="T52" fmla="*/ 174 w 297"/>
                <a:gd name="T53" fmla="*/ 1 h 108"/>
                <a:gd name="T54" fmla="*/ 161 w 297"/>
                <a:gd name="T55" fmla="*/ 0 h 108"/>
                <a:gd name="T56" fmla="*/ 136 w 297"/>
                <a:gd name="T57" fmla="*/ 0 h 108"/>
                <a:gd name="T58" fmla="*/ 122 w 297"/>
                <a:gd name="T59" fmla="*/ 1 h 108"/>
                <a:gd name="T60" fmla="*/ 109 w 297"/>
                <a:gd name="T61" fmla="*/ 2 h 108"/>
                <a:gd name="T62" fmla="*/ 97 w 297"/>
                <a:gd name="T63" fmla="*/ 4 h 108"/>
                <a:gd name="T64" fmla="*/ 85 w 297"/>
                <a:gd name="T65" fmla="*/ 5 h 108"/>
                <a:gd name="T66" fmla="*/ 74 w 297"/>
                <a:gd name="T67" fmla="*/ 8 h 108"/>
                <a:gd name="T68" fmla="*/ 54 w 297"/>
                <a:gd name="T69" fmla="*/ 13 h 108"/>
                <a:gd name="T70" fmla="*/ 45 w 297"/>
                <a:gd name="T71" fmla="*/ 16 h 108"/>
                <a:gd name="T72" fmla="*/ 22 w 297"/>
                <a:gd name="T73" fmla="*/ 27 h 108"/>
                <a:gd name="T74" fmla="*/ 4 w 297"/>
                <a:gd name="T75" fmla="*/ 43 h 108"/>
                <a:gd name="T76" fmla="*/ 0 w 297"/>
                <a:gd name="T77" fmla="*/ 54 h 108"/>
                <a:gd name="T78" fmla="*/ 22 w 297"/>
                <a:gd name="T7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108">
                  <a:moveTo>
                    <a:pt x="22" y="81"/>
                  </a:move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4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5"/>
                    <a:pt x="109" y="105"/>
                  </a:cubicBezTo>
                  <a:cubicBezTo>
                    <a:pt x="112" y="106"/>
                    <a:pt x="116" y="106"/>
                    <a:pt x="120" y="106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7" y="107"/>
                    <a:pt x="171" y="107"/>
                    <a:pt x="174" y="107"/>
                  </a:cubicBezTo>
                  <a:cubicBezTo>
                    <a:pt x="175" y="107"/>
                    <a:pt x="176" y="107"/>
                    <a:pt x="177" y="106"/>
                  </a:cubicBezTo>
                  <a:cubicBezTo>
                    <a:pt x="180" y="106"/>
                    <a:pt x="184" y="106"/>
                    <a:pt x="188" y="105"/>
                  </a:cubicBezTo>
                  <a:cubicBezTo>
                    <a:pt x="188" y="105"/>
                    <a:pt x="189" y="105"/>
                    <a:pt x="189" y="105"/>
                  </a:cubicBezTo>
                  <a:cubicBezTo>
                    <a:pt x="193" y="105"/>
                    <a:pt x="196" y="105"/>
                    <a:pt x="200" y="104"/>
                  </a:cubicBezTo>
                  <a:cubicBezTo>
                    <a:pt x="200" y="104"/>
                    <a:pt x="200" y="104"/>
                    <a:pt x="201" y="104"/>
                  </a:cubicBezTo>
                  <a:cubicBezTo>
                    <a:pt x="204" y="103"/>
                    <a:pt x="208" y="103"/>
                    <a:pt x="211" y="102"/>
                  </a:cubicBezTo>
                  <a:cubicBezTo>
                    <a:pt x="212" y="102"/>
                    <a:pt x="212" y="102"/>
                    <a:pt x="213" y="102"/>
                  </a:cubicBezTo>
                  <a:cubicBezTo>
                    <a:pt x="216" y="101"/>
                    <a:pt x="220" y="101"/>
                    <a:pt x="223" y="100"/>
                  </a:cubicBezTo>
                  <a:cubicBezTo>
                    <a:pt x="223" y="100"/>
                    <a:pt x="224" y="100"/>
                    <a:pt x="224" y="100"/>
                  </a:cubicBezTo>
                  <a:cubicBezTo>
                    <a:pt x="231" y="98"/>
                    <a:pt x="237" y="96"/>
                    <a:pt x="243" y="95"/>
                  </a:cubicBezTo>
                  <a:cubicBezTo>
                    <a:pt x="243" y="94"/>
                    <a:pt x="243" y="94"/>
                    <a:pt x="244" y="94"/>
                  </a:cubicBezTo>
                  <a:cubicBezTo>
                    <a:pt x="247" y="93"/>
                    <a:pt x="249" y="92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61" y="88"/>
                    <a:pt x="269" y="85"/>
                    <a:pt x="275" y="81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89" y="72"/>
                    <a:pt x="297" y="63"/>
                    <a:pt x="297" y="54"/>
                  </a:cubicBezTo>
                  <a:cubicBezTo>
                    <a:pt x="297" y="45"/>
                    <a:pt x="289" y="35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23"/>
                    <a:pt x="261" y="20"/>
                    <a:pt x="253" y="16"/>
                  </a:cubicBezTo>
                  <a:cubicBezTo>
                    <a:pt x="253" y="16"/>
                    <a:pt x="252" y="16"/>
                    <a:pt x="252" y="16"/>
                  </a:cubicBezTo>
                  <a:cubicBezTo>
                    <a:pt x="249" y="15"/>
                    <a:pt x="247" y="14"/>
                    <a:pt x="244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37" y="11"/>
                    <a:pt x="231" y="9"/>
                    <a:pt x="224" y="8"/>
                  </a:cubicBezTo>
                  <a:cubicBezTo>
                    <a:pt x="224" y="8"/>
                    <a:pt x="223" y="8"/>
                    <a:pt x="223" y="8"/>
                  </a:cubicBezTo>
                  <a:cubicBezTo>
                    <a:pt x="220" y="7"/>
                    <a:pt x="216" y="6"/>
                    <a:pt x="213" y="6"/>
                  </a:cubicBezTo>
                  <a:cubicBezTo>
                    <a:pt x="212" y="6"/>
                    <a:pt x="212" y="5"/>
                    <a:pt x="211" y="5"/>
                  </a:cubicBezTo>
                  <a:cubicBezTo>
                    <a:pt x="208" y="5"/>
                    <a:pt x="204" y="4"/>
                    <a:pt x="201" y="4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6" y="3"/>
                    <a:pt x="193" y="3"/>
                    <a:pt x="189" y="2"/>
                  </a:cubicBezTo>
                  <a:cubicBezTo>
                    <a:pt x="189" y="2"/>
                    <a:pt x="188" y="2"/>
                    <a:pt x="188" y="2"/>
                  </a:cubicBezTo>
                  <a:cubicBezTo>
                    <a:pt x="184" y="2"/>
                    <a:pt x="180" y="1"/>
                    <a:pt x="177" y="1"/>
                  </a:cubicBezTo>
                  <a:cubicBezTo>
                    <a:pt x="176" y="1"/>
                    <a:pt x="175" y="1"/>
                    <a:pt x="174" y="1"/>
                  </a:cubicBezTo>
                  <a:cubicBezTo>
                    <a:pt x="171" y="1"/>
                    <a:pt x="167" y="0"/>
                    <a:pt x="163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7" y="0"/>
                    <a:pt x="153" y="0"/>
                    <a:pt x="148" y="0"/>
                  </a:cubicBezTo>
                  <a:cubicBezTo>
                    <a:pt x="144" y="0"/>
                    <a:pt x="140" y="0"/>
                    <a:pt x="136" y="0"/>
                  </a:cubicBezTo>
                  <a:cubicBezTo>
                    <a:pt x="135" y="0"/>
                    <a:pt x="134" y="0"/>
                    <a:pt x="134" y="0"/>
                  </a:cubicBezTo>
                  <a:cubicBezTo>
                    <a:pt x="130" y="0"/>
                    <a:pt x="126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cubicBezTo>
                    <a:pt x="116" y="1"/>
                    <a:pt x="112" y="2"/>
                    <a:pt x="109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4" y="3"/>
                    <a:pt x="100" y="3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2" y="4"/>
                    <a:pt x="89" y="5"/>
                    <a:pt x="85" y="5"/>
                  </a:cubicBezTo>
                  <a:cubicBezTo>
                    <a:pt x="85" y="5"/>
                    <a:pt x="84" y="6"/>
                    <a:pt x="84" y="6"/>
                  </a:cubicBezTo>
                  <a:cubicBezTo>
                    <a:pt x="80" y="6"/>
                    <a:pt x="77" y="7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6" y="9"/>
                    <a:pt x="60" y="11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0" y="14"/>
                    <a:pt x="47" y="15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5" y="20"/>
                    <a:pt x="28" y="2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32"/>
                    <a:pt x="7" y="37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6"/>
                    <a:pt x="0" y="50"/>
                    <a:pt x="0" y="54"/>
                  </a:cubicBezTo>
                  <a:cubicBezTo>
                    <a:pt x="0" y="57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20">
              <a:extLst>
                <a:ext uri="{FF2B5EF4-FFF2-40B4-BE49-F238E27FC236}">
                  <a16:creationId xmlns:a16="http://schemas.microsoft.com/office/drawing/2014/main" id="{163E925F-D17A-4792-922A-A65FA851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877" y="3291343"/>
              <a:ext cx="90706" cy="90706"/>
            </a:xfrm>
            <a:custGeom>
              <a:avLst/>
              <a:gdLst>
                <a:gd name="T0" fmla="*/ 65 w 78"/>
                <a:gd name="T1" fmla="*/ 52 h 78"/>
                <a:gd name="T2" fmla="*/ 26 w 78"/>
                <a:gd name="T3" fmla="*/ 13 h 78"/>
                <a:gd name="T4" fmla="*/ 13 w 78"/>
                <a:gd name="T5" fmla="*/ 0 h 78"/>
                <a:gd name="T6" fmla="*/ 0 w 78"/>
                <a:gd name="T7" fmla="*/ 13 h 78"/>
                <a:gd name="T8" fmla="*/ 65 w 78"/>
                <a:gd name="T9" fmla="*/ 78 h 78"/>
                <a:gd name="T10" fmla="*/ 78 w 78"/>
                <a:gd name="T11" fmla="*/ 65 h 78"/>
                <a:gd name="T12" fmla="*/ 65 w 78"/>
                <a:gd name="T13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8">
                  <a:moveTo>
                    <a:pt x="65" y="52"/>
                  </a:moveTo>
                  <a:cubicBezTo>
                    <a:pt x="44" y="52"/>
                    <a:pt x="26" y="34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9"/>
                    <a:pt x="29" y="78"/>
                    <a:pt x="65" y="78"/>
                  </a:cubicBezTo>
                  <a:cubicBezTo>
                    <a:pt x="72" y="78"/>
                    <a:pt x="78" y="72"/>
                    <a:pt x="78" y="65"/>
                  </a:cubicBezTo>
                  <a:cubicBezTo>
                    <a:pt x="78" y="58"/>
                    <a:pt x="72" y="52"/>
                    <a:pt x="6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621">
              <a:extLst>
                <a:ext uri="{FF2B5EF4-FFF2-40B4-BE49-F238E27FC236}">
                  <a16:creationId xmlns:a16="http://schemas.microsoft.com/office/drawing/2014/main" id="{4CF9EE24-0E4F-47B8-9FDC-34D8FF119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547" y="3253994"/>
              <a:ext cx="32014" cy="2934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22">
              <a:extLst>
                <a:ext uri="{FF2B5EF4-FFF2-40B4-BE49-F238E27FC236}">
                  <a16:creationId xmlns:a16="http://schemas.microsoft.com/office/drawing/2014/main" id="{C6A6DC49-10A5-45D6-8E0C-0BFE0F757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448" y="3091257"/>
              <a:ext cx="533564" cy="436189"/>
            </a:xfrm>
            <a:custGeom>
              <a:avLst/>
              <a:gdLst>
                <a:gd name="T0" fmla="*/ 384 w 460"/>
                <a:gd name="T1" fmla="*/ 180 h 378"/>
                <a:gd name="T2" fmla="*/ 297 w 460"/>
                <a:gd name="T3" fmla="*/ 0 h 378"/>
                <a:gd name="T4" fmla="*/ 244 w 460"/>
                <a:gd name="T5" fmla="*/ 41 h 378"/>
                <a:gd name="T6" fmla="*/ 211 w 460"/>
                <a:gd name="T7" fmla="*/ 49 h 378"/>
                <a:gd name="T8" fmla="*/ 177 w 460"/>
                <a:gd name="T9" fmla="*/ 53 h 378"/>
                <a:gd name="T10" fmla="*/ 136 w 460"/>
                <a:gd name="T11" fmla="*/ 54 h 378"/>
                <a:gd name="T12" fmla="*/ 107 w 460"/>
                <a:gd name="T13" fmla="*/ 52 h 378"/>
                <a:gd name="T14" fmla="*/ 74 w 460"/>
                <a:gd name="T15" fmla="*/ 46 h 378"/>
                <a:gd name="T16" fmla="*/ 44 w 460"/>
                <a:gd name="T17" fmla="*/ 37 h 378"/>
                <a:gd name="T18" fmla="*/ 0 w 460"/>
                <a:gd name="T19" fmla="*/ 54 h 378"/>
                <a:gd name="T20" fmla="*/ 44 w 460"/>
                <a:gd name="T21" fmla="*/ 91 h 378"/>
                <a:gd name="T22" fmla="*/ 74 w 460"/>
                <a:gd name="T23" fmla="*/ 100 h 378"/>
                <a:gd name="T24" fmla="*/ 107 w 460"/>
                <a:gd name="T25" fmla="*/ 105 h 378"/>
                <a:gd name="T26" fmla="*/ 136 w 460"/>
                <a:gd name="T27" fmla="*/ 107 h 378"/>
                <a:gd name="T28" fmla="*/ 166 w 460"/>
                <a:gd name="T29" fmla="*/ 107 h 378"/>
                <a:gd name="T30" fmla="*/ 134 w 460"/>
                <a:gd name="T31" fmla="*/ 136 h 378"/>
                <a:gd name="T32" fmla="*/ 97 w 460"/>
                <a:gd name="T33" fmla="*/ 132 h 378"/>
                <a:gd name="T34" fmla="*/ 73 w 460"/>
                <a:gd name="T35" fmla="*/ 128 h 378"/>
                <a:gd name="T36" fmla="*/ 22 w 460"/>
                <a:gd name="T37" fmla="*/ 109 h 378"/>
                <a:gd name="T38" fmla="*/ 0 w 460"/>
                <a:gd name="T39" fmla="*/ 136 h 378"/>
                <a:gd name="T40" fmla="*/ 45 w 460"/>
                <a:gd name="T41" fmla="*/ 174 h 378"/>
                <a:gd name="T42" fmla="*/ 84 w 460"/>
                <a:gd name="T43" fmla="*/ 184 h 378"/>
                <a:gd name="T44" fmla="*/ 109 w 460"/>
                <a:gd name="T45" fmla="*/ 188 h 378"/>
                <a:gd name="T46" fmla="*/ 142 w 460"/>
                <a:gd name="T47" fmla="*/ 190 h 378"/>
                <a:gd name="T48" fmla="*/ 120 w 460"/>
                <a:gd name="T49" fmla="*/ 217 h 378"/>
                <a:gd name="T50" fmla="*/ 85 w 460"/>
                <a:gd name="T51" fmla="*/ 213 h 378"/>
                <a:gd name="T52" fmla="*/ 53 w 460"/>
                <a:gd name="T53" fmla="*/ 205 h 378"/>
                <a:gd name="T54" fmla="*/ 3 w 460"/>
                <a:gd name="T55" fmla="*/ 175 h 378"/>
                <a:gd name="T56" fmla="*/ 22 w 460"/>
                <a:gd name="T57" fmla="*/ 245 h 378"/>
                <a:gd name="T58" fmla="*/ 54 w 460"/>
                <a:gd name="T59" fmla="*/ 259 h 378"/>
                <a:gd name="T60" fmla="*/ 96 w 460"/>
                <a:gd name="T61" fmla="*/ 268 h 378"/>
                <a:gd name="T62" fmla="*/ 122 w 460"/>
                <a:gd name="T63" fmla="*/ 271 h 378"/>
                <a:gd name="T64" fmla="*/ 163 w 460"/>
                <a:gd name="T65" fmla="*/ 271 h 378"/>
                <a:gd name="T66" fmla="*/ 213 w 460"/>
                <a:gd name="T67" fmla="*/ 294 h 378"/>
                <a:gd name="T68" fmla="*/ 188 w 460"/>
                <a:gd name="T69" fmla="*/ 298 h 378"/>
                <a:gd name="T70" fmla="*/ 148 w 460"/>
                <a:gd name="T71" fmla="*/ 300 h 378"/>
                <a:gd name="T72" fmla="*/ 109 w 460"/>
                <a:gd name="T73" fmla="*/ 298 h 378"/>
                <a:gd name="T74" fmla="*/ 84 w 460"/>
                <a:gd name="T75" fmla="*/ 294 h 378"/>
                <a:gd name="T76" fmla="*/ 45 w 460"/>
                <a:gd name="T77" fmla="*/ 284 h 378"/>
                <a:gd name="T78" fmla="*/ 0 w 460"/>
                <a:gd name="T79" fmla="*/ 246 h 378"/>
                <a:gd name="T80" fmla="*/ 22 w 460"/>
                <a:gd name="T81" fmla="*/ 327 h 378"/>
                <a:gd name="T82" fmla="*/ 73 w 460"/>
                <a:gd name="T83" fmla="*/ 346 h 378"/>
                <a:gd name="T84" fmla="*/ 97 w 460"/>
                <a:gd name="T85" fmla="*/ 350 h 378"/>
                <a:gd name="T86" fmla="*/ 134 w 460"/>
                <a:gd name="T87" fmla="*/ 353 h 378"/>
                <a:gd name="T88" fmla="*/ 174 w 460"/>
                <a:gd name="T89" fmla="*/ 353 h 378"/>
                <a:gd name="T90" fmla="*/ 201 w 460"/>
                <a:gd name="T91" fmla="*/ 350 h 378"/>
                <a:gd name="T92" fmla="*/ 243 w 460"/>
                <a:gd name="T93" fmla="*/ 341 h 378"/>
                <a:gd name="T94" fmla="*/ 275 w 460"/>
                <a:gd name="T95" fmla="*/ 327 h 378"/>
                <a:gd name="T96" fmla="*/ 349 w 460"/>
                <a:gd name="T97" fmla="*/ 291 h 378"/>
                <a:gd name="T98" fmla="*/ 454 w 460"/>
                <a:gd name="T99" fmla="*/ 347 h 378"/>
                <a:gd name="T100" fmla="*/ 358 w 460"/>
                <a:gd name="T101" fmla="*/ 18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0" h="378">
                  <a:moveTo>
                    <a:pt x="460" y="341"/>
                  </a:moveTo>
                  <a:cubicBezTo>
                    <a:pt x="380" y="260"/>
                    <a:pt x="380" y="260"/>
                    <a:pt x="380" y="260"/>
                  </a:cubicBezTo>
                  <a:cubicBezTo>
                    <a:pt x="374" y="267"/>
                    <a:pt x="374" y="267"/>
                    <a:pt x="374" y="267"/>
                  </a:cubicBezTo>
                  <a:cubicBezTo>
                    <a:pt x="360" y="253"/>
                    <a:pt x="360" y="253"/>
                    <a:pt x="360" y="253"/>
                  </a:cubicBezTo>
                  <a:cubicBezTo>
                    <a:pt x="375" y="233"/>
                    <a:pt x="384" y="207"/>
                    <a:pt x="384" y="180"/>
                  </a:cubicBezTo>
                  <a:cubicBezTo>
                    <a:pt x="384" y="124"/>
                    <a:pt x="346" y="77"/>
                    <a:pt x="294" y="63"/>
                  </a:cubicBezTo>
                  <a:cubicBezTo>
                    <a:pt x="294" y="63"/>
                    <a:pt x="294" y="63"/>
                    <a:pt x="294" y="63"/>
                  </a:cubicBezTo>
                  <a:cubicBezTo>
                    <a:pt x="296" y="60"/>
                    <a:pt x="297" y="57"/>
                    <a:pt x="297" y="54"/>
                  </a:cubicBezTo>
                  <a:cubicBezTo>
                    <a:pt x="297" y="54"/>
                    <a:pt x="297" y="54"/>
                    <a:pt x="297" y="54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9"/>
                    <a:pt x="289" y="19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31"/>
                    <a:pt x="261" y="34"/>
                    <a:pt x="253" y="37"/>
                  </a:cubicBezTo>
                  <a:cubicBezTo>
                    <a:pt x="253" y="38"/>
                    <a:pt x="252" y="38"/>
                    <a:pt x="252" y="38"/>
                  </a:cubicBezTo>
                  <a:cubicBezTo>
                    <a:pt x="249" y="39"/>
                    <a:pt x="247" y="40"/>
                    <a:pt x="244" y="4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37" y="43"/>
                    <a:pt x="231" y="44"/>
                    <a:pt x="224" y="46"/>
                  </a:cubicBezTo>
                  <a:cubicBezTo>
                    <a:pt x="224" y="46"/>
                    <a:pt x="223" y="46"/>
                    <a:pt x="223" y="46"/>
                  </a:cubicBezTo>
                  <a:cubicBezTo>
                    <a:pt x="220" y="47"/>
                    <a:pt x="216" y="48"/>
                    <a:pt x="213" y="48"/>
                  </a:cubicBezTo>
                  <a:cubicBezTo>
                    <a:pt x="212" y="48"/>
                    <a:pt x="212" y="48"/>
                    <a:pt x="211" y="49"/>
                  </a:cubicBezTo>
                  <a:cubicBezTo>
                    <a:pt x="208" y="49"/>
                    <a:pt x="204" y="50"/>
                    <a:pt x="201" y="50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6" y="51"/>
                    <a:pt x="193" y="51"/>
                    <a:pt x="189" y="52"/>
                  </a:cubicBezTo>
                  <a:cubicBezTo>
                    <a:pt x="189" y="52"/>
                    <a:pt x="188" y="52"/>
                    <a:pt x="188" y="52"/>
                  </a:cubicBezTo>
                  <a:cubicBezTo>
                    <a:pt x="184" y="52"/>
                    <a:pt x="180" y="53"/>
                    <a:pt x="177" y="53"/>
                  </a:cubicBezTo>
                  <a:cubicBezTo>
                    <a:pt x="176" y="53"/>
                    <a:pt x="175" y="53"/>
                    <a:pt x="174" y="53"/>
                  </a:cubicBezTo>
                  <a:cubicBezTo>
                    <a:pt x="171" y="53"/>
                    <a:pt x="167" y="53"/>
                    <a:pt x="163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57" y="54"/>
                    <a:pt x="153" y="54"/>
                    <a:pt x="148" y="54"/>
                  </a:cubicBezTo>
                  <a:cubicBezTo>
                    <a:pt x="144" y="54"/>
                    <a:pt x="140" y="54"/>
                    <a:pt x="136" y="54"/>
                  </a:cubicBezTo>
                  <a:cubicBezTo>
                    <a:pt x="135" y="54"/>
                    <a:pt x="134" y="54"/>
                    <a:pt x="134" y="54"/>
                  </a:cubicBezTo>
                  <a:cubicBezTo>
                    <a:pt x="130" y="53"/>
                    <a:pt x="126" y="53"/>
                    <a:pt x="122" y="53"/>
                  </a:cubicBezTo>
                  <a:cubicBezTo>
                    <a:pt x="121" y="53"/>
                    <a:pt x="121" y="53"/>
                    <a:pt x="120" y="53"/>
                  </a:cubicBezTo>
                  <a:cubicBezTo>
                    <a:pt x="116" y="53"/>
                    <a:pt x="112" y="52"/>
                    <a:pt x="109" y="52"/>
                  </a:cubicBezTo>
                  <a:cubicBezTo>
                    <a:pt x="108" y="52"/>
                    <a:pt x="108" y="52"/>
                    <a:pt x="107" y="52"/>
                  </a:cubicBezTo>
                  <a:cubicBezTo>
                    <a:pt x="104" y="51"/>
                    <a:pt x="100" y="51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2" y="50"/>
                    <a:pt x="89" y="49"/>
                    <a:pt x="85" y="49"/>
                  </a:cubicBezTo>
                  <a:cubicBezTo>
                    <a:pt x="85" y="48"/>
                    <a:pt x="84" y="48"/>
                    <a:pt x="84" y="48"/>
                  </a:cubicBezTo>
                  <a:cubicBezTo>
                    <a:pt x="80" y="48"/>
                    <a:pt x="77" y="47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6" y="44"/>
                    <a:pt x="60" y="43"/>
                    <a:pt x="5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0" y="40"/>
                    <a:pt x="47" y="39"/>
                    <a:pt x="45" y="38"/>
                  </a:cubicBezTo>
                  <a:cubicBezTo>
                    <a:pt x="44" y="38"/>
                    <a:pt x="44" y="38"/>
                    <a:pt x="44" y="37"/>
                  </a:cubicBezTo>
                  <a:cubicBezTo>
                    <a:pt x="35" y="34"/>
                    <a:pt x="28" y="31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22"/>
                    <a:pt x="7" y="17"/>
                    <a:pt x="3" y="11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5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6"/>
                    <a:pt x="109" y="106"/>
                  </a:cubicBezTo>
                  <a:cubicBezTo>
                    <a:pt x="112" y="106"/>
                    <a:pt x="116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59" y="116"/>
                    <a:pt x="154" y="126"/>
                    <a:pt x="149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4" y="136"/>
                    <a:pt x="140" y="136"/>
                    <a:pt x="136" y="136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0" y="135"/>
                    <a:pt x="126" y="135"/>
                    <a:pt x="122" y="135"/>
                  </a:cubicBezTo>
                  <a:cubicBezTo>
                    <a:pt x="121" y="135"/>
                    <a:pt x="121" y="135"/>
                    <a:pt x="120" y="135"/>
                  </a:cubicBezTo>
                  <a:cubicBezTo>
                    <a:pt x="116" y="135"/>
                    <a:pt x="112" y="134"/>
                    <a:pt x="109" y="134"/>
                  </a:cubicBezTo>
                  <a:cubicBezTo>
                    <a:pt x="108" y="134"/>
                    <a:pt x="108" y="134"/>
                    <a:pt x="107" y="134"/>
                  </a:cubicBezTo>
                  <a:cubicBezTo>
                    <a:pt x="104" y="133"/>
                    <a:pt x="100" y="133"/>
                    <a:pt x="97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2" y="132"/>
                    <a:pt x="89" y="131"/>
                    <a:pt x="85" y="131"/>
                  </a:cubicBezTo>
                  <a:cubicBezTo>
                    <a:pt x="85" y="130"/>
                    <a:pt x="84" y="130"/>
                    <a:pt x="84" y="130"/>
                  </a:cubicBezTo>
                  <a:cubicBezTo>
                    <a:pt x="80" y="130"/>
                    <a:pt x="77" y="129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66" y="126"/>
                    <a:pt x="60" y="125"/>
                    <a:pt x="54" y="123"/>
                  </a:cubicBezTo>
                  <a:cubicBezTo>
                    <a:pt x="53" y="123"/>
                    <a:pt x="53" y="123"/>
                    <a:pt x="53" y="123"/>
                  </a:cubicBezTo>
                  <a:cubicBezTo>
                    <a:pt x="50" y="122"/>
                    <a:pt x="47" y="121"/>
                    <a:pt x="45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35" y="116"/>
                    <a:pt x="28" y="113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3" y="104"/>
                    <a:pt x="7" y="99"/>
                    <a:pt x="3" y="93"/>
                  </a:cubicBezTo>
                  <a:cubicBezTo>
                    <a:pt x="1" y="90"/>
                    <a:pt x="0" y="86"/>
                    <a:pt x="0" y="8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0"/>
                    <a:pt x="1" y="143"/>
                    <a:pt x="3" y="147"/>
                  </a:cubicBezTo>
                  <a:cubicBezTo>
                    <a:pt x="7" y="152"/>
                    <a:pt x="13" y="158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8" y="167"/>
                    <a:pt x="35" y="170"/>
                    <a:pt x="44" y="173"/>
                  </a:cubicBezTo>
                  <a:cubicBezTo>
                    <a:pt x="44" y="173"/>
                    <a:pt x="44" y="173"/>
                    <a:pt x="45" y="174"/>
                  </a:cubicBezTo>
                  <a:cubicBezTo>
                    <a:pt x="47" y="175"/>
                    <a:pt x="50" y="175"/>
                    <a:pt x="53" y="176"/>
                  </a:cubicBezTo>
                  <a:cubicBezTo>
                    <a:pt x="53" y="177"/>
                    <a:pt x="53" y="177"/>
                    <a:pt x="54" y="177"/>
                  </a:cubicBezTo>
                  <a:cubicBezTo>
                    <a:pt x="60" y="179"/>
                    <a:pt x="66" y="180"/>
                    <a:pt x="73" y="182"/>
                  </a:cubicBezTo>
                  <a:cubicBezTo>
                    <a:pt x="73" y="182"/>
                    <a:pt x="73" y="182"/>
                    <a:pt x="74" y="182"/>
                  </a:cubicBezTo>
                  <a:cubicBezTo>
                    <a:pt x="77" y="183"/>
                    <a:pt x="80" y="183"/>
                    <a:pt x="84" y="184"/>
                  </a:cubicBezTo>
                  <a:cubicBezTo>
                    <a:pt x="84" y="184"/>
                    <a:pt x="85" y="184"/>
                    <a:pt x="85" y="184"/>
                  </a:cubicBezTo>
                  <a:cubicBezTo>
                    <a:pt x="89" y="185"/>
                    <a:pt x="92" y="185"/>
                    <a:pt x="96" y="186"/>
                  </a:cubicBezTo>
                  <a:cubicBezTo>
                    <a:pt x="96" y="186"/>
                    <a:pt x="96" y="186"/>
                    <a:pt x="97" y="186"/>
                  </a:cubicBezTo>
                  <a:cubicBezTo>
                    <a:pt x="100" y="187"/>
                    <a:pt x="104" y="187"/>
                    <a:pt x="107" y="187"/>
                  </a:cubicBezTo>
                  <a:cubicBezTo>
                    <a:pt x="108" y="188"/>
                    <a:pt x="108" y="188"/>
                    <a:pt x="109" y="188"/>
                  </a:cubicBezTo>
                  <a:cubicBezTo>
                    <a:pt x="112" y="188"/>
                    <a:pt x="116" y="188"/>
                    <a:pt x="120" y="189"/>
                  </a:cubicBezTo>
                  <a:cubicBezTo>
                    <a:pt x="121" y="189"/>
                    <a:pt x="121" y="189"/>
                    <a:pt x="122" y="189"/>
                  </a:cubicBezTo>
                  <a:cubicBezTo>
                    <a:pt x="126" y="189"/>
                    <a:pt x="130" y="189"/>
                    <a:pt x="134" y="189"/>
                  </a:cubicBezTo>
                  <a:cubicBezTo>
                    <a:pt x="134" y="189"/>
                    <a:pt x="135" y="189"/>
                    <a:pt x="136" y="189"/>
                  </a:cubicBezTo>
                  <a:cubicBezTo>
                    <a:pt x="138" y="189"/>
                    <a:pt x="140" y="189"/>
                    <a:pt x="142" y="190"/>
                  </a:cubicBezTo>
                  <a:cubicBezTo>
                    <a:pt x="142" y="199"/>
                    <a:pt x="144" y="209"/>
                    <a:pt x="147" y="218"/>
                  </a:cubicBezTo>
                  <a:cubicBezTo>
                    <a:pt x="143" y="218"/>
                    <a:pt x="139" y="218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130" y="218"/>
                    <a:pt x="126" y="217"/>
                    <a:pt x="122" y="217"/>
                  </a:cubicBezTo>
                  <a:cubicBezTo>
                    <a:pt x="121" y="217"/>
                    <a:pt x="121" y="217"/>
                    <a:pt x="120" y="217"/>
                  </a:cubicBezTo>
                  <a:cubicBezTo>
                    <a:pt x="116" y="217"/>
                    <a:pt x="112" y="216"/>
                    <a:pt x="109" y="216"/>
                  </a:cubicBezTo>
                  <a:cubicBezTo>
                    <a:pt x="108" y="216"/>
                    <a:pt x="108" y="216"/>
                    <a:pt x="107" y="216"/>
                  </a:cubicBezTo>
                  <a:cubicBezTo>
                    <a:pt x="104" y="215"/>
                    <a:pt x="100" y="215"/>
                    <a:pt x="9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2" y="214"/>
                    <a:pt x="89" y="213"/>
                    <a:pt x="85" y="213"/>
                  </a:cubicBezTo>
                  <a:cubicBezTo>
                    <a:pt x="85" y="213"/>
                    <a:pt x="84" y="212"/>
                    <a:pt x="84" y="212"/>
                  </a:cubicBezTo>
                  <a:cubicBezTo>
                    <a:pt x="80" y="212"/>
                    <a:pt x="77" y="211"/>
                    <a:pt x="74" y="210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66" y="209"/>
                    <a:pt x="60" y="207"/>
                    <a:pt x="54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0" y="204"/>
                    <a:pt x="47" y="203"/>
                    <a:pt x="45" y="202"/>
                  </a:cubicBezTo>
                  <a:cubicBezTo>
                    <a:pt x="44" y="202"/>
                    <a:pt x="44" y="202"/>
                    <a:pt x="44" y="202"/>
                  </a:cubicBezTo>
                  <a:cubicBezTo>
                    <a:pt x="35" y="198"/>
                    <a:pt x="28" y="195"/>
                    <a:pt x="22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3" y="186"/>
                    <a:pt x="7" y="181"/>
                    <a:pt x="3" y="175"/>
                  </a:cubicBezTo>
                  <a:cubicBezTo>
                    <a:pt x="1" y="172"/>
                    <a:pt x="0" y="168"/>
                    <a:pt x="0" y="16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2"/>
                    <a:pt x="1" y="225"/>
                    <a:pt x="3" y="229"/>
                  </a:cubicBezTo>
                  <a:cubicBezTo>
                    <a:pt x="7" y="234"/>
                    <a:pt x="13" y="240"/>
                    <a:pt x="22" y="245"/>
                  </a:cubicBezTo>
                  <a:cubicBezTo>
                    <a:pt x="22" y="245"/>
                    <a:pt x="22" y="245"/>
                    <a:pt x="22" y="245"/>
                  </a:cubicBezTo>
                  <a:cubicBezTo>
                    <a:pt x="28" y="249"/>
                    <a:pt x="35" y="252"/>
                    <a:pt x="44" y="255"/>
                  </a:cubicBezTo>
                  <a:cubicBezTo>
                    <a:pt x="44" y="255"/>
                    <a:pt x="44" y="256"/>
                    <a:pt x="45" y="256"/>
                  </a:cubicBezTo>
                  <a:cubicBezTo>
                    <a:pt x="47" y="257"/>
                    <a:pt x="50" y="258"/>
                    <a:pt x="53" y="258"/>
                  </a:cubicBezTo>
                  <a:cubicBezTo>
                    <a:pt x="53" y="259"/>
                    <a:pt x="53" y="259"/>
                    <a:pt x="54" y="259"/>
                  </a:cubicBezTo>
                  <a:cubicBezTo>
                    <a:pt x="60" y="261"/>
                    <a:pt x="66" y="262"/>
                    <a:pt x="73" y="264"/>
                  </a:cubicBezTo>
                  <a:cubicBezTo>
                    <a:pt x="73" y="264"/>
                    <a:pt x="73" y="264"/>
                    <a:pt x="74" y="264"/>
                  </a:cubicBezTo>
                  <a:cubicBezTo>
                    <a:pt x="77" y="265"/>
                    <a:pt x="80" y="265"/>
                    <a:pt x="84" y="266"/>
                  </a:cubicBezTo>
                  <a:cubicBezTo>
                    <a:pt x="84" y="266"/>
                    <a:pt x="85" y="266"/>
                    <a:pt x="85" y="266"/>
                  </a:cubicBezTo>
                  <a:cubicBezTo>
                    <a:pt x="89" y="267"/>
                    <a:pt x="92" y="268"/>
                    <a:pt x="96" y="268"/>
                  </a:cubicBezTo>
                  <a:cubicBezTo>
                    <a:pt x="96" y="268"/>
                    <a:pt x="96" y="268"/>
                    <a:pt x="97" y="268"/>
                  </a:cubicBezTo>
                  <a:cubicBezTo>
                    <a:pt x="100" y="269"/>
                    <a:pt x="104" y="269"/>
                    <a:pt x="107" y="270"/>
                  </a:cubicBezTo>
                  <a:cubicBezTo>
                    <a:pt x="108" y="270"/>
                    <a:pt x="108" y="270"/>
                    <a:pt x="109" y="270"/>
                  </a:cubicBezTo>
                  <a:cubicBezTo>
                    <a:pt x="112" y="270"/>
                    <a:pt x="116" y="270"/>
                    <a:pt x="120" y="271"/>
                  </a:cubicBezTo>
                  <a:cubicBezTo>
                    <a:pt x="121" y="271"/>
                    <a:pt x="121" y="271"/>
                    <a:pt x="122" y="271"/>
                  </a:cubicBezTo>
                  <a:cubicBezTo>
                    <a:pt x="126" y="271"/>
                    <a:pt x="130" y="271"/>
                    <a:pt x="134" y="271"/>
                  </a:cubicBezTo>
                  <a:cubicBezTo>
                    <a:pt x="134" y="271"/>
                    <a:pt x="135" y="271"/>
                    <a:pt x="136" y="271"/>
                  </a:cubicBezTo>
                  <a:cubicBezTo>
                    <a:pt x="140" y="272"/>
                    <a:pt x="144" y="272"/>
                    <a:pt x="148" y="272"/>
                  </a:cubicBezTo>
                  <a:cubicBezTo>
                    <a:pt x="153" y="272"/>
                    <a:pt x="157" y="272"/>
                    <a:pt x="161" y="271"/>
                  </a:cubicBezTo>
                  <a:cubicBezTo>
                    <a:pt x="161" y="271"/>
                    <a:pt x="162" y="271"/>
                    <a:pt x="163" y="271"/>
                  </a:cubicBezTo>
                  <a:cubicBezTo>
                    <a:pt x="167" y="271"/>
                    <a:pt x="171" y="271"/>
                    <a:pt x="174" y="271"/>
                  </a:cubicBezTo>
                  <a:cubicBezTo>
                    <a:pt x="175" y="271"/>
                    <a:pt x="176" y="271"/>
                    <a:pt x="177" y="271"/>
                  </a:cubicBezTo>
                  <a:cubicBezTo>
                    <a:pt x="178" y="271"/>
                    <a:pt x="180" y="270"/>
                    <a:pt x="181" y="270"/>
                  </a:cubicBezTo>
                  <a:cubicBezTo>
                    <a:pt x="192" y="280"/>
                    <a:pt x="204" y="288"/>
                    <a:pt x="218" y="293"/>
                  </a:cubicBezTo>
                  <a:cubicBezTo>
                    <a:pt x="216" y="294"/>
                    <a:pt x="215" y="294"/>
                    <a:pt x="213" y="294"/>
                  </a:cubicBezTo>
                  <a:cubicBezTo>
                    <a:pt x="212" y="294"/>
                    <a:pt x="212" y="295"/>
                    <a:pt x="211" y="295"/>
                  </a:cubicBezTo>
                  <a:cubicBezTo>
                    <a:pt x="208" y="295"/>
                    <a:pt x="204" y="296"/>
                    <a:pt x="201" y="296"/>
                  </a:cubicBezTo>
                  <a:cubicBezTo>
                    <a:pt x="200" y="296"/>
                    <a:pt x="200" y="296"/>
                    <a:pt x="200" y="297"/>
                  </a:cubicBezTo>
                  <a:cubicBezTo>
                    <a:pt x="196" y="297"/>
                    <a:pt x="193" y="297"/>
                    <a:pt x="189" y="298"/>
                  </a:cubicBezTo>
                  <a:cubicBezTo>
                    <a:pt x="189" y="298"/>
                    <a:pt x="188" y="298"/>
                    <a:pt x="188" y="298"/>
                  </a:cubicBezTo>
                  <a:cubicBezTo>
                    <a:pt x="184" y="298"/>
                    <a:pt x="180" y="299"/>
                    <a:pt x="177" y="299"/>
                  </a:cubicBezTo>
                  <a:cubicBezTo>
                    <a:pt x="176" y="299"/>
                    <a:pt x="175" y="299"/>
                    <a:pt x="174" y="299"/>
                  </a:cubicBezTo>
                  <a:cubicBezTo>
                    <a:pt x="171" y="299"/>
                    <a:pt x="167" y="300"/>
                    <a:pt x="163" y="300"/>
                  </a:cubicBezTo>
                  <a:cubicBezTo>
                    <a:pt x="162" y="300"/>
                    <a:pt x="161" y="300"/>
                    <a:pt x="161" y="300"/>
                  </a:cubicBezTo>
                  <a:cubicBezTo>
                    <a:pt x="157" y="300"/>
                    <a:pt x="153" y="300"/>
                    <a:pt x="148" y="300"/>
                  </a:cubicBezTo>
                  <a:cubicBezTo>
                    <a:pt x="144" y="300"/>
                    <a:pt x="140" y="300"/>
                    <a:pt x="136" y="300"/>
                  </a:cubicBezTo>
                  <a:cubicBezTo>
                    <a:pt x="135" y="300"/>
                    <a:pt x="134" y="300"/>
                    <a:pt x="134" y="300"/>
                  </a:cubicBezTo>
                  <a:cubicBezTo>
                    <a:pt x="130" y="300"/>
                    <a:pt x="126" y="299"/>
                    <a:pt x="122" y="299"/>
                  </a:cubicBezTo>
                  <a:cubicBezTo>
                    <a:pt x="121" y="299"/>
                    <a:pt x="121" y="299"/>
                    <a:pt x="120" y="299"/>
                  </a:cubicBezTo>
                  <a:cubicBezTo>
                    <a:pt x="116" y="299"/>
                    <a:pt x="112" y="298"/>
                    <a:pt x="109" y="298"/>
                  </a:cubicBezTo>
                  <a:cubicBezTo>
                    <a:pt x="108" y="298"/>
                    <a:pt x="108" y="298"/>
                    <a:pt x="107" y="298"/>
                  </a:cubicBezTo>
                  <a:cubicBezTo>
                    <a:pt x="104" y="297"/>
                    <a:pt x="100" y="297"/>
                    <a:pt x="97" y="297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2" y="296"/>
                    <a:pt x="89" y="295"/>
                    <a:pt x="85" y="295"/>
                  </a:cubicBezTo>
                  <a:cubicBezTo>
                    <a:pt x="85" y="295"/>
                    <a:pt x="84" y="294"/>
                    <a:pt x="84" y="294"/>
                  </a:cubicBezTo>
                  <a:cubicBezTo>
                    <a:pt x="80" y="294"/>
                    <a:pt x="77" y="293"/>
                    <a:pt x="74" y="292"/>
                  </a:cubicBezTo>
                  <a:cubicBezTo>
                    <a:pt x="73" y="292"/>
                    <a:pt x="73" y="292"/>
                    <a:pt x="73" y="292"/>
                  </a:cubicBezTo>
                  <a:cubicBezTo>
                    <a:pt x="66" y="291"/>
                    <a:pt x="60" y="289"/>
                    <a:pt x="54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0" y="286"/>
                    <a:pt x="47" y="285"/>
                    <a:pt x="45" y="284"/>
                  </a:cubicBezTo>
                  <a:cubicBezTo>
                    <a:pt x="44" y="284"/>
                    <a:pt x="44" y="284"/>
                    <a:pt x="44" y="284"/>
                  </a:cubicBezTo>
                  <a:cubicBezTo>
                    <a:pt x="35" y="280"/>
                    <a:pt x="28" y="277"/>
                    <a:pt x="22" y="273"/>
                  </a:cubicBezTo>
                  <a:cubicBezTo>
                    <a:pt x="22" y="273"/>
                    <a:pt x="22" y="273"/>
                    <a:pt x="22" y="273"/>
                  </a:cubicBezTo>
                  <a:cubicBezTo>
                    <a:pt x="13" y="268"/>
                    <a:pt x="7" y="263"/>
                    <a:pt x="3" y="257"/>
                  </a:cubicBezTo>
                  <a:cubicBezTo>
                    <a:pt x="1" y="254"/>
                    <a:pt x="0" y="250"/>
                    <a:pt x="0" y="246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4"/>
                    <a:pt x="1" y="307"/>
                    <a:pt x="3" y="311"/>
                  </a:cubicBezTo>
                  <a:cubicBezTo>
                    <a:pt x="7" y="317"/>
                    <a:pt x="13" y="322"/>
                    <a:pt x="22" y="327"/>
                  </a:cubicBezTo>
                  <a:cubicBezTo>
                    <a:pt x="22" y="327"/>
                    <a:pt x="22" y="327"/>
                    <a:pt x="22" y="327"/>
                  </a:cubicBezTo>
                  <a:cubicBezTo>
                    <a:pt x="28" y="331"/>
                    <a:pt x="35" y="334"/>
                    <a:pt x="44" y="337"/>
                  </a:cubicBezTo>
                  <a:cubicBezTo>
                    <a:pt x="44" y="337"/>
                    <a:pt x="44" y="338"/>
                    <a:pt x="45" y="338"/>
                  </a:cubicBezTo>
                  <a:cubicBezTo>
                    <a:pt x="47" y="339"/>
                    <a:pt x="50" y="340"/>
                    <a:pt x="53" y="341"/>
                  </a:cubicBezTo>
                  <a:cubicBezTo>
                    <a:pt x="53" y="341"/>
                    <a:pt x="53" y="341"/>
                    <a:pt x="54" y="341"/>
                  </a:cubicBezTo>
                  <a:cubicBezTo>
                    <a:pt x="60" y="343"/>
                    <a:pt x="66" y="344"/>
                    <a:pt x="73" y="346"/>
                  </a:cubicBezTo>
                  <a:cubicBezTo>
                    <a:pt x="73" y="346"/>
                    <a:pt x="73" y="346"/>
                    <a:pt x="74" y="346"/>
                  </a:cubicBezTo>
                  <a:cubicBezTo>
                    <a:pt x="77" y="347"/>
                    <a:pt x="80" y="347"/>
                    <a:pt x="84" y="348"/>
                  </a:cubicBezTo>
                  <a:cubicBezTo>
                    <a:pt x="84" y="348"/>
                    <a:pt x="85" y="348"/>
                    <a:pt x="85" y="348"/>
                  </a:cubicBezTo>
                  <a:cubicBezTo>
                    <a:pt x="89" y="349"/>
                    <a:pt x="92" y="350"/>
                    <a:pt x="96" y="350"/>
                  </a:cubicBezTo>
                  <a:cubicBezTo>
                    <a:pt x="96" y="350"/>
                    <a:pt x="96" y="350"/>
                    <a:pt x="97" y="350"/>
                  </a:cubicBezTo>
                  <a:cubicBezTo>
                    <a:pt x="100" y="351"/>
                    <a:pt x="104" y="351"/>
                    <a:pt x="107" y="352"/>
                  </a:cubicBezTo>
                  <a:cubicBezTo>
                    <a:pt x="108" y="352"/>
                    <a:pt x="108" y="352"/>
                    <a:pt x="109" y="352"/>
                  </a:cubicBezTo>
                  <a:cubicBezTo>
                    <a:pt x="112" y="352"/>
                    <a:pt x="116" y="352"/>
                    <a:pt x="120" y="353"/>
                  </a:cubicBezTo>
                  <a:cubicBezTo>
                    <a:pt x="121" y="353"/>
                    <a:pt x="121" y="353"/>
                    <a:pt x="122" y="353"/>
                  </a:cubicBezTo>
                  <a:cubicBezTo>
                    <a:pt x="126" y="353"/>
                    <a:pt x="130" y="353"/>
                    <a:pt x="134" y="353"/>
                  </a:cubicBezTo>
                  <a:cubicBezTo>
                    <a:pt x="134" y="354"/>
                    <a:pt x="135" y="354"/>
                    <a:pt x="136" y="354"/>
                  </a:cubicBezTo>
                  <a:cubicBezTo>
                    <a:pt x="140" y="354"/>
                    <a:pt x="144" y="354"/>
                    <a:pt x="148" y="354"/>
                  </a:cubicBezTo>
                  <a:cubicBezTo>
                    <a:pt x="153" y="354"/>
                    <a:pt x="157" y="354"/>
                    <a:pt x="161" y="354"/>
                  </a:cubicBezTo>
                  <a:cubicBezTo>
                    <a:pt x="161" y="354"/>
                    <a:pt x="162" y="354"/>
                    <a:pt x="163" y="353"/>
                  </a:cubicBezTo>
                  <a:cubicBezTo>
                    <a:pt x="167" y="353"/>
                    <a:pt x="171" y="353"/>
                    <a:pt x="174" y="353"/>
                  </a:cubicBezTo>
                  <a:cubicBezTo>
                    <a:pt x="175" y="353"/>
                    <a:pt x="176" y="353"/>
                    <a:pt x="177" y="353"/>
                  </a:cubicBezTo>
                  <a:cubicBezTo>
                    <a:pt x="180" y="352"/>
                    <a:pt x="184" y="352"/>
                    <a:pt x="188" y="352"/>
                  </a:cubicBezTo>
                  <a:cubicBezTo>
                    <a:pt x="188" y="352"/>
                    <a:pt x="189" y="352"/>
                    <a:pt x="189" y="352"/>
                  </a:cubicBezTo>
                  <a:cubicBezTo>
                    <a:pt x="193" y="351"/>
                    <a:pt x="196" y="351"/>
                    <a:pt x="200" y="350"/>
                  </a:cubicBezTo>
                  <a:cubicBezTo>
                    <a:pt x="200" y="350"/>
                    <a:pt x="200" y="350"/>
                    <a:pt x="201" y="350"/>
                  </a:cubicBezTo>
                  <a:cubicBezTo>
                    <a:pt x="204" y="350"/>
                    <a:pt x="208" y="349"/>
                    <a:pt x="211" y="348"/>
                  </a:cubicBezTo>
                  <a:cubicBezTo>
                    <a:pt x="212" y="348"/>
                    <a:pt x="212" y="348"/>
                    <a:pt x="213" y="348"/>
                  </a:cubicBezTo>
                  <a:cubicBezTo>
                    <a:pt x="216" y="347"/>
                    <a:pt x="220" y="347"/>
                    <a:pt x="223" y="346"/>
                  </a:cubicBezTo>
                  <a:cubicBezTo>
                    <a:pt x="223" y="346"/>
                    <a:pt x="224" y="346"/>
                    <a:pt x="224" y="346"/>
                  </a:cubicBezTo>
                  <a:cubicBezTo>
                    <a:pt x="231" y="344"/>
                    <a:pt x="237" y="343"/>
                    <a:pt x="243" y="341"/>
                  </a:cubicBezTo>
                  <a:cubicBezTo>
                    <a:pt x="243" y="341"/>
                    <a:pt x="243" y="341"/>
                    <a:pt x="244" y="341"/>
                  </a:cubicBezTo>
                  <a:cubicBezTo>
                    <a:pt x="247" y="340"/>
                    <a:pt x="249" y="339"/>
                    <a:pt x="252" y="338"/>
                  </a:cubicBezTo>
                  <a:cubicBezTo>
                    <a:pt x="252" y="338"/>
                    <a:pt x="253" y="337"/>
                    <a:pt x="253" y="337"/>
                  </a:cubicBezTo>
                  <a:cubicBezTo>
                    <a:pt x="261" y="334"/>
                    <a:pt x="269" y="331"/>
                    <a:pt x="275" y="327"/>
                  </a:cubicBezTo>
                  <a:cubicBezTo>
                    <a:pt x="275" y="327"/>
                    <a:pt x="275" y="327"/>
                    <a:pt x="275" y="327"/>
                  </a:cubicBezTo>
                  <a:cubicBezTo>
                    <a:pt x="289" y="319"/>
                    <a:pt x="297" y="309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311" y="293"/>
                    <a:pt x="324" y="286"/>
                    <a:pt x="335" y="278"/>
                  </a:cubicBezTo>
                  <a:cubicBezTo>
                    <a:pt x="349" y="291"/>
                    <a:pt x="349" y="291"/>
                    <a:pt x="349" y="291"/>
                  </a:cubicBezTo>
                  <a:cubicBezTo>
                    <a:pt x="343" y="297"/>
                    <a:pt x="343" y="297"/>
                    <a:pt x="343" y="297"/>
                  </a:cubicBezTo>
                  <a:cubicBezTo>
                    <a:pt x="423" y="378"/>
                    <a:pt x="423" y="378"/>
                    <a:pt x="423" y="378"/>
                  </a:cubicBezTo>
                  <a:cubicBezTo>
                    <a:pt x="429" y="372"/>
                    <a:pt x="429" y="372"/>
                    <a:pt x="429" y="372"/>
                  </a:cubicBezTo>
                  <a:cubicBezTo>
                    <a:pt x="454" y="347"/>
                    <a:pt x="454" y="347"/>
                    <a:pt x="454" y="347"/>
                  </a:cubicBezTo>
                  <a:cubicBezTo>
                    <a:pt x="454" y="347"/>
                    <a:pt x="454" y="347"/>
                    <a:pt x="454" y="347"/>
                  </a:cubicBezTo>
                  <a:lnTo>
                    <a:pt x="460" y="341"/>
                  </a:lnTo>
                  <a:close/>
                  <a:moveTo>
                    <a:pt x="263" y="276"/>
                  </a:moveTo>
                  <a:cubicBezTo>
                    <a:pt x="210" y="276"/>
                    <a:pt x="167" y="233"/>
                    <a:pt x="167" y="180"/>
                  </a:cubicBezTo>
                  <a:cubicBezTo>
                    <a:pt x="167" y="128"/>
                    <a:pt x="210" y="85"/>
                    <a:pt x="263" y="85"/>
                  </a:cubicBezTo>
                  <a:cubicBezTo>
                    <a:pt x="315" y="85"/>
                    <a:pt x="358" y="128"/>
                    <a:pt x="358" y="180"/>
                  </a:cubicBezTo>
                  <a:cubicBezTo>
                    <a:pt x="358" y="233"/>
                    <a:pt x="315" y="276"/>
                    <a:pt x="263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myP_Bulb">
            <a:extLst>
              <a:ext uri="{FF2B5EF4-FFF2-40B4-BE49-F238E27FC236}">
                <a16:creationId xmlns:a16="http://schemas.microsoft.com/office/drawing/2014/main" id="{30514568-999C-43A9-BF17-5674020DDC87}"/>
              </a:ext>
            </a:extLst>
          </p:cNvPr>
          <p:cNvGrpSpPr/>
          <p:nvPr/>
        </p:nvGrpSpPr>
        <p:grpSpPr>
          <a:xfrm>
            <a:off x="1636178" y="2878398"/>
            <a:ext cx="379307" cy="476272"/>
            <a:chOff x="1174750" y="1774825"/>
            <a:chExt cx="1266825" cy="1590676"/>
          </a:xfrm>
          <a:solidFill>
            <a:schemeClr val="bg1"/>
          </a:solidFill>
        </p:grpSpPr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DD9697EF-AB95-4A53-B8DC-7E02AB9B8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4750" y="2408238"/>
              <a:ext cx="881063" cy="957263"/>
            </a:xfrm>
            <a:custGeom>
              <a:avLst/>
              <a:gdLst>
                <a:gd name="T0" fmla="*/ 223 w 456"/>
                <a:gd name="T1" fmla="*/ 245 h 493"/>
                <a:gd name="T2" fmla="*/ 223 w 456"/>
                <a:gd name="T3" fmla="*/ 110 h 493"/>
                <a:gd name="T4" fmla="*/ 154 w 456"/>
                <a:gd name="T5" fmla="*/ 37 h 493"/>
                <a:gd name="T6" fmla="*/ 85 w 456"/>
                <a:gd name="T7" fmla="*/ 109 h 493"/>
                <a:gd name="T8" fmla="*/ 85 w 456"/>
                <a:gd name="T9" fmla="*/ 347 h 493"/>
                <a:gd name="T10" fmla="*/ 100 w 456"/>
                <a:gd name="T11" fmla="*/ 372 h 493"/>
                <a:gd name="T12" fmla="*/ 131 w 456"/>
                <a:gd name="T13" fmla="*/ 447 h 493"/>
                <a:gd name="T14" fmla="*/ 70 w 456"/>
                <a:gd name="T15" fmla="*/ 493 h 493"/>
                <a:gd name="T16" fmla="*/ 9 w 456"/>
                <a:gd name="T17" fmla="*/ 447 h 493"/>
                <a:gd name="T18" fmla="*/ 40 w 456"/>
                <a:gd name="T19" fmla="*/ 372 h 493"/>
                <a:gd name="T20" fmla="*/ 55 w 456"/>
                <a:gd name="T21" fmla="*/ 344 h 493"/>
                <a:gd name="T22" fmla="*/ 55 w 456"/>
                <a:gd name="T23" fmla="*/ 104 h 493"/>
                <a:gd name="T24" fmla="*/ 145 w 456"/>
                <a:gd name="T25" fmla="*/ 6 h 493"/>
                <a:gd name="T26" fmla="*/ 249 w 456"/>
                <a:gd name="T27" fmla="*/ 75 h 493"/>
                <a:gd name="T28" fmla="*/ 253 w 456"/>
                <a:gd name="T29" fmla="*/ 111 h 493"/>
                <a:gd name="T30" fmla="*/ 253 w 456"/>
                <a:gd name="T31" fmla="*/ 377 h 493"/>
                <a:gd name="T32" fmla="*/ 304 w 456"/>
                <a:gd name="T33" fmla="*/ 452 h 493"/>
                <a:gd name="T34" fmla="*/ 391 w 456"/>
                <a:gd name="T35" fmla="*/ 394 h 493"/>
                <a:gd name="T36" fmla="*/ 392 w 456"/>
                <a:gd name="T37" fmla="*/ 336 h 493"/>
                <a:gd name="T38" fmla="*/ 374 w 456"/>
                <a:gd name="T39" fmla="*/ 318 h 493"/>
                <a:gd name="T40" fmla="*/ 364 w 456"/>
                <a:gd name="T41" fmla="*/ 300 h 493"/>
                <a:gd name="T42" fmla="*/ 399 w 456"/>
                <a:gd name="T43" fmla="*/ 230 h 493"/>
                <a:gd name="T44" fmla="*/ 415 w 456"/>
                <a:gd name="T45" fmla="*/ 229 h 493"/>
                <a:gd name="T46" fmla="*/ 451 w 456"/>
                <a:gd name="T47" fmla="*/ 302 h 493"/>
                <a:gd name="T48" fmla="*/ 442 w 456"/>
                <a:gd name="T49" fmla="*/ 317 h 493"/>
                <a:gd name="T50" fmla="*/ 424 w 456"/>
                <a:gd name="T51" fmla="*/ 339 h 493"/>
                <a:gd name="T52" fmla="*/ 422 w 456"/>
                <a:gd name="T53" fmla="*/ 399 h 493"/>
                <a:gd name="T54" fmla="*/ 315 w 456"/>
                <a:gd name="T55" fmla="*/ 486 h 493"/>
                <a:gd name="T56" fmla="*/ 223 w 456"/>
                <a:gd name="T57" fmla="*/ 385 h 493"/>
                <a:gd name="T58" fmla="*/ 223 w 456"/>
                <a:gd name="T59" fmla="*/ 245 h 493"/>
                <a:gd name="T60" fmla="*/ 223 w 456"/>
                <a:gd name="T61" fmla="*/ 245 h 493"/>
                <a:gd name="T62" fmla="*/ 70 w 456"/>
                <a:gd name="T63" fmla="*/ 461 h 493"/>
                <a:gd name="T64" fmla="*/ 103 w 456"/>
                <a:gd name="T65" fmla="*/ 429 h 493"/>
                <a:gd name="T66" fmla="*/ 69 w 456"/>
                <a:gd name="T67" fmla="*/ 395 h 493"/>
                <a:gd name="T68" fmla="*/ 37 w 456"/>
                <a:gd name="T69" fmla="*/ 429 h 493"/>
                <a:gd name="T70" fmla="*/ 70 w 456"/>
                <a:gd name="T71" fmla="*/ 461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6" h="493">
                  <a:moveTo>
                    <a:pt x="223" y="245"/>
                  </a:moveTo>
                  <a:cubicBezTo>
                    <a:pt x="223" y="200"/>
                    <a:pt x="223" y="155"/>
                    <a:pt x="223" y="110"/>
                  </a:cubicBezTo>
                  <a:cubicBezTo>
                    <a:pt x="223" y="67"/>
                    <a:pt x="195" y="37"/>
                    <a:pt x="154" y="37"/>
                  </a:cubicBezTo>
                  <a:cubicBezTo>
                    <a:pt x="115" y="37"/>
                    <a:pt x="86" y="67"/>
                    <a:pt x="85" y="109"/>
                  </a:cubicBezTo>
                  <a:cubicBezTo>
                    <a:pt x="85" y="189"/>
                    <a:pt x="85" y="268"/>
                    <a:pt x="85" y="347"/>
                  </a:cubicBezTo>
                  <a:cubicBezTo>
                    <a:pt x="85" y="359"/>
                    <a:pt x="89" y="366"/>
                    <a:pt x="100" y="372"/>
                  </a:cubicBezTo>
                  <a:cubicBezTo>
                    <a:pt x="128" y="387"/>
                    <a:pt x="140" y="416"/>
                    <a:pt x="131" y="447"/>
                  </a:cubicBezTo>
                  <a:cubicBezTo>
                    <a:pt x="124" y="472"/>
                    <a:pt x="97" y="493"/>
                    <a:pt x="70" y="493"/>
                  </a:cubicBezTo>
                  <a:cubicBezTo>
                    <a:pt x="43" y="493"/>
                    <a:pt x="16" y="473"/>
                    <a:pt x="9" y="447"/>
                  </a:cubicBezTo>
                  <a:cubicBezTo>
                    <a:pt x="0" y="417"/>
                    <a:pt x="11" y="387"/>
                    <a:pt x="40" y="372"/>
                  </a:cubicBezTo>
                  <a:cubicBezTo>
                    <a:pt x="53" y="365"/>
                    <a:pt x="55" y="357"/>
                    <a:pt x="55" y="344"/>
                  </a:cubicBezTo>
                  <a:cubicBezTo>
                    <a:pt x="55" y="264"/>
                    <a:pt x="54" y="184"/>
                    <a:pt x="55" y="104"/>
                  </a:cubicBezTo>
                  <a:cubicBezTo>
                    <a:pt x="55" y="52"/>
                    <a:pt x="92" y="13"/>
                    <a:pt x="145" y="6"/>
                  </a:cubicBezTo>
                  <a:cubicBezTo>
                    <a:pt x="189" y="0"/>
                    <a:pt x="235" y="30"/>
                    <a:pt x="249" y="75"/>
                  </a:cubicBezTo>
                  <a:cubicBezTo>
                    <a:pt x="253" y="87"/>
                    <a:pt x="253" y="99"/>
                    <a:pt x="253" y="111"/>
                  </a:cubicBezTo>
                  <a:cubicBezTo>
                    <a:pt x="253" y="200"/>
                    <a:pt x="253" y="288"/>
                    <a:pt x="253" y="377"/>
                  </a:cubicBezTo>
                  <a:cubicBezTo>
                    <a:pt x="254" y="417"/>
                    <a:pt x="271" y="442"/>
                    <a:pt x="304" y="452"/>
                  </a:cubicBezTo>
                  <a:cubicBezTo>
                    <a:pt x="344" y="464"/>
                    <a:pt x="388" y="436"/>
                    <a:pt x="391" y="394"/>
                  </a:cubicBezTo>
                  <a:cubicBezTo>
                    <a:pt x="392" y="374"/>
                    <a:pt x="391" y="355"/>
                    <a:pt x="392" y="336"/>
                  </a:cubicBezTo>
                  <a:cubicBezTo>
                    <a:pt x="392" y="323"/>
                    <a:pt x="387" y="317"/>
                    <a:pt x="374" y="318"/>
                  </a:cubicBezTo>
                  <a:cubicBezTo>
                    <a:pt x="360" y="318"/>
                    <a:pt x="359" y="311"/>
                    <a:pt x="364" y="300"/>
                  </a:cubicBezTo>
                  <a:cubicBezTo>
                    <a:pt x="376" y="277"/>
                    <a:pt x="388" y="254"/>
                    <a:pt x="399" y="230"/>
                  </a:cubicBezTo>
                  <a:cubicBezTo>
                    <a:pt x="404" y="221"/>
                    <a:pt x="408" y="217"/>
                    <a:pt x="415" y="229"/>
                  </a:cubicBezTo>
                  <a:cubicBezTo>
                    <a:pt x="427" y="254"/>
                    <a:pt x="439" y="278"/>
                    <a:pt x="451" y="302"/>
                  </a:cubicBezTo>
                  <a:cubicBezTo>
                    <a:pt x="456" y="312"/>
                    <a:pt x="454" y="318"/>
                    <a:pt x="442" y="317"/>
                  </a:cubicBezTo>
                  <a:cubicBezTo>
                    <a:pt x="426" y="317"/>
                    <a:pt x="424" y="326"/>
                    <a:pt x="424" y="339"/>
                  </a:cubicBezTo>
                  <a:cubicBezTo>
                    <a:pt x="424" y="359"/>
                    <a:pt x="425" y="379"/>
                    <a:pt x="422" y="399"/>
                  </a:cubicBezTo>
                  <a:cubicBezTo>
                    <a:pt x="414" y="453"/>
                    <a:pt x="369" y="490"/>
                    <a:pt x="315" y="486"/>
                  </a:cubicBezTo>
                  <a:cubicBezTo>
                    <a:pt x="264" y="482"/>
                    <a:pt x="224" y="439"/>
                    <a:pt x="223" y="385"/>
                  </a:cubicBezTo>
                  <a:cubicBezTo>
                    <a:pt x="223" y="339"/>
                    <a:pt x="223" y="292"/>
                    <a:pt x="223" y="245"/>
                  </a:cubicBezTo>
                  <a:cubicBezTo>
                    <a:pt x="223" y="245"/>
                    <a:pt x="223" y="245"/>
                    <a:pt x="223" y="245"/>
                  </a:cubicBezTo>
                  <a:close/>
                  <a:moveTo>
                    <a:pt x="70" y="461"/>
                  </a:moveTo>
                  <a:cubicBezTo>
                    <a:pt x="89" y="461"/>
                    <a:pt x="103" y="448"/>
                    <a:pt x="103" y="429"/>
                  </a:cubicBezTo>
                  <a:cubicBezTo>
                    <a:pt x="103" y="410"/>
                    <a:pt x="87" y="394"/>
                    <a:pt x="69" y="395"/>
                  </a:cubicBezTo>
                  <a:cubicBezTo>
                    <a:pt x="52" y="395"/>
                    <a:pt x="37" y="411"/>
                    <a:pt x="37" y="429"/>
                  </a:cubicBezTo>
                  <a:cubicBezTo>
                    <a:pt x="37" y="447"/>
                    <a:pt x="51" y="461"/>
                    <a:pt x="70" y="4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D6978589-4486-4893-AF25-2BC23D761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1992313"/>
              <a:ext cx="541338" cy="596900"/>
            </a:xfrm>
            <a:custGeom>
              <a:avLst/>
              <a:gdLst>
                <a:gd name="T0" fmla="*/ 146 w 280"/>
                <a:gd name="T1" fmla="*/ 308 h 308"/>
                <a:gd name="T2" fmla="*/ 140 w 280"/>
                <a:gd name="T3" fmla="*/ 308 h 308"/>
                <a:gd name="T4" fmla="*/ 94 w 280"/>
                <a:gd name="T5" fmla="*/ 267 h 308"/>
                <a:gd name="T6" fmla="*/ 74 w 280"/>
                <a:gd name="T7" fmla="*/ 242 h 308"/>
                <a:gd name="T8" fmla="*/ 41 w 280"/>
                <a:gd name="T9" fmla="*/ 63 h 308"/>
                <a:gd name="T10" fmla="*/ 175 w 280"/>
                <a:gd name="T11" fmla="*/ 12 h 308"/>
                <a:gd name="T12" fmla="*/ 271 w 280"/>
                <a:gd name="T13" fmla="*/ 113 h 308"/>
                <a:gd name="T14" fmla="*/ 215 w 280"/>
                <a:gd name="T15" fmla="*/ 243 h 308"/>
                <a:gd name="T16" fmla="*/ 195 w 280"/>
                <a:gd name="T17" fmla="*/ 281 h 308"/>
                <a:gd name="T18" fmla="*/ 168 w 280"/>
                <a:gd name="T19" fmla="*/ 308 h 308"/>
                <a:gd name="T20" fmla="*/ 146 w 280"/>
                <a:gd name="T21" fmla="*/ 308 h 308"/>
                <a:gd name="T22" fmla="*/ 145 w 280"/>
                <a:gd name="T23" fmla="*/ 40 h 308"/>
                <a:gd name="T24" fmla="*/ 52 w 280"/>
                <a:gd name="T25" fmla="*/ 110 h 308"/>
                <a:gd name="T26" fmla="*/ 102 w 280"/>
                <a:gd name="T27" fmla="*/ 223 h 308"/>
                <a:gd name="T28" fmla="*/ 126 w 280"/>
                <a:gd name="T29" fmla="*/ 260 h 308"/>
                <a:gd name="T30" fmla="*/ 146 w 280"/>
                <a:gd name="T31" fmla="*/ 276 h 308"/>
                <a:gd name="T32" fmla="*/ 165 w 280"/>
                <a:gd name="T33" fmla="*/ 260 h 308"/>
                <a:gd name="T34" fmla="*/ 190 w 280"/>
                <a:gd name="T35" fmla="*/ 221 h 308"/>
                <a:gd name="T36" fmla="*/ 239 w 280"/>
                <a:gd name="T37" fmla="*/ 112 h 308"/>
                <a:gd name="T38" fmla="*/ 145 w 280"/>
                <a:gd name="T39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308">
                  <a:moveTo>
                    <a:pt x="146" y="308"/>
                  </a:moveTo>
                  <a:cubicBezTo>
                    <a:pt x="144" y="308"/>
                    <a:pt x="142" y="308"/>
                    <a:pt x="140" y="308"/>
                  </a:cubicBezTo>
                  <a:cubicBezTo>
                    <a:pt x="98" y="308"/>
                    <a:pt x="97" y="308"/>
                    <a:pt x="94" y="267"/>
                  </a:cubicBezTo>
                  <a:cubicBezTo>
                    <a:pt x="93" y="253"/>
                    <a:pt x="83" y="248"/>
                    <a:pt x="74" y="242"/>
                  </a:cubicBezTo>
                  <a:cubicBezTo>
                    <a:pt x="14" y="201"/>
                    <a:pt x="0" y="122"/>
                    <a:pt x="41" y="63"/>
                  </a:cubicBezTo>
                  <a:cubicBezTo>
                    <a:pt x="72" y="20"/>
                    <a:pt x="123" y="0"/>
                    <a:pt x="175" y="12"/>
                  </a:cubicBezTo>
                  <a:cubicBezTo>
                    <a:pt x="223" y="23"/>
                    <a:pt x="262" y="64"/>
                    <a:pt x="271" y="113"/>
                  </a:cubicBezTo>
                  <a:cubicBezTo>
                    <a:pt x="280" y="164"/>
                    <a:pt x="259" y="216"/>
                    <a:pt x="215" y="243"/>
                  </a:cubicBezTo>
                  <a:cubicBezTo>
                    <a:pt x="199" y="253"/>
                    <a:pt x="194" y="264"/>
                    <a:pt x="195" y="281"/>
                  </a:cubicBezTo>
                  <a:cubicBezTo>
                    <a:pt x="196" y="307"/>
                    <a:pt x="194" y="308"/>
                    <a:pt x="168" y="308"/>
                  </a:cubicBezTo>
                  <a:cubicBezTo>
                    <a:pt x="160" y="308"/>
                    <a:pt x="153" y="308"/>
                    <a:pt x="146" y="308"/>
                  </a:cubicBezTo>
                  <a:close/>
                  <a:moveTo>
                    <a:pt x="145" y="40"/>
                  </a:moveTo>
                  <a:cubicBezTo>
                    <a:pt x="101" y="40"/>
                    <a:pt x="62" y="69"/>
                    <a:pt x="52" y="110"/>
                  </a:cubicBezTo>
                  <a:cubicBezTo>
                    <a:pt x="40" y="157"/>
                    <a:pt x="60" y="202"/>
                    <a:pt x="102" y="223"/>
                  </a:cubicBezTo>
                  <a:cubicBezTo>
                    <a:pt x="120" y="231"/>
                    <a:pt x="129" y="240"/>
                    <a:pt x="126" y="260"/>
                  </a:cubicBezTo>
                  <a:cubicBezTo>
                    <a:pt x="125" y="274"/>
                    <a:pt x="134" y="276"/>
                    <a:pt x="146" y="276"/>
                  </a:cubicBezTo>
                  <a:cubicBezTo>
                    <a:pt x="157" y="276"/>
                    <a:pt x="167" y="274"/>
                    <a:pt x="165" y="260"/>
                  </a:cubicBezTo>
                  <a:cubicBezTo>
                    <a:pt x="162" y="239"/>
                    <a:pt x="173" y="230"/>
                    <a:pt x="190" y="221"/>
                  </a:cubicBezTo>
                  <a:cubicBezTo>
                    <a:pt x="231" y="202"/>
                    <a:pt x="251" y="156"/>
                    <a:pt x="239" y="112"/>
                  </a:cubicBezTo>
                  <a:cubicBezTo>
                    <a:pt x="229" y="69"/>
                    <a:pt x="191" y="40"/>
                    <a:pt x="14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CAFD4B65-703F-4177-80E6-27B239D5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636838"/>
              <a:ext cx="195263" cy="61913"/>
            </a:xfrm>
            <a:custGeom>
              <a:avLst/>
              <a:gdLst>
                <a:gd name="T0" fmla="*/ 49 w 101"/>
                <a:gd name="T1" fmla="*/ 32 h 32"/>
                <a:gd name="T2" fmla="*/ 15 w 101"/>
                <a:gd name="T3" fmla="*/ 32 h 32"/>
                <a:gd name="T4" fmla="*/ 0 w 101"/>
                <a:gd name="T5" fmla="*/ 18 h 32"/>
                <a:gd name="T6" fmla="*/ 15 w 101"/>
                <a:gd name="T7" fmla="*/ 0 h 32"/>
                <a:gd name="T8" fmla="*/ 87 w 101"/>
                <a:gd name="T9" fmla="*/ 0 h 32"/>
                <a:gd name="T10" fmla="*/ 101 w 101"/>
                <a:gd name="T11" fmla="*/ 16 h 32"/>
                <a:gd name="T12" fmla="*/ 85 w 101"/>
                <a:gd name="T13" fmla="*/ 32 h 32"/>
                <a:gd name="T14" fmla="*/ 49 w 10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2">
                  <a:moveTo>
                    <a:pt x="49" y="32"/>
                  </a:moveTo>
                  <a:cubicBezTo>
                    <a:pt x="38" y="32"/>
                    <a:pt x="27" y="32"/>
                    <a:pt x="15" y="32"/>
                  </a:cubicBezTo>
                  <a:cubicBezTo>
                    <a:pt x="6" y="32"/>
                    <a:pt x="1" y="28"/>
                    <a:pt x="0" y="18"/>
                  </a:cubicBezTo>
                  <a:cubicBezTo>
                    <a:pt x="0" y="8"/>
                    <a:pt x="4" y="1"/>
                    <a:pt x="15" y="0"/>
                  </a:cubicBezTo>
                  <a:cubicBezTo>
                    <a:pt x="39" y="0"/>
                    <a:pt x="63" y="0"/>
                    <a:pt x="87" y="0"/>
                  </a:cubicBezTo>
                  <a:cubicBezTo>
                    <a:pt x="97" y="1"/>
                    <a:pt x="101" y="6"/>
                    <a:pt x="101" y="16"/>
                  </a:cubicBezTo>
                  <a:cubicBezTo>
                    <a:pt x="101" y="27"/>
                    <a:pt x="96" y="32"/>
                    <a:pt x="85" y="32"/>
                  </a:cubicBezTo>
                  <a:cubicBezTo>
                    <a:pt x="73" y="32"/>
                    <a:pt x="61" y="32"/>
                    <a:pt x="4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859E827F-9AC1-40FD-B6DC-AC6FBFAB9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138" y="2239963"/>
              <a:ext cx="173038" cy="61913"/>
            </a:xfrm>
            <a:custGeom>
              <a:avLst/>
              <a:gdLst>
                <a:gd name="T0" fmla="*/ 46 w 89"/>
                <a:gd name="T1" fmla="*/ 0 h 32"/>
                <a:gd name="T2" fmla="*/ 68 w 89"/>
                <a:gd name="T3" fmla="*/ 0 h 32"/>
                <a:gd name="T4" fmla="*/ 89 w 89"/>
                <a:gd name="T5" fmla="*/ 17 h 32"/>
                <a:gd name="T6" fmla="*/ 67 w 89"/>
                <a:gd name="T7" fmla="*/ 32 h 32"/>
                <a:gd name="T8" fmla="*/ 21 w 89"/>
                <a:gd name="T9" fmla="*/ 32 h 32"/>
                <a:gd name="T10" fmla="*/ 1 w 89"/>
                <a:gd name="T11" fmla="*/ 16 h 32"/>
                <a:gd name="T12" fmla="*/ 20 w 89"/>
                <a:gd name="T13" fmla="*/ 0 h 32"/>
                <a:gd name="T14" fmla="*/ 46 w 89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4" y="0"/>
                    <a:pt x="61" y="0"/>
                    <a:pt x="68" y="0"/>
                  </a:cubicBezTo>
                  <a:cubicBezTo>
                    <a:pt x="80" y="0"/>
                    <a:pt x="89" y="1"/>
                    <a:pt x="89" y="17"/>
                  </a:cubicBezTo>
                  <a:cubicBezTo>
                    <a:pt x="89" y="32"/>
                    <a:pt x="78" y="32"/>
                    <a:pt x="67" y="32"/>
                  </a:cubicBezTo>
                  <a:cubicBezTo>
                    <a:pt x="52" y="32"/>
                    <a:pt x="37" y="32"/>
                    <a:pt x="21" y="32"/>
                  </a:cubicBezTo>
                  <a:cubicBezTo>
                    <a:pt x="10" y="32"/>
                    <a:pt x="0" y="31"/>
                    <a:pt x="1" y="16"/>
                  </a:cubicBezTo>
                  <a:cubicBezTo>
                    <a:pt x="1" y="1"/>
                    <a:pt x="10" y="0"/>
                    <a:pt x="20" y="0"/>
                  </a:cubicBezTo>
                  <a:cubicBezTo>
                    <a:pt x="29" y="0"/>
                    <a:pt x="38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06E4E2F0-9B6D-4381-8FD1-085450B20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125" y="2239963"/>
              <a:ext cx="171450" cy="61913"/>
            </a:xfrm>
            <a:custGeom>
              <a:avLst/>
              <a:gdLst>
                <a:gd name="T0" fmla="*/ 46 w 89"/>
                <a:gd name="T1" fmla="*/ 0 h 32"/>
                <a:gd name="T2" fmla="*/ 72 w 89"/>
                <a:gd name="T3" fmla="*/ 0 h 32"/>
                <a:gd name="T4" fmla="*/ 89 w 89"/>
                <a:gd name="T5" fmla="*/ 17 h 32"/>
                <a:gd name="T6" fmla="*/ 73 w 89"/>
                <a:gd name="T7" fmla="*/ 32 h 32"/>
                <a:gd name="T8" fmla="*/ 15 w 89"/>
                <a:gd name="T9" fmla="*/ 32 h 32"/>
                <a:gd name="T10" fmla="*/ 1 w 89"/>
                <a:gd name="T11" fmla="*/ 16 h 32"/>
                <a:gd name="T12" fmla="*/ 15 w 89"/>
                <a:gd name="T13" fmla="*/ 0 h 32"/>
                <a:gd name="T14" fmla="*/ 46 w 89"/>
                <a:gd name="T15" fmla="*/ 0 h 32"/>
                <a:gd name="T16" fmla="*/ 46 w 8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5" y="0"/>
                    <a:pt x="63" y="0"/>
                    <a:pt x="72" y="0"/>
                  </a:cubicBezTo>
                  <a:cubicBezTo>
                    <a:pt x="84" y="0"/>
                    <a:pt x="89" y="5"/>
                    <a:pt x="89" y="17"/>
                  </a:cubicBezTo>
                  <a:cubicBezTo>
                    <a:pt x="89" y="28"/>
                    <a:pt x="83" y="32"/>
                    <a:pt x="73" y="32"/>
                  </a:cubicBezTo>
                  <a:cubicBezTo>
                    <a:pt x="54" y="32"/>
                    <a:pt x="34" y="32"/>
                    <a:pt x="15" y="32"/>
                  </a:cubicBezTo>
                  <a:cubicBezTo>
                    <a:pt x="4" y="32"/>
                    <a:pt x="0" y="26"/>
                    <a:pt x="1" y="16"/>
                  </a:cubicBezTo>
                  <a:cubicBezTo>
                    <a:pt x="1" y="6"/>
                    <a:pt x="5" y="1"/>
                    <a:pt x="15" y="0"/>
                  </a:cubicBezTo>
                  <a:cubicBezTo>
                    <a:pt x="25" y="0"/>
                    <a:pt x="3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BC3004E6-6155-4B7F-9C05-78E06942F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1774825"/>
              <a:ext cx="61913" cy="173038"/>
            </a:xfrm>
            <a:custGeom>
              <a:avLst/>
              <a:gdLst>
                <a:gd name="T0" fmla="*/ 32 w 32"/>
                <a:gd name="T1" fmla="*/ 46 h 89"/>
                <a:gd name="T2" fmla="*/ 32 w 32"/>
                <a:gd name="T3" fmla="*/ 74 h 89"/>
                <a:gd name="T4" fmla="*/ 15 w 32"/>
                <a:gd name="T5" fmla="*/ 89 h 89"/>
                <a:gd name="T6" fmla="*/ 0 w 32"/>
                <a:gd name="T7" fmla="*/ 73 h 89"/>
                <a:gd name="T8" fmla="*/ 0 w 32"/>
                <a:gd name="T9" fmla="*/ 17 h 89"/>
                <a:gd name="T10" fmla="*/ 15 w 32"/>
                <a:gd name="T11" fmla="*/ 1 h 89"/>
                <a:gd name="T12" fmla="*/ 32 w 32"/>
                <a:gd name="T13" fmla="*/ 18 h 89"/>
                <a:gd name="T14" fmla="*/ 32 w 32"/>
                <a:gd name="T15" fmla="*/ 46 h 89"/>
                <a:gd name="T16" fmla="*/ 32 w 32"/>
                <a:gd name="T1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89">
                  <a:moveTo>
                    <a:pt x="32" y="46"/>
                  </a:moveTo>
                  <a:cubicBezTo>
                    <a:pt x="32" y="55"/>
                    <a:pt x="32" y="65"/>
                    <a:pt x="32" y="74"/>
                  </a:cubicBezTo>
                  <a:cubicBezTo>
                    <a:pt x="32" y="85"/>
                    <a:pt x="26" y="89"/>
                    <a:pt x="15" y="89"/>
                  </a:cubicBezTo>
                  <a:cubicBezTo>
                    <a:pt x="4" y="89"/>
                    <a:pt x="0" y="84"/>
                    <a:pt x="0" y="73"/>
                  </a:cubicBezTo>
                  <a:cubicBezTo>
                    <a:pt x="0" y="55"/>
                    <a:pt x="0" y="36"/>
                    <a:pt x="0" y="17"/>
                  </a:cubicBezTo>
                  <a:cubicBezTo>
                    <a:pt x="0" y="7"/>
                    <a:pt x="4" y="1"/>
                    <a:pt x="15" y="1"/>
                  </a:cubicBezTo>
                  <a:cubicBezTo>
                    <a:pt x="27" y="0"/>
                    <a:pt x="32" y="7"/>
                    <a:pt x="32" y="18"/>
                  </a:cubicBezTo>
                  <a:cubicBezTo>
                    <a:pt x="32" y="27"/>
                    <a:pt x="32" y="37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AC8FF4A2-D156-4EB5-8E67-637EA1846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88" y="1827213"/>
              <a:ext cx="127000" cy="177800"/>
            </a:xfrm>
            <a:custGeom>
              <a:avLst/>
              <a:gdLst>
                <a:gd name="T0" fmla="*/ 65 w 66"/>
                <a:gd name="T1" fmla="*/ 69 h 92"/>
                <a:gd name="T2" fmla="*/ 55 w 66"/>
                <a:gd name="T3" fmla="*/ 85 h 92"/>
                <a:gd name="T4" fmla="*/ 39 w 66"/>
                <a:gd name="T5" fmla="*/ 85 h 92"/>
                <a:gd name="T6" fmla="*/ 3 w 66"/>
                <a:gd name="T7" fmla="*/ 23 h 92"/>
                <a:gd name="T8" fmla="*/ 12 w 66"/>
                <a:gd name="T9" fmla="*/ 9 h 92"/>
                <a:gd name="T10" fmla="*/ 28 w 66"/>
                <a:gd name="T11" fmla="*/ 7 h 92"/>
                <a:gd name="T12" fmla="*/ 65 w 66"/>
                <a:gd name="T13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92">
                  <a:moveTo>
                    <a:pt x="65" y="69"/>
                  </a:moveTo>
                  <a:cubicBezTo>
                    <a:pt x="66" y="80"/>
                    <a:pt x="60" y="82"/>
                    <a:pt x="55" y="85"/>
                  </a:cubicBezTo>
                  <a:cubicBezTo>
                    <a:pt x="50" y="88"/>
                    <a:pt x="43" y="92"/>
                    <a:pt x="39" y="85"/>
                  </a:cubicBezTo>
                  <a:cubicBezTo>
                    <a:pt x="26" y="64"/>
                    <a:pt x="14" y="44"/>
                    <a:pt x="3" y="23"/>
                  </a:cubicBezTo>
                  <a:cubicBezTo>
                    <a:pt x="0" y="16"/>
                    <a:pt x="7" y="12"/>
                    <a:pt x="12" y="9"/>
                  </a:cubicBezTo>
                  <a:cubicBezTo>
                    <a:pt x="17" y="6"/>
                    <a:pt x="23" y="0"/>
                    <a:pt x="28" y="7"/>
                  </a:cubicBezTo>
                  <a:cubicBezTo>
                    <a:pt x="41" y="28"/>
                    <a:pt x="54" y="50"/>
                    <a:pt x="65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3D55B0CD-A0FE-4553-9ABC-D4FC35FF4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1835150"/>
              <a:ext cx="130175" cy="168275"/>
            </a:xfrm>
            <a:custGeom>
              <a:avLst/>
              <a:gdLst>
                <a:gd name="T0" fmla="*/ 46 w 68"/>
                <a:gd name="T1" fmla="*/ 0 h 87"/>
                <a:gd name="T2" fmla="*/ 62 w 68"/>
                <a:gd name="T3" fmla="*/ 26 h 87"/>
                <a:gd name="T4" fmla="*/ 33 w 68"/>
                <a:gd name="T5" fmla="*/ 76 h 87"/>
                <a:gd name="T6" fmla="*/ 11 w 68"/>
                <a:gd name="T7" fmla="*/ 80 h 87"/>
                <a:gd name="T8" fmla="*/ 5 w 68"/>
                <a:gd name="T9" fmla="*/ 60 h 87"/>
                <a:gd name="T10" fmla="*/ 36 w 68"/>
                <a:gd name="T11" fmla="*/ 9 h 87"/>
                <a:gd name="T12" fmla="*/ 46 w 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87">
                  <a:moveTo>
                    <a:pt x="46" y="0"/>
                  </a:moveTo>
                  <a:cubicBezTo>
                    <a:pt x="59" y="0"/>
                    <a:pt x="68" y="15"/>
                    <a:pt x="62" y="26"/>
                  </a:cubicBezTo>
                  <a:cubicBezTo>
                    <a:pt x="52" y="43"/>
                    <a:pt x="42" y="59"/>
                    <a:pt x="33" y="76"/>
                  </a:cubicBezTo>
                  <a:cubicBezTo>
                    <a:pt x="27" y="87"/>
                    <a:pt x="20" y="85"/>
                    <a:pt x="11" y="80"/>
                  </a:cubicBezTo>
                  <a:cubicBezTo>
                    <a:pt x="3" y="75"/>
                    <a:pt x="0" y="69"/>
                    <a:pt x="5" y="60"/>
                  </a:cubicBezTo>
                  <a:cubicBezTo>
                    <a:pt x="16" y="43"/>
                    <a:pt x="26" y="26"/>
                    <a:pt x="36" y="9"/>
                  </a:cubicBezTo>
                  <a:cubicBezTo>
                    <a:pt x="38" y="5"/>
                    <a:pt x="4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4A7B0B0E-4DB1-4E26-8B44-E686F5216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50" y="2012950"/>
              <a:ext cx="173038" cy="130175"/>
            </a:xfrm>
            <a:custGeom>
              <a:avLst/>
              <a:gdLst>
                <a:gd name="T0" fmla="*/ 16 w 90"/>
                <a:gd name="T1" fmla="*/ 67 h 67"/>
                <a:gd name="T2" fmla="*/ 3 w 90"/>
                <a:gd name="T3" fmla="*/ 52 h 67"/>
                <a:gd name="T4" fmla="*/ 7 w 90"/>
                <a:gd name="T5" fmla="*/ 38 h 67"/>
                <a:gd name="T6" fmla="*/ 64 w 90"/>
                <a:gd name="T7" fmla="*/ 5 h 67"/>
                <a:gd name="T8" fmla="*/ 81 w 90"/>
                <a:gd name="T9" fmla="*/ 13 h 67"/>
                <a:gd name="T10" fmla="*/ 81 w 90"/>
                <a:gd name="T11" fmla="*/ 30 h 67"/>
                <a:gd name="T12" fmla="*/ 21 w 90"/>
                <a:gd name="T13" fmla="*/ 65 h 67"/>
                <a:gd name="T14" fmla="*/ 16 w 90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67">
                  <a:moveTo>
                    <a:pt x="16" y="67"/>
                  </a:moveTo>
                  <a:cubicBezTo>
                    <a:pt x="8" y="64"/>
                    <a:pt x="6" y="57"/>
                    <a:pt x="3" y="52"/>
                  </a:cubicBezTo>
                  <a:cubicBezTo>
                    <a:pt x="0" y="46"/>
                    <a:pt x="2" y="41"/>
                    <a:pt x="7" y="38"/>
                  </a:cubicBezTo>
                  <a:cubicBezTo>
                    <a:pt x="26" y="27"/>
                    <a:pt x="45" y="16"/>
                    <a:pt x="64" y="5"/>
                  </a:cubicBezTo>
                  <a:cubicBezTo>
                    <a:pt x="73" y="0"/>
                    <a:pt x="78" y="6"/>
                    <a:pt x="81" y="13"/>
                  </a:cubicBezTo>
                  <a:cubicBezTo>
                    <a:pt x="85" y="19"/>
                    <a:pt x="90" y="25"/>
                    <a:pt x="81" y="30"/>
                  </a:cubicBezTo>
                  <a:cubicBezTo>
                    <a:pt x="62" y="42"/>
                    <a:pt x="41" y="54"/>
                    <a:pt x="21" y="65"/>
                  </a:cubicBezTo>
                  <a:cubicBezTo>
                    <a:pt x="19" y="66"/>
                    <a:pt x="17" y="66"/>
                    <a:pt x="1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05C393B9-3BA7-484C-ACA1-ED7E8D7CA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2011363"/>
              <a:ext cx="169863" cy="134938"/>
            </a:xfrm>
            <a:custGeom>
              <a:avLst/>
              <a:gdLst>
                <a:gd name="T0" fmla="*/ 87 w 88"/>
                <a:gd name="T1" fmla="*/ 46 h 70"/>
                <a:gd name="T2" fmla="*/ 62 w 88"/>
                <a:gd name="T3" fmla="*/ 63 h 70"/>
                <a:gd name="T4" fmla="*/ 10 w 88"/>
                <a:gd name="T5" fmla="*/ 33 h 70"/>
                <a:gd name="T6" fmla="*/ 7 w 88"/>
                <a:gd name="T7" fmla="*/ 15 h 70"/>
                <a:gd name="T8" fmla="*/ 24 w 88"/>
                <a:gd name="T9" fmla="*/ 6 h 70"/>
                <a:gd name="T10" fmla="*/ 82 w 88"/>
                <a:gd name="T11" fmla="*/ 39 h 70"/>
                <a:gd name="T12" fmla="*/ 87 w 88"/>
                <a:gd name="T13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70">
                  <a:moveTo>
                    <a:pt x="87" y="46"/>
                  </a:moveTo>
                  <a:cubicBezTo>
                    <a:pt x="88" y="61"/>
                    <a:pt x="74" y="70"/>
                    <a:pt x="62" y="63"/>
                  </a:cubicBezTo>
                  <a:cubicBezTo>
                    <a:pt x="44" y="53"/>
                    <a:pt x="27" y="43"/>
                    <a:pt x="10" y="33"/>
                  </a:cubicBezTo>
                  <a:cubicBezTo>
                    <a:pt x="0" y="28"/>
                    <a:pt x="3" y="22"/>
                    <a:pt x="7" y="15"/>
                  </a:cubicBezTo>
                  <a:cubicBezTo>
                    <a:pt x="11" y="8"/>
                    <a:pt x="14" y="0"/>
                    <a:pt x="24" y="6"/>
                  </a:cubicBezTo>
                  <a:cubicBezTo>
                    <a:pt x="43" y="17"/>
                    <a:pt x="63" y="28"/>
                    <a:pt x="82" y="39"/>
                  </a:cubicBezTo>
                  <a:cubicBezTo>
                    <a:pt x="85" y="41"/>
                    <a:pt x="87" y="44"/>
                    <a:pt x="8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E57234CA-100B-4ACA-8A3B-F32D78CAD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2174875"/>
              <a:ext cx="290513" cy="211138"/>
            </a:xfrm>
            <a:custGeom>
              <a:avLst/>
              <a:gdLst>
                <a:gd name="T0" fmla="*/ 60 w 150"/>
                <a:gd name="T1" fmla="*/ 109 h 109"/>
                <a:gd name="T2" fmla="*/ 57 w 150"/>
                <a:gd name="T3" fmla="*/ 109 h 109"/>
                <a:gd name="T4" fmla="*/ 1 w 150"/>
                <a:gd name="T5" fmla="*/ 52 h 109"/>
                <a:gd name="T6" fmla="*/ 11 w 150"/>
                <a:gd name="T7" fmla="*/ 36 h 109"/>
                <a:gd name="T8" fmla="*/ 25 w 150"/>
                <a:gd name="T9" fmla="*/ 37 h 109"/>
                <a:gd name="T10" fmla="*/ 30 w 150"/>
                <a:gd name="T11" fmla="*/ 41 h 109"/>
                <a:gd name="T12" fmla="*/ 87 w 150"/>
                <a:gd name="T13" fmla="*/ 40 h 109"/>
                <a:gd name="T14" fmla="*/ 120 w 150"/>
                <a:gd name="T15" fmla="*/ 7 h 109"/>
                <a:gd name="T16" fmla="*/ 139 w 150"/>
                <a:gd name="T17" fmla="*/ 10 h 109"/>
                <a:gd name="T18" fmla="*/ 142 w 150"/>
                <a:gd name="T19" fmla="*/ 29 h 109"/>
                <a:gd name="T20" fmla="*/ 66 w 150"/>
                <a:gd name="T21" fmla="*/ 105 h 109"/>
                <a:gd name="T22" fmla="*/ 60 w 150"/>
                <a:gd name="T2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09">
                  <a:moveTo>
                    <a:pt x="60" y="109"/>
                  </a:moveTo>
                  <a:cubicBezTo>
                    <a:pt x="58" y="109"/>
                    <a:pt x="58" y="109"/>
                    <a:pt x="57" y="109"/>
                  </a:cubicBezTo>
                  <a:cubicBezTo>
                    <a:pt x="53" y="108"/>
                    <a:pt x="1" y="57"/>
                    <a:pt x="1" y="52"/>
                  </a:cubicBezTo>
                  <a:cubicBezTo>
                    <a:pt x="0" y="45"/>
                    <a:pt x="7" y="41"/>
                    <a:pt x="11" y="36"/>
                  </a:cubicBezTo>
                  <a:cubicBezTo>
                    <a:pt x="16" y="32"/>
                    <a:pt x="21" y="32"/>
                    <a:pt x="25" y="37"/>
                  </a:cubicBezTo>
                  <a:cubicBezTo>
                    <a:pt x="27" y="38"/>
                    <a:pt x="28" y="39"/>
                    <a:pt x="30" y="41"/>
                  </a:cubicBezTo>
                  <a:cubicBezTo>
                    <a:pt x="59" y="68"/>
                    <a:pt x="59" y="68"/>
                    <a:pt x="87" y="40"/>
                  </a:cubicBezTo>
                  <a:cubicBezTo>
                    <a:pt x="98" y="29"/>
                    <a:pt x="109" y="18"/>
                    <a:pt x="120" y="7"/>
                  </a:cubicBezTo>
                  <a:cubicBezTo>
                    <a:pt x="128" y="0"/>
                    <a:pt x="133" y="5"/>
                    <a:pt x="139" y="10"/>
                  </a:cubicBezTo>
                  <a:cubicBezTo>
                    <a:pt x="144" y="16"/>
                    <a:pt x="150" y="21"/>
                    <a:pt x="142" y="29"/>
                  </a:cubicBezTo>
                  <a:cubicBezTo>
                    <a:pt x="117" y="54"/>
                    <a:pt x="91" y="80"/>
                    <a:pt x="66" y="105"/>
                  </a:cubicBezTo>
                  <a:cubicBezTo>
                    <a:pt x="64" y="107"/>
                    <a:pt x="62" y="108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uppieren 215">
            <a:extLst>
              <a:ext uri="{FF2B5EF4-FFF2-40B4-BE49-F238E27FC236}">
                <a16:creationId xmlns:a16="http://schemas.microsoft.com/office/drawing/2014/main" id="{0C14F3EA-29DE-4135-B1CF-DB39D859A514}"/>
              </a:ext>
            </a:extLst>
          </p:cNvPr>
          <p:cNvGrpSpPr/>
          <p:nvPr/>
        </p:nvGrpSpPr>
        <p:grpSpPr bwMode="gray">
          <a:xfrm>
            <a:off x="8209968" y="3637388"/>
            <a:ext cx="362354" cy="372190"/>
            <a:chOff x="-16246475" y="1563688"/>
            <a:chExt cx="701675" cy="720725"/>
          </a:xfrm>
          <a:solidFill>
            <a:schemeClr val="bg1"/>
          </a:solidFill>
        </p:grpSpPr>
        <p:sp>
          <p:nvSpPr>
            <p:cNvPr id="121" name="Freeform 81">
              <a:extLst>
                <a:ext uri="{FF2B5EF4-FFF2-40B4-BE49-F238E27FC236}">
                  <a16:creationId xmlns:a16="http://schemas.microsoft.com/office/drawing/2014/main" id="{7894F3AC-C42B-49C0-94B8-62DF10325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2">
              <a:extLst>
                <a:ext uri="{FF2B5EF4-FFF2-40B4-BE49-F238E27FC236}">
                  <a16:creationId xmlns:a16="http://schemas.microsoft.com/office/drawing/2014/main" id="{0A170C37-853C-4A5D-A421-35A0B97A75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Freeform 47">
            <a:extLst>
              <a:ext uri="{FF2B5EF4-FFF2-40B4-BE49-F238E27FC236}">
                <a16:creationId xmlns:a16="http://schemas.microsoft.com/office/drawing/2014/main" id="{DA1FD08E-1B8F-4D25-96F9-987E35946207}"/>
              </a:ext>
            </a:extLst>
          </p:cNvPr>
          <p:cNvSpPr>
            <a:spLocks noEditPoints="1"/>
          </p:cNvSpPr>
          <p:nvPr/>
        </p:nvSpPr>
        <p:spPr bwMode="gray">
          <a:xfrm>
            <a:off x="6974523" y="2993212"/>
            <a:ext cx="263146" cy="331754"/>
          </a:xfrm>
          <a:custGeom>
            <a:avLst/>
            <a:gdLst>
              <a:gd name="T0" fmla="*/ 16 w 128"/>
              <a:gd name="T1" fmla="*/ 132 h 162"/>
              <a:gd name="T2" fmla="*/ 20 w 128"/>
              <a:gd name="T3" fmla="*/ 140 h 162"/>
              <a:gd name="T4" fmla="*/ 19 w 128"/>
              <a:gd name="T5" fmla="*/ 137 h 162"/>
              <a:gd name="T6" fmla="*/ 94 w 128"/>
              <a:gd name="T7" fmla="*/ 46 h 162"/>
              <a:gd name="T8" fmla="*/ 83 w 128"/>
              <a:gd name="T9" fmla="*/ 0 h 162"/>
              <a:gd name="T10" fmla="*/ 0 w 128"/>
              <a:gd name="T11" fmla="*/ 9 h 162"/>
              <a:gd name="T12" fmla="*/ 7 w 128"/>
              <a:gd name="T13" fmla="*/ 162 h 162"/>
              <a:gd name="T14" fmla="*/ 128 w 128"/>
              <a:gd name="T15" fmla="*/ 153 h 162"/>
              <a:gd name="T16" fmla="*/ 94 w 128"/>
              <a:gd name="T17" fmla="*/ 46 h 162"/>
              <a:gd name="T18" fmla="*/ 20 w 128"/>
              <a:gd name="T19" fmla="*/ 59 h 162"/>
              <a:gd name="T20" fmla="*/ 43 w 128"/>
              <a:gd name="T21" fmla="*/ 65 h 162"/>
              <a:gd name="T22" fmla="*/ 37 w 128"/>
              <a:gd name="T23" fmla="*/ 89 h 162"/>
              <a:gd name="T24" fmla="*/ 14 w 128"/>
              <a:gd name="T25" fmla="*/ 83 h 162"/>
              <a:gd name="T26" fmla="*/ 42 w 128"/>
              <a:gd name="T27" fmla="*/ 115 h 162"/>
              <a:gd name="T28" fmla="*/ 43 w 128"/>
              <a:gd name="T29" fmla="*/ 137 h 162"/>
              <a:gd name="T30" fmla="*/ 20 w 128"/>
              <a:gd name="T31" fmla="*/ 143 h 162"/>
              <a:gd name="T32" fmla="*/ 14 w 128"/>
              <a:gd name="T33" fmla="*/ 128 h 162"/>
              <a:gd name="T34" fmla="*/ 14 w 128"/>
              <a:gd name="T35" fmla="*/ 126 h 162"/>
              <a:gd name="T36" fmla="*/ 20 w 128"/>
              <a:gd name="T37" fmla="*/ 113 h 162"/>
              <a:gd name="T38" fmla="*/ 39 w 128"/>
              <a:gd name="T39" fmla="*/ 114 h 162"/>
              <a:gd name="T40" fmla="*/ 52 w 128"/>
              <a:gd name="T41" fmla="*/ 106 h 162"/>
              <a:gd name="T42" fmla="*/ 109 w 128"/>
              <a:gd name="T43" fmla="*/ 139 h 162"/>
              <a:gd name="T44" fmla="*/ 58 w 128"/>
              <a:gd name="T45" fmla="*/ 118 h 162"/>
              <a:gd name="T46" fmla="*/ 109 w 128"/>
              <a:gd name="T47" fmla="*/ 139 h 162"/>
              <a:gd name="T48" fmla="*/ 58 w 128"/>
              <a:gd name="T49" fmla="*/ 85 h 162"/>
              <a:gd name="T50" fmla="*/ 109 w 128"/>
              <a:gd name="T51" fmla="*/ 63 h 162"/>
              <a:gd name="T52" fmla="*/ 94 w 128"/>
              <a:gd name="T53" fmla="*/ 41 h 162"/>
              <a:gd name="T54" fmla="*/ 88 w 128"/>
              <a:gd name="T55" fmla="*/ 5 h 162"/>
              <a:gd name="T56" fmla="*/ 94 w 128"/>
              <a:gd name="T57" fmla="*/ 41 h 162"/>
              <a:gd name="T58" fmla="*/ 37 w 128"/>
              <a:gd name="T59" fmla="*/ 86 h 162"/>
              <a:gd name="T60" fmla="*/ 40 w 128"/>
              <a:gd name="T61" fmla="*/ 65 h 162"/>
              <a:gd name="T62" fmla="*/ 20 w 128"/>
              <a:gd name="T63" fmla="*/ 62 h 162"/>
              <a:gd name="T64" fmla="*/ 16 w 128"/>
              <a:gd name="T65" fmla="*/ 83 h 162"/>
              <a:gd name="T66" fmla="*/ 38 w 128"/>
              <a:gd name="T67" fmla="*/ 120 h 162"/>
              <a:gd name="T68" fmla="*/ 24 w 128"/>
              <a:gd name="T69" fmla="*/ 139 h 162"/>
              <a:gd name="T70" fmla="*/ 37 w 128"/>
              <a:gd name="T71" fmla="*/ 140 h 162"/>
              <a:gd name="T72" fmla="*/ 40 w 128"/>
              <a:gd name="T73" fmla="*/ 119 h 162"/>
              <a:gd name="T74" fmla="*/ 38 w 128"/>
              <a:gd name="T75" fmla="*/ 120 h 162"/>
              <a:gd name="T76" fmla="*/ 20 w 128"/>
              <a:gd name="T77" fmla="*/ 116 h 162"/>
              <a:gd name="T78" fmla="*/ 16 w 128"/>
              <a:gd name="T79" fmla="*/ 124 h 162"/>
              <a:gd name="T80" fmla="*/ 22 w 128"/>
              <a:gd name="T81" fmla="*/ 130 h 162"/>
              <a:gd name="T82" fmla="*/ 36 w 128"/>
              <a:gd name="T83" fmla="*/ 11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8" h="162">
                <a:moveTo>
                  <a:pt x="18" y="136"/>
                </a:moveTo>
                <a:cubicBezTo>
                  <a:pt x="18" y="134"/>
                  <a:pt x="17" y="133"/>
                  <a:pt x="16" y="132"/>
                </a:cubicBezTo>
                <a:cubicBezTo>
                  <a:pt x="16" y="137"/>
                  <a:pt x="16" y="137"/>
                  <a:pt x="16" y="137"/>
                </a:cubicBezTo>
                <a:cubicBezTo>
                  <a:pt x="16" y="139"/>
                  <a:pt x="18" y="140"/>
                  <a:pt x="20" y="140"/>
                </a:cubicBezTo>
                <a:cubicBezTo>
                  <a:pt x="20" y="140"/>
                  <a:pt x="20" y="140"/>
                  <a:pt x="20" y="140"/>
                </a:cubicBezTo>
                <a:cubicBezTo>
                  <a:pt x="20" y="140"/>
                  <a:pt x="19" y="139"/>
                  <a:pt x="19" y="137"/>
                </a:cubicBezTo>
                <a:cubicBezTo>
                  <a:pt x="18" y="136"/>
                  <a:pt x="18" y="136"/>
                  <a:pt x="18" y="136"/>
                </a:cubicBezTo>
                <a:close/>
                <a:moveTo>
                  <a:pt x="94" y="46"/>
                </a:moveTo>
                <a:cubicBezTo>
                  <a:pt x="88" y="46"/>
                  <a:pt x="83" y="41"/>
                  <a:pt x="83" y="33"/>
                </a:cubicBezTo>
                <a:cubicBezTo>
                  <a:pt x="83" y="33"/>
                  <a:pt x="83" y="3"/>
                  <a:pt x="83" y="0"/>
                </a:cubicBezTo>
                <a:cubicBezTo>
                  <a:pt x="81" y="0"/>
                  <a:pt x="7" y="0"/>
                  <a:pt x="7" y="0"/>
                </a:cubicBezTo>
                <a:cubicBezTo>
                  <a:pt x="2" y="0"/>
                  <a:pt x="0" y="4"/>
                  <a:pt x="0" y="9"/>
                </a:cubicBezTo>
                <a:cubicBezTo>
                  <a:pt x="0" y="9"/>
                  <a:pt x="0" y="9"/>
                  <a:pt x="0" y="153"/>
                </a:cubicBezTo>
                <a:cubicBezTo>
                  <a:pt x="0" y="158"/>
                  <a:pt x="2" y="162"/>
                  <a:pt x="7" y="162"/>
                </a:cubicBezTo>
                <a:cubicBezTo>
                  <a:pt x="7" y="162"/>
                  <a:pt x="7" y="162"/>
                  <a:pt x="121" y="162"/>
                </a:cubicBezTo>
                <a:cubicBezTo>
                  <a:pt x="125" y="162"/>
                  <a:pt x="128" y="158"/>
                  <a:pt x="128" y="153"/>
                </a:cubicBezTo>
                <a:cubicBezTo>
                  <a:pt x="128" y="153"/>
                  <a:pt x="128" y="48"/>
                  <a:pt x="128" y="46"/>
                </a:cubicBezTo>
                <a:cubicBezTo>
                  <a:pt x="126" y="46"/>
                  <a:pt x="94" y="46"/>
                  <a:pt x="94" y="46"/>
                </a:cubicBezTo>
                <a:close/>
                <a:moveTo>
                  <a:pt x="14" y="65"/>
                </a:moveTo>
                <a:cubicBezTo>
                  <a:pt x="14" y="62"/>
                  <a:pt x="16" y="59"/>
                  <a:pt x="20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41" y="59"/>
                  <a:pt x="43" y="62"/>
                  <a:pt x="43" y="65"/>
                </a:cubicBezTo>
                <a:cubicBezTo>
                  <a:pt x="43" y="83"/>
                  <a:pt x="43" y="83"/>
                  <a:pt x="43" y="83"/>
                </a:cubicBezTo>
                <a:cubicBezTo>
                  <a:pt x="43" y="86"/>
                  <a:pt x="41" y="89"/>
                  <a:pt x="37" y="89"/>
                </a:cubicBezTo>
                <a:cubicBezTo>
                  <a:pt x="20" y="89"/>
                  <a:pt x="20" y="89"/>
                  <a:pt x="20" y="89"/>
                </a:cubicBezTo>
                <a:cubicBezTo>
                  <a:pt x="16" y="89"/>
                  <a:pt x="14" y="86"/>
                  <a:pt x="14" y="83"/>
                </a:cubicBezTo>
                <a:lnTo>
                  <a:pt x="14" y="65"/>
                </a:lnTo>
                <a:close/>
                <a:moveTo>
                  <a:pt x="42" y="115"/>
                </a:moveTo>
                <a:cubicBezTo>
                  <a:pt x="43" y="116"/>
                  <a:pt x="43" y="118"/>
                  <a:pt x="43" y="119"/>
                </a:cubicBezTo>
                <a:cubicBezTo>
                  <a:pt x="43" y="137"/>
                  <a:pt x="43" y="137"/>
                  <a:pt x="43" y="137"/>
                </a:cubicBezTo>
                <a:cubicBezTo>
                  <a:pt x="43" y="141"/>
                  <a:pt x="41" y="143"/>
                  <a:pt x="37" y="143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16" y="143"/>
                  <a:pt x="14" y="141"/>
                  <a:pt x="14" y="137"/>
                </a:cubicBezTo>
                <a:cubicBezTo>
                  <a:pt x="14" y="128"/>
                  <a:pt x="14" y="128"/>
                  <a:pt x="14" y="128"/>
                </a:cubicBezTo>
                <a:cubicBezTo>
                  <a:pt x="13" y="128"/>
                  <a:pt x="12" y="127"/>
                  <a:pt x="12" y="127"/>
                </a:cubicBezTo>
                <a:cubicBezTo>
                  <a:pt x="12" y="127"/>
                  <a:pt x="13" y="126"/>
                  <a:pt x="14" y="126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4" y="116"/>
                  <a:pt x="16" y="113"/>
                  <a:pt x="20" y="113"/>
                </a:cubicBezTo>
                <a:cubicBezTo>
                  <a:pt x="37" y="113"/>
                  <a:pt x="37" y="113"/>
                  <a:pt x="37" y="113"/>
                </a:cubicBezTo>
                <a:cubicBezTo>
                  <a:pt x="38" y="113"/>
                  <a:pt x="38" y="113"/>
                  <a:pt x="39" y="114"/>
                </a:cubicBezTo>
                <a:cubicBezTo>
                  <a:pt x="43" y="110"/>
                  <a:pt x="47" y="106"/>
                  <a:pt x="50" y="104"/>
                </a:cubicBezTo>
                <a:cubicBezTo>
                  <a:pt x="52" y="106"/>
                  <a:pt x="52" y="106"/>
                  <a:pt x="52" y="106"/>
                </a:cubicBezTo>
                <a:cubicBezTo>
                  <a:pt x="49" y="108"/>
                  <a:pt x="45" y="111"/>
                  <a:pt x="42" y="115"/>
                </a:cubicBezTo>
                <a:close/>
                <a:moveTo>
                  <a:pt x="109" y="139"/>
                </a:moveTo>
                <a:cubicBezTo>
                  <a:pt x="58" y="139"/>
                  <a:pt x="58" y="139"/>
                  <a:pt x="58" y="139"/>
                </a:cubicBezTo>
                <a:cubicBezTo>
                  <a:pt x="58" y="118"/>
                  <a:pt x="58" y="118"/>
                  <a:pt x="58" y="118"/>
                </a:cubicBezTo>
                <a:cubicBezTo>
                  <a:pt x="109" y="118"/>
                  <a:pt x="109" y="118"/>
                  <a:pt x="109" y="118"/>
                </a:cubicBezTo>
                <a:lnTo>
                  <a:pt x="109" y="139"/>
                </a:lnTo>
                <a:close/>
                <a:moveTo>
                  <a:pt x="109" y="85"/>
                </a:moveTo>
                <a:cubicBezTo>
                  <a:pt x="58" y="85"/>
                  <a:pt x="58" y="85"/>
                  <a:pt x="58" y="85"/>
                </a:cubicBezTo>
                <a:cubicBezTo>
                  <a:pt x="58" y="63"/>
                  <a:pt x="58" y="63"/>
                  <a:pt x="58" y="63"/>
                </a:cubicBezTo>
                <a:cubicBezTo>
                  <a:pt x="109" y="63"/>
                  <a:pt x="109" y="63"/>
                  <a:pt x="109" y="63"/>
                </a:cubicBezTo>
                <a:lnTo>
                  <a:pt x="109" y="85"/>
                </a:lnTo>
                <a:close/>
                <a:moveTo>
                  <a:pt x="94" y="41"/>
                </a:moveTo>
                <a:cubicBezTo>
                  <a:pt x="94" y="41"/>
                  <a:pt x="119" y="41"/>
                  <a:pt x="124" y="41"/>
                </a:cubicBezTo>
                <a:cubicBezTo>
                  <a:pt x="88" y="5"/>
                  <a:pt x="88" y="5"/>
                  <a:pt x="88" y="5"/>
                </a:cubicBezTo>
                <a:cubicBezTo>
                  <a:pt x="88" y="10"/>
                  <a:pt x="88" y="33"/>
                  <a:pt x="88" y="33"/>
                </a:cubicBezTo>
                <a:cubicBezTo>
                  <a:pt x="88" y="38"/>
                  <a:pt x="91" y="41"/>
                  <a:pt x="94" y="41"/>
                </a:cubicBezTo>
                <a:close/>
                <a:moveTo>
                  <a:pt x="2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39" y="86"/>
                  <a:pt x="40" y="85"/>
                  <a:pt x="40" y="83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3"/>
                  <a:pt x="39" y="62"/>
                  <a:pt x="37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18" y="62"/>
                  <a:pt x="16" y="63"/>
                  <a:pt x="16" y="65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5"/>
                  <a:pt x="18" y="86"/>
                  <a:pt x="20" y="86"/>
                </a:cubicBezTo>
                <a:close/>
                <a:moveTo>
                  <a:pt x="38" y="120"/>
                </a:moveTo>
                <a:cubicBezTo>
                  <a:pt x="33" y="126"/>
                  <a:pt x="29" y="132"/>
                  <a:pt x="26" y="138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4" y="140"/>
                  <a:pt x="23" y="140"/>
                  <a:pt x="23" y="140"/>
                </a:cubicBezTo>
                <a:cubicBezTo>
                  <a:pt x="37" y="140"/>
                  <a:pt x="37" y="140"/>
                  <a:pt x="37" y="140"/>
                </a:cubicBezTo>
                <a:cubicBezTo>
                  <a:pt x="39" y="140"/>
                  <a:pt x="40" y="139"/>
                  <a:pt x="40" y="137"/>
                </a:cubicBezTo>
                <a:cubicBezTo>
                  <a:pt x="40" y="119"/>
                  <a:pt x="40" y="119"/>
                  <a:pt x="40" y="119"/>
                </a:cubicBezTo>
                <a:cubicBezTo>
                  <a:pt x="40" y="119"/>
                  <a:pt x="40" y="118"/>
                  <a:pt x="40" y="118"/>
                </a:cubicBezTo>
                <a:cubicBezTo>
                  <a:pt x="39" y="118"/>
                  <a:pt x="39" y="119"/>
                  <a:pt x="38" y="120"/>
                </a:cubicBezTo>
                <a:close/>
                <a:moveTo>
                  <a:pt x="36" y="116"/>
                </a:moveTo>
                <a:cubicBezTo>
                  <a:pt x="20" y="116"/>
                  <a:pt x="20" y="116"/>
                  <a:pt x="20" y="116"/>
                </a:cubicBezTo>
                <a:cubicBezTo>
                  <a:pt x="18" y="116"/>
                  <a:pt x="16" y="118"/>
                  <a:pt x="16" y="119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9" y="124"/>
                  <a:pt x="21" y="126"/>
                  <a:pt x="22" y="130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6" y="126"/>
                  <a:pt x="31" y="121"/>
                  <a:pt x="36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myP_Data tool">
            <a:extLst>
              <a:ext uri="{FF2B5EF4-FFF2-40B4-BE49-F238E27FC236}">
                <a16:creationId xmlns:a16="http://schemas.microsoft.com/office/drawing/2014/main" id="{D21FA75F-E9AC-4F20-83E0-A8AE4E36331F}"/>
              </a:ext>
            </a:extLst>
          </p:cNvPr>
          <p:cNvSpPr>
            <a:spLocks noEditPoints="1"/>
          </p:cNvSpPr>
          <p:nvPr/>
        </p:nvSpPr>
        <p:spPr bwMode="auto">
          <a:xfrm>
            <a:off x="5632183" y="3640298"/>
            <a:ext cx="343292" cy="353844"/>
          </a:xfrm>
          <a:custGeom>
            <a:avLst/>
            <a:gdLst>
              <a:gd name="T0" fmla="*/ 770 w 891"/>
              <a:gd name="T1" fmla="*/ 485 h 914"/>
              <a:gd name="T2" fmla="*/ 799 w 891"/>
              <a:gd name="T3" fmla="*/ 675 h 914"/>
              <a:gd name="T4" fmla="*/ 883 w 891"/>
              <a:gd name="T5" fmla="*/ 817 h 914"/>
              <a:gd name="T6" fmla="*/ 683 w 891"/>
              <a:gd name="T7" fmla="*/ 828 h 914"/>
              <a:gd name="T8" fmla="*/ 766 w 891"/>
              <a:gd name="T9" fmla="*/ 661 h 914"/>
              <a:gd name="T10" fmla="*/ 744 w 891"/>
              <a:gd name="T11" fmla="*/ 519 h 914"/>
              <a:gd name="T12" fmla="*/ 576 w 891"/>
              <a:gd name="T13" fmla="*/ 540 h 914"/>
              <a:gd name="T14" fmla="*/ 542 w 891"/>
              <a:gd name="T15" fmla="*/ 635 h 914"/>
              <a:gd name="T16" fmla="*/ 460 w 891"/>
              <a:gd name="T17" fmla="*/ 654 h 914"/>
              <a:gd name="T18" fmla="*/ 486 w 891"/>
              <a:gd name="T19" fmla="*/ 708 h 914"/>
              <a:gd name="T20" fmla="*/ 438 w 891"/>
              <a:gd name="T21" fmla="*/ 903 h 914"/>
              <a:gd name="T22" fmla="*/ 407 w 891"/>
              <a:gd name="T23" fmla="*/ 705 h 914"/>
              <a:gd name="T24" fmla="*/ 426 w 891"/>
              <a:gd name="T25" fmla="*/ 658 h 914"/>
              <a:gd name="T26" fmla="*/ 342 w 891"/>
              <a:gd name="T27" fmla="*/ 635 h 914"/>
              <a:gd name="T28" fmla="*/ 310 w 891"/>
              <a:gd name="T29" fmla="*/ 537 h 914"/>
              <a:gd name="T30" fmla="*/ 148 w 891"/>
              <a:gd name="T31" fmla="*/ 519 h 914"/>
              <a:gd name="T32" fmla="*/ 132 w 891"/>
              <a:gd name="T33" fmla="*/ 683 h 914"/>
              <a:gd name="T34" fmla="*/ 219 w 891"/>
              <a:gd name="T35" fmla="*/ 805 h 914"/>
              <a:gd name="T36" fmla="*/ 18 w 891"/>
              <a:gd name="T37" fmla="*/ 834 h 914"/>
              <a:gd name="T38" fmla="*/ 98 w 891"/>
              <a:gd name="T39" fmla="*/ 674 h 914"/>
              <a:gd name="T40" fmla="*/ 132 w 891"/>
              <a:gd name="T41" fmla="*/ 485 h 914"/>
              <a:gd name="T42" fmla="*/ 310 w 891"/>
              <a:gd name="T43" fmla="*/ 463 h 914"/>
              <a:gd name="T44" fmla="*/ 351 w 891"/>
              <a:gd name="T45" fmla="*/ 369 h 914"/>
              <a:gd name="T46" fmla="*/ 426 w 891"/>
              <a:gd name="T47" fmla="*/ 352 h 914"/>
              <a:gd name="T48" fmla="*/ 276 w 891"/>
              <a:gd name="T49" fmla="*/ 303 h 914"/>
              <a:gd name="T50" fmla="*/ 284 w 891"/>
              <a:gd name="T51" fmla="*/ 113 h 914"/>
              <a:gd name="T52" fmla="*/ 502 w 891"/>
              <a:gd name="T53" fmla="*/ 59 h 914"/>
              <a:gd name="T54" fmla="*/ 635 w 891"/>
              <a:gd name="T55" fmla="*/ 126 h 914"/>
              <a:gd name="T56" fmla="*/ 694 w 891"/>
              <a:gd name="T57" fmla="*/ 240 h 914"/>
              <a:gd name="T58" fmla="*/ 480 w 891"/>
              <a:gd name="T59" fmla="*/ 303 h 914"/>
              <a:gd name="T60" fmla="*/ 504 w 891"/>
              <a:gd name="T61" fmla="*/ 369 h 914"/>
              <a:gd name="T62" fmla="*/ 576 w 891"/>
              <a:gd name="T63" fmla="*/ 398 h 914"/>
              <a:gd name="T64" fmla="*/ 598 w 891"/>
              <a:gd name="T65" fmla="*/ 485 h 914"/>
              <a:gd name="T66" fmla="*/ 440 w 891"/>
              <a:gd name="T67" fmla="*/ 261 h 914"/>
              <a:gd name="T68" fmla="*/ 633 w 891"/>
              <a:gd name="T69" fmla="*/ 254 h 914"/>
              <a:gd name="T70" fmla="*/ 622 w 891"/>
              <a:gd name="T71" fmla="*/ 182 h 914"/>
              <a:gd name="T72" fmla="*/ 576 w 891"/>
              <a:gd name="T73" fmla="*/ 112 h 914"/>
              <a:gd name="T74" fmla="*/ 534 w 891"/>
              <a:gd name="T75" fmla="*/ 135 h 914"/>
              <a:gd name="T76" fmla="*/ 511 w 891"/>
              <a:gd name="T77" fmla="*/ 170 h 914"/>
              <a:gd name="T78" fmla="*/ 489 w 891"/>
              <a:gd name="T79" fmla="*/ 130 h 914"/>
              <a:gd name="T80" fmla="*/ 339 w 891"/>
              <a:gd name="T81" fmla="*/ 140 h 914"/>
              <a:gd name="T82" fmla="*/ 285 w 891"/>
              <a:gd name="T83" fmla="*/ 159 h 914"/>
              <a:gd name="T84" fmla="*/ 282 w 891"/>
              <a:gd name="T85" fmla="*/ 260 h 914"/>
              <a:gd name="T86" fmla="*/ 354 w 891"/>
              <a:gd name="T87" fmla="*/ 500 h 914"/>
              <a:gd name="T88" fmla="*/ 373 w 891"/>
              <a:gd name="T89" fmla="*/ 593 h 914"/>
              <a:gd name="T90" fmla="*/ 533 w 891"/>
              <a:gd name="T91" fmla="*/ 577 h 914"/>
              <a:gd name="T92" fmla="*/ 517 w 891"/>
              <a:gd name="T93" fmla="*/ 411 h 914"/>
              <a:gd name="T94" fmla="*/ 354 w 891"/>
              <a:gd name="T95" fmla="*/ 428 h 914"/>
              <a:gd name="T96" fmla="*/ 444 w 891"/>
              <a:gd name="T97" fmla="*/ 742 h 914"/>
              <a:gd name="T98" fmla="*/ 443 w 891"/>
              <a:gd name="T99" fmla="*/ 860 h 914"/>
              <a:gd name="T100" fmla="*/ 444 w 891"/>
              <a:gd name="T101" fmla="*/ 742 h 914"/>
              <a:gd name="T102" fmla="*/ 56 w 891"/>
              <a:gd name="T103" fmla="*/ 800 h 914"/>
              <a:gd name="T104" fmla="*/ 174 w 891"/>
              <a:gd name="T105" fmla="*/ 799 h 914"/>
              <a:gd name="T106" fmla="*/ 723 w 891"/>
              <a:gd name="T107" fmla="*/ 801 h 914"/>
              <a:gd name="T108" fmla="*/ 841 w 891"/>
              <a:gd name="T109" fmla="*/ 800 h 914"/>
              <a:gd name="T110" fmla="*/ 723 w 891"/>
              <a:gd name="T111" fmla="*/ 801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91" h="914">
                <a:moveTo>
                  <a:pt x="684" y="485"/>
                </a:moveTo>
                <a:cubicBezTo>
                  <a:pt x="712" y="485"/>
                  <a:pt x="741" y="485"/>
                  <a:pt x="770" y="485"/>
                </a:cubicBezTo>
                <a:cubicBezTo>
                  <a:pt x="794" y="485"/>
                  <a:pt x="799" y="490"/>
                  <a:pt x="799" y="515"/>
                </a:cubicBezTo>
                <a:cubicBezTo>
                  <a:pt x="799" y="568"/>
                  <a:pt x="799" y="621"/>
                  <a:pt x="799" y="675"/>
                </a:cubicBezTo>
                <a:cubicBezTo>
                  <a:pt x="798" y="691"/>
                  <a:pt x="802" y="699"/>
                  <a:pt x="819" y="705"/>
                </a:cubicBezTo>
                <a:cubicBezTo>
                  <a:pt x="865" y="721"/>
                  <a:pt x="891" y="768"/>
                  <a:pt x="883" y="817"/>
                </a:cubicBezTo>
                <a:cubicBezTo>
                  <a:pt x="876" y="863"/>
                  <a:pt x="835" y="901"/>
                  <a:pt x="788" y="903"/>
                </a:cubicBezTo>
                <a:cubicBezTo>
                  <a:pt x="740" y="906"/>
                  <a:pt x="695" y="874"/>
                  <a:pt x="683" y="828"/>
                </a:cubicBezTo>
                <a:cubicBezTo>
                  <a:pt x="670" y="780"/>
                  <a:pt x="690" y="728"/>
                  <a:pt x="736" y="710"/>
                </a:cubicBezTo>
                <a:cubicBezTo>
                  <a:pt x="762" y="699"/>
                  <a:pt x="767" y="685"/>
                  <a:pt x="766" y="661"/>
                </a:cubicBezTo>
                <a:cubicBezTo>
                  <a:pt x="764" y="621"/>
                  <a:pt x="765" y="581"/>
                  <a:pt x="765" y="541"/>
                </a:cubicBezTo>
                <a:cubicBezTo>
                  <a:pt x="766" y="525"/>
                  <a:pt x="761" y="518"/>
                  <a:pt x="744" y="519"/>
                </a:cubicBezTo>
                <a:cubicBezTo>
                  <a:pt x="695" y="520"/>
                  <a:pt x="646" y="520"/>
                  <a:pt x="596" y="519"/>
                </a:cubicBezTo>
                <a:cubicBezTo>
                  <a:pt x="579" y="518"/>
                  <a:pt x="576" y="525"/>
                  <a:pt x="576" y="540"/>
                </a:cubicBezTo>
                <a:cubicBezTo>
                  <a:pt x="577" y="560"/>
                  <a:pt x="577" y="581"/>
                  <a:pt x="577" y="602"/>
                </a:cubicBezTo>
                <a:cubicBezTo>
                  <a:pt x="576" y="631"/>
                  <a:pt x="571" y="635"/>
                  <a:pt x="542" y="635"/>
                </a:cubicBezTo>
                <a:cubicBezTo>
                  <a:pt x="521" y="635"/>
                  <a:pt x="500" y="636"/>
                  <a:pt x="478" y="635"/>
                </a:cubicBezTo>
                <a:cubicBezTo>
                  <a:pt x="464" y="635"/>
                  <a:pt x="458" y="640"/>
                  <a:pt x="460" y="654"/>
                </a:cubicBezTo>
                <a:cubicBezTo>
                  <a:pt x="460" y="658"/>
                  <a:pt x="460" y="662"/>
                  <a:pt x="460" y="666"/>
                </a:cubicBezTo>
                <a:cubicBezTo>
                  <a:pt x="456" y="688"/>
                  <a:pt x="464" y="699"/>
                  <a:pt x="486" y="708"/>
                </a:cubicBezTo>
                <a:cubicBezTo>
                  <a:pt x="533" y="727"/>
                  <a:pt x="555" y="778"/>
                  <a:pt x="543" y="827"/>
                </a:cubicBezTo>
                <a:cubicBezTo>
                  <a:pt x="531" y="873"/>
                  <a:pt x="486" y="905"/>
                  <a:pt x="438" y="903"/>
                </a:cubicBezTo>
                <a:cubicBezTo>
                  <a:pt x="391" y="901"/>
                  <a:pt x="350" y="864"/>
                  <a:pt x="342" y="818"/>
                </a:cubicBezTo>
                <a:cubicBezTo>
                  <a:pt x="334" y="770"/>
                  <a:pt x="360" y="721"/>
                  <a:pt x="407" y="705"/>
                </a:cubicBezTo>
                <a:cubicBezTo>
                  <a:pt x="421" y="700"/>
                  <a:pt x="428" y="693"/>
                  <a:pt x="426" y="678"/>
                </a:cubicBezTo>
                <a:cubicBezTo>
                  <a:pt x="425" y="671"/>
                  <a:pt x="425" y="665"/>
                  <a:pt x="426" y="658"/>
                </a:cubicBezTo>
                <a:cubicBezTo>
                  <a:pt x="428" y="641"/>
                  <a:pt x="421" y="634"/>
                  <a:pt x="403" y="635"/>
                </a:cubicBezTo>
                <a:cubicBezTo>
                  <a:pt x="383" y="636"/>
                  <a:pt x="362" y="636"/>
                  <a:pt x="342" y="635"/>
                </a:cubicBezTo>
                <a:cubicBezTo>
                  <a:pt x="317" y="635"/>
                  <a:pt x="310" y="628"/>
                  <a:pt x="310" y="603"/>
                </a:cubicBezTo>
                <a:cubicBezTo>
                  <a:pt x="309" y="581"/>
                  <a:pt x="309" y="559"/>
                  <a:pt x="310" y="537"/>
                </a:cubicBezTo>
                <a:cubicBezTo>
                  <a:pt x="310" y="524"/>
                  <a:pt x="305" y="519"/>
                  <a:pt x="292" y="519"/>
                </a:cubicBezTo>
                <a:cubicBezTo>
                  <a:pt x="244" y="519"/>
                  <a:pt x="196" y="519"/>
                  <a:pt x="148" y="519"/>
                </a:cubicBezTo>
                <a:cubicBezTo>
                  <a:pt x="136" y="519"/>
                  <a:pt x="132" y="523"/>
                  <a:pt x="132" y="535"/>
                </a:cubicBezTo>
                <a:cubicBezTo>
                  <a:pt x="132" y="585"/>
                  <a:pt x="132" y="634"/>
                  <a:pt x="132" y="683"/>
                </a:cubicBezTo>
                <a:cubicBezTo>
                  <a:pt x="131" y="698"/>
                  <a:pt x="141" y="700"/>
                  <a:pt x="151" y="704"/>
                </a:cubicBezTo>
                <a:cubicBezTo>
                  <a:pt x="193" y="721"/>
                  <a:pt x="221" y="762"/>
                  <a:pt x="219" y="805"/>
                </a:cubicBezTo>
                <a:cubicBezTo>
                  <a:pt x="216" y="849"/>
                  <a:pt x="186" y="887"/>
                  <a:pt x="143" y="899"/>
                </a:cubicBezTo>
                <a:cubicBezTo>
                  <a:pt x="91" y="914"/>
                  <a:pt x="36" y="886"/>
                  <a:pt x="18" y="834"/>
                </a:cubicBezTo>
                <a:cubicBezTo>
                  <a:pt x="0" y="782"/>
                  <a:pt x="26" y="724"/>
                  <a:pt x="77" y="706"/>
                </a:cubicBezTo>
                <a:cubicBezTo>
                  <a:pt x="94" y="699"/>
                  <a:pt x="99" y="691"/>
                  <a:pt x="98" y="674"/>
                </a:cubicBezTo>
                <a:cubicBezTo>
                  <a:pt x="97" y="622"/>
                  <a:pt x="98" y="570"/>
                  <a:pt x="98" y="518"/>
                </a:cubicBezTo>
                <a:cubicBezTo>
                  <a:pt x="98" y="489"/>
                  <a:pt x="103" y="485"/>
                  <a:pt x="132" y="485"/>
                </a:cubicBezTo>
                <a:cubicBezTo>
                  <a:pt x="184" y="485"/>
                  <a:pt x="236" y="484"/>
                  <a:pt x="288" y="485"/>
                </a:cubicBezTo>
                <a:cubicBezTo>
                  <a:pt x="305" y="486"/>
                  <a:pt x="311" y="480"/>
                  <a:pt x="310" y="463"/>
                </a:cubicBezTo>
                <a:cubicBezTo>
                  <a:pt x="309" y="446"/>
                  <a:pt x="309" y="428"/>
                  <a:pt x="310" y="410"/>
                </a:cubicBezTo>
                <a:cubicBezTo>
                  <a:pt x="310" y="373"/>
                  <a:pt x="314" y="369"/>
                  <a:pt x="351" y="369"/>
                </a:cubicBezTo>
                <a:cubicBezTo>
                  <a:pt x="371" y="369"/>
                  <a:pt x="390" y="368"/>
                  <a:pt x="409" y="369"/>
                </a:cubicBezTo>
                <a:cubicBezTo>
                  <a:pt x="421" y="369"/>
                  <a:pt x="426" y="364"/>
                  <a:pt x="426" y="352"/>
                </a:cubicBezTo>
                <a:cubicBezTo>
                  <a:pt x="426" y="292"/>
                  <a:pt x="432" y="304"/>
                  <a:pt x="380" y="303"/>
                </a:cubicBezTo>
                <a:cubicBezTo>
                  <a:pt x="345" y="303"/>
                  <a:pt x="311" y="303"/>
                  <a:pt x="276" y="303"/>
                </a:cubicBezTo>
                <a:cubicBezTo>
                  <a:pt x="223" y="303"/>
                  <a:pt x="189" y="270"/>
                  <a:pt x="190" y="217"/>
                </a:cubicBezTo>
                <a:cubicBezTo>
                  <a:pt x="191" y="158"/>
                  <a:pt x="229" y="113"/>
                  <a:pt x="284" y="113"/>
                </a:cubicBezTo>
                <a:cubicBezTo>
                  <a:pt x="295" y="113"/>
                  <a:pt x="299" y="108"/>
                  <a:pt x="302" y="99"/>
                </a:cubicBezTo>
                <a:cubicBezTo>
                  <a:pt x="330" y="19"/>
                  <a:pt x="443" y="0"/>
                  <a:pt x="502" y="59"/>
                </a:cubicBezTo>
                <a:cubicBezTo>
                  <a:pt x="510" y="68"/>
                  <a:pt x="516" y="70"/>
                  <a:pt x="529" y="66"/>
                </a:cubicBezTo>
                <a:cubicBezTo>
                  <a:pt x="576" y="50"/>
                  <a:pt x="623" y="77"/>
                  <a:pt x="635" y="126"/>
                </a:cubicBezTo>
                <a:cubicBezTo>
                  <a:pt x="637" y="135"/>
                  <a:pt x="641" y="139"/>
                  <a:pt x="649" y="143"/>
                </a:cubicBezTo>
                <a:cubicBezTo>
                  <a:pt x="686" y="162"/>
                  <a:pt x="703" y="200"/>
                  <a:pt x="694" y="240"/>
                </a:cubicBezTo>
                <a:cubicBezTo>
                  <a:pt x="686" y="278"/>
                  <a:pt x="654" y="302"/>
                  <a:pt x="612" y="303"/>
                </a:cubicBezTo>
                <a:cubicBezTo>
                  <a:pt x="568" y="304"/>
                  <a:pt x="524" y="304"/>
                  <a:pt x="480" y="303"/>
                </a:cubicBezTo>
                <a:cubicBezTo>
                  <a:pt x="464" y="303"/>
                  <a:pt x="459" y="308"/>
                  <a:pt x="460" y="324"/>
                </a:cubicBezTo>
                <a:cubicBezTo>
                  <a:pt x="461" y="378"/>
                  <a:pt x="454" y="367"/>
                  <a:pt x="504" y="369"/>
                </a:cubicBezTo>
                <a:cubicBezTo>
                  <a:pt x="518" y="369"/>
                  <a:pt x="532" y="369"/>
                  <a:pt x="546" y="369"/>
                </a:cubicBezTo>
                <a:cubicBezTo>
                  <a:pt x="570" y="369"/>
                  <a:pt x="576" y="374"/>
                  <a:pt x="576" y="398"/>
                </a:cubicBezTo>
                <a:cubicBezTo>
                  <a:pt x="576" y="420"/>
                  <a:pt x="577" y="442"/>
                  <a:pt x="576" y="464"/>
                </a:cubicBezTo>
                <a:cubicBezTo>
                  <a:pt x="575" y="481"/>
                  <a:pt x="581" y="486"/>
                  <a:pt x="598" y="485"/>
                </a:cubicBezTo>
                <a:cubicBezTo>
                  <a:pt x="626" y="484"/>
                  <a:pt x="655" y="485"/>
                  <a:pt x="684" y="485"/>
                </a:cubicBezTo>
                <a:close/>
                <a:moveTo>
                  <a:pt x="440" y="261"/>
                </a:moveTo>
                <a:cubicBezTo>
                  <a:pt x="493" y="261"/>
                  <a:pt x="547" y="260"/>
                  <a:pt x="600" y="261"/>
                </a:cubicBezTo>
                <a:cubicBezTo>
                  <a:pt x="612" y="261"/>
                  <a:pt x="623" y="260"/>
                  <a:pt x="633" y="254"/>
                </a:cubicBezTo>
                <a:cubicBezTo>
                  <a:pt x="650" y="245"/>
                  <a:pt x="656" y="230"/>
                  <a:pt x="652" y="212"/>
                </a:cubicBezTo>
                <a:cubicBezTo>
                  <a:pt x="649" y="196"/>
                  <a:pt x="641" y="184"/>
                  <a:pt x="622" y="182"/>
                </a:cubicBezTo>
                <a:cubicBezTo>
                  <a:pt x="585" y="178"/>
                  <a:pt x="585" y="177"/>
                  <a:pt x="591" y="141"/>
                </a:cubicBezTo>
                <a:cubicBezTo>
                  <a:pt x="593" y="128"/>
                  <a:pt x="587" y="119"/>
                  <a:pt x="576" y="112"/>
                </a:cubicBezTo>
                <a:cubicBezTo>
                  <a:pt x="565" y="105"/>
                  <a:pt x="552" y="104"/>
                  <a:pt x="540" y="109"/>
                </a:cubicBezTo>
                <a:cubicBezTo>
                  <a:pt x="527" y="114"/>
                  <a:pt x="533" y="126"/>
                  <a:pt x="534" y="135"/>
                </a:cubicBezTo>
                <a:cubicBezTo>
                  <a:pt x="534" y="140"/>
                  <a:pt x="534" y="145"/>
                  <a:pt x="533" y="149"/>
                </a:cubicBezTo>
                <a:cubicBezTo>
                  <a:pt x="531" y="162"/>
                  <a:pt x="525" y="171"/>
                  <a:pt x="511" y="170"/>
                </a:cubicBezTo>
                <a:cubicBezTo>
                  <a:pt x="498" y="170"/>
                  <a:pt x="491" y="160"/>
                  <a:pt x="490" y="148"/>
                </a:cubicBezTo>
                <a:cubicBezTo>
                  <a:pt x="489" y="142"/>
                  <a:pt x="490" y="136"/>
                  <a:pt x="489" y="130"/>
                </a:cubicBezTo>
                <a:cubicBezTo>
                  <a:pt x="486" y="103"/>
                  <a:pt x="472" y="84"/>
                  <a:pt x="447" y="74"/>
                </a:cubicBezTo>
                <a:cubicBezTo>
                  <a:pt x="402" y="56"/>
                  <a:pt x="336" y="80"/>
                  <a:pt x="339" y="140"/>
                </a:cubicBezTo>
                <a:cubicBezTo>
                  <a:pt x="340" y="158"/>
                  <a:pt x="329" y="165"/>
                  <a:pt x="310" y="163"/>
                </a:cubicBezTo>
                <a:cubicBezTo>
                  <a:pt x="302" y="161"/>
                  <a:pt x="293" y="159"/>
                  <a:pt x="285" y="159"/>
                </a:cubicBezTo>
                <a:cubicBezTo>
                  <a:pt x="254" y="159"/>
                  <a:pt x="232" y="185"/>
                  <a:pt x="233" y="218"/>
                </a:cubicBezTo>
                <a:cubicBezTo>
                  <a:pt x="234" y="246"/>
                  <a:pt x="250" y="260"/>
                  <a:pt x="282" y="260"/>
                </a:cubicBezTo>
                <a:cubicBezTo>
                  <a:pt x="335" y="261"/>
                  <a:pt x="387" y="261"/>
                  <a:pt x="440" y="261"/>
                </a:cubicBezTo>
                <a:close/>
                <a:moveTo>
                  <a:pt x="354" y="500"/>
                </a:moveTo>
                <a:cubicBezTo>
                  <a:pt x="354" y="525"/>
                  <a:pt x="355" y="549"/>
                  <a:pt x="354" y="574"/>
                </a:cubicBezTo>
                <a:cubicBezTo>
                  <a:pt x="354" y="587"/>
                  <a:pt x="359" y="593"/>
                  <a:pt x="373" y="593"/>
                </a:cubicBezTo>
                <a:cubicBezTo>
                  <a:pt x="421" y="592"/>
                  <a:pt x="468" y="592"/>
                  <a:pt x="516" y="593"/>
                </a:cubicBezTo>
                <a:cubicBezTo>
                  <a:pt x="528" y="593"/>
                  <a:pt x="534" y="589"/>
                  <a:pt x="533" y="577"/>
                </a:cubicBezTo>
                <a:cubicBezTo>
                  <a:pt x="533" y="527"/>
                  <a:pt x="533" y="477"/>
                  <a:pt x="533" y="427"/>
                </a:cubicBezTo>
                <a:cubicBezTo>
                  <a:pt x="534" y="415"/>
                  <a:pt x="528" y="411"/>
                  <a:pt x="517" y="411"/>
                </a:cubicBezTo>
                <a:cubicBezTo>
                  <a:pt x="468" y="412"/>
                  <a:pt x="419" y="412"/>
                  <a:pt x="371" y="411"/>
                </a:cubicBezTo>
                <a:cubicBezTo>
                  <a:pt x="359" y="411"/>
                  <a:pt x="354" y="417"/>
                  <a:pt x="354" y="428"/>
                </a:cubicBezTo>
                <a:cubicBezTo>
                  <a:pt x="355" y="452"/>
                  <a:pt x="354" y="476"/>
                  <a:pt x="354" y="500"/>
                </a:cubicBezTo>
                <a:close/>
                <a:moveTo>
                  <a:pt x="444" y="742"/>
                </a:moveTo>
                <a:cubicBezTo>
                  <a:pt x="410" y="742"/>
                  <a:pt x="384" y="768"/>
                  <a:pt x="384" y="801"/>
                </a:cubicBezTo>
                <a:cubicBezTo>
                  <a:pt x="384" y="832"/>
                  <a:pt x="412" y="860"/>
                  <a:pt x="443" y="860"/>
                </a:cubicBezTo>
                <a:cubicBezTo>
                  <a:pt x="476" y="860"/>
                  <a:pt x="502" y="833"/>
                  <a:pt x="502" y="800"/>
                </a:cubicBezTo>
                <a:cubicBezTo>
                  <a:pt x="502" y="766"/>
                  <a:pt x="477" y="742"/>
                  <a:pt x="444" y="742"/>
                </a:cubicBezTo>
                <a:close/>
                <a:moveTo>
                  <a:pt x="114" y="742"/>
                </a:moveTo>
                <a:cubicBezTo>
                  <a:pt x="81" y="742"/>
                  <a:pt x="56" y="768"/>
                  <a:pt x="56" y="800"/>
                </a:cubicBezTo>
                <a:cubicBezTo>
                  <a:pt x="56" y="833"/>
                  <a:pt x="84" y="861"/>
                  <a:pt x="116" y="860"/>
                </a:cubicBezTo>
                <a:cubicBezTo>
                  <a:pt x="149" y="860"/>
                  <a:pt x="175" y="832"/>
                  <a:pt x="174" y="799"/>
                </a:cubicBezTo>
                <a:cubicBezTo>
                  <a:pt x="173" y="766"/>
                  <a:pt x="148" y="742"/>
                  <a:pt x="114" y="742"/>
                </a:cubicBezTo>
                <a:close/>
                <a:moveTo>
                  <a:pt x="723" y="801"/>
                </a:moveTo>
                <a:cubicBezTo>
                  <a:pt x="723" y="834"/>
                  <a:pt x="750" y="861"/>
                  <a:pt x="783" y="860"/>
                </a:cubicBezTo>
                <a:cubicBezTo>
                  <a:pt x="814" y="860"/>
                  <a:pt x="842" y="831"/>
                  <a:pt x="841" y="800"/>
                </a:cubicBezTo>
                <a:cubicBezTo>
                  <a:pt x="840" y="766"/>
                  <a:pt x="815" y="742"/>
                  <a:pt x="780" y="742"/>
                </a:cubicBezTo>
                <a:cubicBezTo>
                  <a:pt x="747" y="743"/>
                  <a:pt x="723" y="767"/>
                  <a:pt x="723" y="80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5" name="myP_Gear">
            <a:extLst>
              <a:ext uri="{FF2B5EF4-FFF2-40B4-BE49-F238E27FC236}">
                <a16:creationId xmlns:a16="http://schemas.microsoft.com/office/drawing/2014/main" id="{A311A645-0F3A-49A7-B8F0-A3134A32483B}"/>
              </a:ext>
            </a:extLst>
          </p:cNvPr>
          <p:cNvGrpSpPr>
            <a:grpSpLocks/>
          </p:cNvGrpSpPr>
          <p:nvPr/>
        </p:nvGrpSpPr>
        <p:grpSpPr>
          <a:xfrm>
            <a:off x="4285452" y="2940137"/>
            <a:ext cx="338082" cy="437902"/>
            <a:chOff x="6074146" y="4571873"/>
            <a:chExt cx="680014" cy="880788"/>
          </a:xfrm>
          <a:solidFill>
            <a:schemeClr val="tx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CDC4544E-680A-4FA2-A92E-1AE6E69C5E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11921" y="4897821"/>
              <a:ext cx="633823" cy="475858"/>
            </a:xfrm>
            <a:custGeom>
              <a:avLst/>
              <a:gdLst>
                <a:gd name="T0" fmla="*/ 1 w 743"/>
                <a:gd name="T1" fmla="*/ 392 h 558"/>
                <a:gd name="T2" fmla="*/ 20 w 743"/>
                <a:gd name="T3" fmla="*/ 379 h 558"/>
                <a:gd name="T4" fmla="*/ 92 w 743"/>
                <a:gd name="T5" fmla="*/ 377 h 558"/>
                <a:gd name="T6" fmla="*/ 118 w 743"/>
                <a:gd name="T7" fmla="*/ 397 h 558"/>
                <a:gd name="T8" fmla="*/ 91 w 743"/>
                <a:gd name="T9" fmla="*/ 416 h 558"/>
                <a:gd name="T10" fmla="*/ 71 w 743"/>
                <a:gd name="T11" fmla="*/ 416 h 558"/>
                <a:gd name="T12" fmla="*/ 79 w 743"/>
                <a:gd name="T13" fmla="*/ 428 h 558"/>
                <a:gd name="T14" fmla="*/ 254 w 743"/>
                <a:gd name="T15" fmla="*/ 508 h 558"/>
                <a:gd name="T16" fmla="*/ 668 w 743"/>
                <a:gd name="T17" fmla="*/ 201 h 558"/>
                <a:gd name="T18" fmla="*/ 672 w 743"/>
                <a:gd name="T19" fmla="*/ 184 h 558"/>
                <a:gd name="T20" fmla="*/ 672 w 743"/>
                <a:gd name="T21" fmla="*/ 168 h 558"/>
                <a:gd name="T22" fmla="*/ 672 w 743"/>
                <a:gd name="T23" fmla="*/ 136 h 558"/>
                <a:gd name="T24" fmla="*/ 672 w 743"/>
                <a:gd name="T25" fmla="*/ 120 h 558"/>
                <a:gd name="T26" fmla="*/ 652 w 743"/>
                <a:gd name="T27" fmla="*/ 33 h 558"/>
                <a:gd name="T28" fmla="*/ 662 w 743"/>
                <a:gd name="T29" fmla="*/ 5 h 558"/>
                <a:gd name="T30" fmla="*/ 689 w 743"/>
                <a:gd name="T31" fmla="*/ 21 h 558"/>
                <a:gd name="T32" fmla="*/ 578 w 743"/>
                <a:gd name="T33" fmla="*/ 451 h 558"/>
                <a:gd name="T34" fmla="*/ 284 w 743"/>
                <a:gd name="T35" fmla="*/ 551 h 558"/>
                <a:gd name="T36" fmla="*/ 62 w 743"/>
                <a:gd name="T37" fmla="*/ 464 h 558"/>
                <a:gd name="T38" fmla="*/ 40 w 743"/>
                <a:gd name="T39" fmla="*/ 447 h 558"/>
                <a:gd name="T40" fmla="*/ 21 w 743"/>
                <a:gd name="T41" fmla="*/ 495 h 558"/>
                <a:gd name="T42" fmla="*/ 0 w 743"/>
                <a:gd name="T43" fmla="*/ 479 h 558"/>
                <a:gd name="T44" fmla="*/ 1 w 743"/>
                <a:gd name="T45" fmla="*/ 39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3" h="558">
                  <a:moveTo>
                    <a:pt x="1" y="392"/>
                  </a:moveTo>
                  <a:cubicBezTo>
                    <a:pt x="3" y="382"/>
                    <a:pt x="10" y="379"/>
                    <a:pt x="20" y="379"/>
                  </a:cubicBezTo>
                  <a:cubicBezTo>
                    <a:pt x="44" y="378"/>
                    <a:pt x="68" y="378"/>
                    <a:pt x="92" y="377"/>
                  </a:cubicBezTo>
                  <a:cubicBezTo>
                    <a:pt x="106" y="376"/>
                    <a:pt x="118" y="381"/>
                    <a:pt x="118" y="397"/>
                  </a:cubicBezTo>
                  <a:cubicBezTo>
                    <a:pt x="118" y="413"/>
                    <a:pt x="106" y="417"/>
                    <a:pt x="91" y="416"/>
                  </a:cubicBezTo>
                  <a:cubicBezTo>
                    <a:pt x="85" y="415"/>
                    <a:pt x="78" y="416"/>
                    <a:pt x="71" y="416"/>
                  </a:cubicBezTo>
                  <a:cubicBezTo>
                    <a:pt x="69" y="423"/>
                    <a:pt x="76" y="425"/>
                    <a:pt x="79" y="428"/>
                  </a:cubicBezTo>
                  <a:cubicBezTo>
                    <a:pt x="130" y="470"/>
                    <a:pt x="189" y="497"/>
                    <a:pt x="254" y="508"/>
                  </a:cubicBezTo>
                  <a:cubicBezTo>
                    <a:pt x="461" y="540"/>
                    <a:pt x="643" y="394"/>
                    <a:pt x="668" y="201"/>
                  </a:cubicBezTo>
                  <a:cubicBezTo>
                    <a:pt x="669" y="195"/>
                    <a:pt x="671" y="189"/>
                    <a:pt x="672" y="184"/>
                  </a:cubicBezTo>
                  <a:cubicBezTo>
                    <a:pt x="677" y="178"/>
                    <a:pt x="677" y="173"/>
                    <a:pt x="672" y="168"/>
                  </a:cubicBezTo>
                  <a:cubicBezTo>
                    <a:pt x="672" y="157"/>
                    <a:pt x="672" y="146"/>
                    <a:pt x="672" y="136"/>
                  </a:cubicBezTo>
                  <a:cubicBezTo>
                    <a:pt x="677" y="130"/>
                    <a:pt x="677" y="125"/>
                    <a:pt x="672" y="120"/>
                  </a:cubicBezTo>
                  <a:cubicBezTo>
                    <a:pt x="666" y="91"/>
                    <a:pt x="662" y="61"/>
                    <a:pt x="652" y="33"/>
                  </a:cubicBezTo>
                  <a:cubicBezTo>
                    <a:pt x="647" y="21"/>
                    <a:pt x="650" y="9"/>
                    <a:pt x="662" y="5"/>
                  </a:cubicBezTo>
                  <a:cubicBezTo>
                    <a:pt x="676" y="0"/>
                    <a:pt x="684" y="8"/>
                    <a:pt x="689" y="21"/>
                  </a:cubicBezTo>
                  <a:cubicBezTo>
                    <a:pt x="743" y="166"/>
                    <a:pt x="696" y="348"/>
                    <a:pt x="578" y="451"/>
                  </a:cubicBezTo>
                  <a:cubicBezTo>
                    <a:pt x="493" y="524"/>
                    <a:pt x="396" y="558"/>
                    <a:pt x="284" y="551"/>
                  </a:cubicBezTo>
                  <a:cubicBezTo>
                    <a:pt x="201" y="546"/>
                    <a:pt x="127" y="516"/>
                    <a:pt x="62" y="464"/>
                  </a:cubicBezTo>
                  <a:cubicBezTo>
                    <a:pt x="55" y="459"/>
                    <a:pt x="48" y="453"/>
                    <a:pt x="40" y="447"/>
                  </a:cubicBezTo>
                  <a:cubicBezTo>
                    <a:pt x="35" y="465"/>
                    <a:pt x="48" y="489"/>
                    <a:pt x="21" y="495"/>
                  </a:cubicBezTo>
                  <a:cubicBezTo>
                    <a:pt x="10" y="498"/>
                    <a:pt x="2" y="491"/>
                    <a:pt x="0" y="479"/>
                  </a:cubicBezTo>
                  <a:cubicBezTo>
                    <a:pt x="6" y="450"/>
                    <a:pt x="6" y="421"/>
                    <a:pt x="1" y="3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0E1D4BA0-8CB6-4A4B-BD19-8F4D20092285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75769" y="4658705"/>
              <a:ext cx="657371" cy="483707"/>
            </a:xfrm>
            <a:custGeom>
              <a:avLst/>
              <a:gdLst>
                <a:gd name="T0" fmla="*/ 730 w 770"/>
                <a:gd name="T1" fmla="*/ 122 h 567"/>
                <a:gd name="T2" fmla="*/ 730 w 770"/>
                <a:gd name="T3" fmla="*/ 89 h 567"/>
                <a:gd name="T4" fmla="*/ 748 w 770"/>
                <a:gd name="T5" fmla="*/ 69 h 567"/>
                <a:gd name="T6" fmla="*/ 769 w 770"/>
                <a:gd name="T7" fmla="*/ 87 h 567"/>
                <a:gd name="T8" fmla="*/ 768 w 770"/>
                <a:gd name="T9" fmla="*/ 175 h 567"/>
                <a:gd name="T10" fmla="*/ 747 w 770"/>
                <a:gd name="T11" fmla="*/ 190 h 567"/>
                <a:gd name="T12" fmla="*/ 673 w 770"/>
                <a:gd name="T13" fmla="*/ 190 h 567"/>
                <a:gd name="T14" fmla="*/ 653 w 770"/>
                <a:gd name="T15" fmla="*/ 172 h 567"/>
                <a:gd name="T16" fmla="*/ 671 w 770"/>
                <a:gd name="T17" fmla="*/ 151 h 567"/>
                <a:gd name="T18" fmla="*/ 701 w 770"/>
                <a:gd name="T19" fmla="*/ 150 h 567"/>
                <a:gd name="T20" fmla="*/ 576 w 770"/>
                <a:gd name="T21" fmla="*/ 74 h 567"/>
                <a:gd name="T22" fmla="*/ 101 w 770"/>
                <a:gd name="T23" fmla="*/ 359 h 567"/>
                <a:gd name="T24" fmla="*/ 115 w 770"/>
                <a:gd name="T25" fmla="*/ 528 h 567"/>
                <a:gd name="T26" fmla="*/ 105 w 770"/>
                <a:gd name="T27" fmla="*/ 561 h 567"/>
                <a:gd name="T28" fmla="*/ 78 w 770"/>
                <a:gd name="T29" fmla="*/ 540 h 567"/>
                <a:gd name="T30" fmla="*/ 399 w 770"/>
                <a:gd name="T31" fmla="*/ 19 h 567"/>
                <a:gd name="T32" fmla="*/ 574 w 770"/>
                <a:gd name="T33" fmla="*/ 32 h 567"/>
                <a:gd name="T34" fmla="*/ 730 w 770"/>
                <a:gd name="T35" fmla="*/ 12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567">
                  <a:moveTo>
                    <a:pt x="730" y="122"/>
                  </a:moveTo>
                  <a:cubicBezTo>
                    <a:pt x="730" y="108"/>
                    <a:pt x="729" y="99"/>
                    <a:pt x="730" y="89"/>
                  </a:cubicBezTo>
                  <a:cubicBezTo>
                    <a:pt x="730" y="77"/>
                    <a:pt x="737" y="70"/>
                    <a:pt x="748" y="69"/>
                  </a:cubicBezTo>
                  <a:cubicBezTo>
                    <a:pt x="760" y="69"/>
                    <a:pt x="768" y="76"/>
                    <a:pt x="769" y="87"/>
                  </a:cubicBezTo>
                  <a:cubicBezTo>
                    <a:pt x="770" y="116"/>
                    <a:pt x="770" y="146"/>
                    <a:pt x="768" y="175"/>
                  </a:cubicBezTo>
                  <a:cubicBezTo>
                    <a:pt x="768" y="184"/>
                    <a:pt x="757" y="190"/>
                    <a:pt x="747" y="190"/>
                  </a:cubicBezTo>
                  <a:cubicBezTo>
                    <a:pt x="722" y="190"/>
                    <a:pt x="698" y="190"/>
                    <a:pt x="673" y="190"/>
                  </a:cubicBezTo>
                  <a:cubicBezTo>
                    <a:pt x="661" y="190"/>
                    <a:pt x="654" y="185"/>
                    <a:pt x="653" y="172"/>
                  </a:cubicBezTo>
                  <a:cubicBezTo>
                    <a:pt x="652" y="159"/>
                    <a:pt x="659" y="152"/>
                    <a:pt x="671" y="151"/>
                  </a:cubicBezTo>
                  <a:cubicBezTo>
                    <a:pt x="679" y="150"/>
                    <a:pt x="688" y="150"/>
                    <a:pt x="701" y="150"/>
                  </a:cubicBezTo>
                  <a:cubicBezTo>
                    <a:pt x="663" y="114"/>
                    <a:pt x="621" y="90"/>
                    <a:pt x="576" y="74"/>
                  </a:cubicBezTo>
                  <a:cubicBezTo>
                    <a:pt x="364" y="0"/>
                    <a:pt x="136" y="136"/>
                    <a:pt x="101" y="359"/>
                  </a:cubicBezTo>
                  <a:cubicBezTo>
                    <a:pt x="92" y="416"/>
                    <a:pt x="97" y="473"/>
                    <a:pt x="115" y="528"/>
                  </a:cubicBezTo>
                  <a:cubicBezTo>
                    <a:pt x="119" y="542"/>
                    <a:pt x="122" y="556"/>
                    <a:pt x="105" y="561"/>
                  </a:cubicBezTo>
                  <a:cubicBezTo>
                    <a:pt x="89" y="567"/>
                    <a:pt x="82" y="554"/>
                    <a:pt x="78" y="540"/>
                  </a:cubicBezTo>
                  <a:cubicBezTo>
                    <a:pt x="0" y="305"/>
                    <a:pt x="154" y="55"/>
                    <a:pt x="399" y="19"/>
                  </a:cubicBezTo>
                  <a:cubicBezTo>
                    <a:pt x="457" y="11"/>
                    <a:pt x="516" y="14"/>
                    <a:pt x="574" y="32"/>
                  </a:cubicBezTo>
                  <a:cubicBezTo>
                    <a:pt x="631" y="50"/>
                    <a:pt x="682" y="79"/>
                    <a:pt x="730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BC737843-F28D-4D68-9778-8CBCF40EC79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87176" y="5148005"/>
              <a:ext cx="31397" cy="32378"/>
            </a:xfrm>
            <a:custGeom>
              <a:avLst/>
              <a:gdLst>
                <a:gd name="T0" fmla="*/ 37 w 37"/>
                <a:gd name="T1" fmla="*/ 19 h 37"/>
                <a:gd name="T2" fmla="*/ 16 w 37"/>
                <a:gd name="T3" fmla="*/ 36 h 37"/>
                <a:gd name="T4" fmla="*/ 0 w 37"/>
                <a:gd name="T5" fmla="*/ 18 h 37"/>
                <a:gd name="T6" fmla="*/ 20 w 37"/>
                <a:gd name="T7" fmla="*/ 1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5" y="30"/>
                    <a:pt x="28" y="37"/>
                    <a:pt x="16" y="36"/>
                  </a:cubicBezTo>
                  <a:cubicBezTo>
                    <a:pt x="6" y="35"/>
                    <a:pt x="0" y="28"/>
                    <a:pt x="0" y="18"/>
                  </a:cubicBezTo>
                  <a:cubicBezTo>
                    <a:pt x="0" y="7"/>
                    <a:pt x="8" y="0"/>
                    <a:pt x="20" y="1"/>
                  </a:cubicBezTo>
                  <a:cubicBezTo>
                    <a:pt x="30" y="1"/>
                    <a:pt x="36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EE622237-4419-4553-B2CF-F06A7A59E15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00849" y="5275457"/>
              <a:ext cx="32379" cy="31397"/>
            </a:xfrm>
            <a:custGeom>
              <a:avLst/>
              <a:gdLst>
                <a:gd name="T0" fmla="*/ 19 w 37"/>
                <a:gd name="T1" fmla="*/ 37 h 37"/>
                <a:gd name="T2" fmla="*/ 1 w 37"/>
                <a:gd name="T3" fmla="*/ 17 h 37"/>
                <a:gd name="T4" fmla="*/ 19 w 37"/>
                <a:gd name="T5" fmla="*/ 0 h 37"/>
                <a:gd name="T6" fmla="*/ 36 w 37"/>
                <a:gd name="T7" fmla="*/ 20 h 37"/>
                <a:gd name="T8" fmla="*/ 19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4"/>
                    <a:pt x="0" y="28"/>
                    <a:pt x="1" y="17"/>
                  </a:cubicBezTo>
                  <a:cubicBezTo>
                    <a:pt x="2" y="7"/>
                    <a:pt x="8" y="0"/>
                    <a:pt x="19" y="0"/>
                  </a:cubicBezTo>
                  <a:cubicBezTo>
                    <a:pt x="31" y="1"/>
                    <a:pt x="37" y="7"/>
                    <a:pt x="36" y="20"/>
                  </a:cubicBezTo>
                  <a:cubicBezTo>
                    <a:pt x="36" y="31"/>
                    <a:pt x="27" y="34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">
              <a:extLst>
                <a:ext uri="{FF2B5EF4-FFF2-40B4-BE49-F238E27FC236}">
                  <a16:creationId xmlns:a16="http://schemas.microsoft.com/office/drawing/2014/main" id="{934307B0-F7FA-445D-8518-647AA940526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77452" y="4735004"/>
              <a:ext cx="30416" cy="31397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5 h 36"/>
                <a:gd name="T4" fmla="*/ 1 w 36"/>
                <a:gd name="T5" fmla="*/ 16 h 36"/>
                <a:gd name="T6" fmla="*/ 20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6" y="29"/>
                    <a:pt x="29" y="36"/>
                    <a:pt x="19" y="35"/>
                  </a:cubicBezTo>
                  <a:cubicBezTo>
                    <a:pt x="8" y="35"/>
                    <a:pt x="0" y="28"/>
                    <a:pt x="1" y="16"/>
                  </a:cubicBezTo>
                  <a:cubicBezTo>
                    <a:pt x="2" y="6"/>
                    <a:pt x="9" y="0"/>
                    <a:pt x="20" y="0"/>
                  </a:cubicBezTo>
                  <a:cubicBezTo>
                    <a:pt x="31" y="1"/>
                    <a:pt x="36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">
              <a:extLst>
                <a:ext uri="{FF2B5EF4-FFF2-40B4-BE49-F238E27FC236}">
                  <a16:creationId xmlns:a16="http://schemas.microsoft.com/office/drawing/2014/main" id="{BB4C88FB-4770-416A-B6FA-7C63BB40D3A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73829" y="4803138"/>
              <a:ext cx="30416" cy="30416"/>
            </a:xfrm>
            <a:custGeom>
              <a:avLst/>
              <a:gdLst>
                <a:gd name="T0" fmla="*/ 17 w 36"/>
                <a:gd name="T1" fmla="*/ 36 h 36"/>
                <a:gd name="T2" fmla="*/ 1 w 36"/>
                <a:gd name="T3" fmla="*/ 20 h 36"/>
                <a:gd name="T4" fmla="*/ 16 w 36"/>
                <a:gd name="T5" fmla="*/ 1 h 36"/>
                <a:gd name="T6" fmla="*/ 36 w 36"/>
                <a:gd name="T7" fmla="*/ 18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9" y="35"/>
                    <a:pt x="1" y="31"/>
                    <a:pt x="1" y="20"/>
                  </a:cubicBezTo>
                  <a:cubicBezTo>
                    <a:pt x="0" y="9"/>
                    <a:pt x="4" y="2"/>
                    <a:pt x="16" y="1"/>
                  </a:cubicBezTo>
                  <a:cubicBezTo>
                    <a:pt x="28" y="0"/>
                    <a:pt x="35" y="7"/>
                    <a:pt x="36" y="18"/>
                  </a:cubicBezTo>
                  <a:cubicBezTo>
                    <a:pt x="36" y="28"/>
                    <a:pt x="29" y="34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C54D7C56-8FB2-4F0B-B427-4235F5F9BFA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99008" y="5232790"/>
              <a:ext cx="31397" cy="31397"/>
            </a:xfrm>
            <a:custGeom>
              <a:avLst/>
              <a:gdLst>
                <a:gd name="T0" fmla="*/ 37 w 37"/>
                <a:gd name="T1" fmla="*/ 20 h 37"/>
                <a:gd name="T2" fmla="*/ 20 w 37"/>
                <a:gd name="T3" fmla="*/ 36 h 37"/>
                <a:gd name="T4" fmla="*/ 2 w 37"/>
                <a:gd name="T5" fmla="*/ 17 h 37"/>
                <a:gd name="T6" fmla="*/ 21 w 37"/>
                <a:gd name="T7" fmla="*/ 1 h 37"/>
                <a:gd name="T8" fmla="*/ 37 w 3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20"/>
                  </a:moveTo>
                  <a:cubicBezTo>
                    <a:pt x="36" y="30"/>
                    <a:pt x="30" y="37"/>
                    <a:pt x="20" y="36"/>
                  </a:cubicBezTo>
                  <a:cubicBezTo>
                    <a:pt x="8" y="36"/>
                    <a:pt x="0" y="29"/>
                    <a:pt x="2" y="17"/>
                  </a:cubicBezTo>
                  <a:cubicBezTo>
                    <a:pt x="3" y="7"/>
                    <a:pt x="9" y="0"/>
                    <a:pt x="21" y="1"/>
                  </a:cubicBezTo>
                  <a:cubicBezTo>
                    <a:pt x="31" y="2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63DDD46D-0A4D-4AC4-B817-B7C39F998B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58075" y="5198795"/>
              <a:ext cx="31397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17 w 36"/>
                <a:gd name="T5" fmla="*/ 1 h 37"/>
                <a:gd name="T6" fmla="*/ 35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30"/>
                    <a:pt x="0" y="19"/>
                  </a:cubicBezTo>
                  <a:cubicBezTo>
                    <a:pt x="0" y="8"/>
                    <a:pt x="6" y="2"/>
                    <a:pt x="17" y="1"/>
                  </a:cubicBezTo>
                  <a:cubicBezTo>
                    <a:pt x="29" y="0"/>
                    <a:pt x="36" y="8"/>
                    <a:pt x="35" y="19"/>
                  </a:cubicBezTo>
                  <a:cubicBezTo>
                    <a:pt x="35" y="29"/>
                    <a:pt x="27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">
              <a:extLst>
                <a:ext uri="{FF2B5EF4-FFF2-40B4-BE49-F238E27FC236}">
                  <a16:creationId xmlns:a16="http://schemas.microsoft.com/office/drawing/2014/main" id="{520609D8-200B-4B69-9425-B80B531FD10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12487" y="5273519"/>
              <a:ext cx="30416" cy="30416"/>
            </a:xfrm>
            <a:custGeom>
              <a:avLst/>
              <a:gdLst>
                <a:gd name="T0" fmla="*/ 36 w 36"/>
                <a:gd name="T1" fmla="*/ 17 h 36"/>
                <a:gd name="T2" fmla="*/ 20 w 36"/>
                <a:gd name="T3" fmla="*/ 36 h 36"/>
                <a:gd name="T4" fmla="*/ 0 w 36"/>
                <a:gd name="T5" fmla="*/ 16 h 36"/>
                <a:gd name="T6" fmla="*/ 17 w 36"/>
                <a:gd name="T7" fmla="*/ 0 h 36"/>
                <a:gd name="T8" fmla="*/ 36 w 36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7"/>
                  </a:moveTo>
                  <a:cubicBezTo>
                    <a:pt x="36" y="29"/>
                    <a:pt x="31" y="35"/>
                    <a:pt x="20" y="36"/>
                  </a:cubicBezTo>
                  <a:cubicBezTo>
                    <a:pt x="8" y="36"/>
                    <a:pt x="0" y="29"/>
                    <a:pt x="0" y="16"/>
                  </a:cubicBezTo>
                  <a:cubicBezTo>
                    <a:pt x="0" y="5"/>
                    <a:pt x="6" y="0"/>
                    <a:pt x="17" y="0"/>
                  </a:cubicBezTo>
                  <a:cubicBezTo>
                    <a:pt x="29" y="0"/>
                    <a:pt x="35" y="6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6">
              <a:extLst>
                <a:ext uri="{FF2B5EF4-FFF2-40B4-BE49-F238E27FC236}">
                  <a16:creationId xmlns:a16="http://schemas.microsoft.com/office/drawing/2014/main" id="{AD25E4D3-9ED5-4619-A08B-8877F07E27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82907" y="4766918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7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2"/>
                    <a:pt x="36" y="6"/>
                    <a:pt x="36" y="17"/>
                  </a:cubicBezTo>
                  <a:cubicBezTo>
                    <a:pt x="36" y="30"/>
                    <a:pt x="28" y="36"/>
                    <a:pt x="17" y="35"/>
                  </a:cubicBezTo>
                  <a:cubicBezTo>
                    <a:pt x="7" y="35"/>
                    <a:pt x="0" y="29"/>
                    <a:pt x="0" y="17"/>
                  </a:cubicBezTo>
                  <a:cubicBezTo>
                    <a:pt x="1" y="6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5E4D2F3A-22B5-47A5-9AC6-BCF2454F1F6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23253" y="5044919"/>
              <a:ext cx="31397" cy="30416"/>
            </a:xfrm>
            <a:custGeom>
              <a:avLst/>
              <a:gdLst>
                <a:gd name="T0" fmla="*/ 36 w 36"/>
                <a:gd name="T1" fmla="*/ 19 h 36"/>
                <a:gd name="T2" fmla="*/ 19 w 36"/>
                <a:gd name="T3" fmla="*/ 36 h 36"/>
                <a:gd name="T4" fmla="*/ 0 w 36"/>
                <a:gd name="T5" fmla="*/ 17 h 36"/>
                <a:gd name="T6" fmla="*/ 18 w 36"/>
                <a:gd name="T7" fmla="*/ 0 h 36"/>
                <a:gd name="T8" fmla="*/ 36 w 36"/>
                <a:gd name="T9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9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5"/>
                    <a:pt x="0" y="28"/>
                    <a:pt x="0" y="17"/>
                  </a:cubicBezTo>
                  <a:cubicBezTo>
                    <a:pt x="0" y="8"/>
                    <a:pt x="7" y="0"/>
                    <a:pt x="18" y="0"/>
                  </a:cubicBezTo>
                  <a:cubicBezTo>
                    <a:pt x="30" y="0"/>
                    <a:pt x="36" y="7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8">
              <a:extLst>
                <a:ext uri="{FF2B5EF4-FFF2-40B4-BE49-F238E27FC236}">
                  <a16:creationId xmlns:a16="http://schemas.microsoft.com/office/drawing/2014/main" id="{DDE55C0A-20D7-4C08-ADD6-B9A769A73AA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35383" y="4843377"/>
              <a:ext cx="32379" cy="30416"/>
            </a:xfrm>
            <a:custGeom>
              <a:avLst/>
              <a:gdLst>
                <a:gd name="T0" fmla="*/ 18 w 37"/>
                <a:gd name="T1" fmla="*/ 0 h 36"/>
                <a:gd name="T2" fmla="*/ 36 w 37"/>
                <a:gd name="T3" fmla="*/ 16 h 36"/>
                <a:gd name="T4" fmla="*/ 19 w 37"/>
                <a:gd name="T5" fmla="*/ 36 h 36"/>
                <a:gd name="T6" fmla="*/ 0 w 37"/>
                <a:gd name="T7" fmla="*/ 18 h 36"/>
                <a:gd name="T8" fmla="*/ 18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18" y="0"/>
                  </a:moveTo>
                  <a:cubicBezTo>
                    <a:pt x="27" y="2"/>
                    <a:pt x="35" y="5"/>
                    <a:pt x="36" y="16"/>
                  </a:cubicBezTo>
                  <a:cubicBezTo>
                    <a:pt x="37" y="28"/>
                    <a:pt x="31" y="36"/>
                    <a:pt x="19" y="36"/>
                  </a:cubicBezTo>
                  <a:cubicBezTo>
                    <a:pt x="9" y="36"/>
                    <a:pt x="0" y="30"/>
                    <a:pt x="0" y="18"/>
                  </a:cubicBezTo>
                  <a:cubicBezTo>
                    <a:pt x="0" y="7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809F5F54-DECD-4EB7-8495-8DEF1A4671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12045" y="5228974"/>
              <a:ext cx="30416" cy="31397"/>
            </a:xfrm>
            <a:custGeom>
              <a:avLst/>
              <a:gdLst>
                <a:gd name="T0" fmla="*/ 36 w 36"/>
                <a:gd name="T1" fmla="*/ 18 h 37"/>
                <a:gd name="T2" fmla="*/ 20 w 36"/>
                <a:gd name="T3" fmla="*/ 36 h 37"/>
                <a:gd name="T4" fmla="*/ 1 w 36"/>
                <a:gd name="T5" fmla="*/ 20 h 37"/>
                <a:gd name="T6" fmla="*/ 18 w 36"/>
                <a:gd name="T7" fmla="*/ 0 h 37"/>
                <a:gd name="T8" fmla="*/ 36 w 36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8"/>
                  </a:moveTo>
                  <a:cubicBezTo>
                    <a:pt x="36" y="28"/>
                    <a:pt x="32" y="35"/>
                    <a:pt x="20" y="36"/>
                  </a:cubicBezTo>
                  <a:cubicBezTo>
                    <a:pt x="9" y="37"/>
                    <a:pt x="3" y="30"/>
                    <a:pt x="1" y="20"/>
                  </a:cubicBezTo>
                  <a:cubicBezTo>
                    <a:pt x="0" y="9"/>
                    <a:pt x="6" y="1"/>
                    <a:pt x="18" y="0"/>
                  </a:cubicBezTo>
                  <a:cubicBezTo>
                    <a:pt x="29" y="0"/>
                    <a:pt x="35" y="7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57C38BF1-0CAF-4B7E-88AA-B81F0B99D87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64869" y="5256725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9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1"/>
                    <a:pt x="35" y="6"/>
                    <a:pt x="36" y="17"/>
                  </a:cubicBezTo>
                  <a:cubicBezTo>
                    <a:pt x="36" y="29"/>
                    <a:pt x="29" y="35"/>
                    <a:pt x="19" y="35"/>
                  </a:cubicBezTo>
                  <a:cubicBezTo>
                    <a:pt x="8" y="36"/>
                    <a:pt x="0" y="29"/>
                    <a:pt x="0" y="17"/>
                  </a:cubicBezTo>
                  <a:cubicBezTo>
                    <a:pt x="0" y="5"/>
                    <a:pt x="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1">
              <a:extLst>
                <a:ext uri="{FF2B5EF4-FFF2-40B4-BE49-F238E27FC236}">
                  <a16:creationId xmlns:a16="http://schemas.microsoft.com/office/drawing/2014/main" id="{FBDCEBBD-9318-43E2-9CA3-5A364431443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67894" y="4837827"/>
              <a:ext cx="30416" cy="30416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6 h 36"/>
                <a:gd name="T4" fmla="*/ 0 w 36"/>
                <a:gd name="T5" fmla="*/ 20 h 36"/>
                <a:gd name="T6" fmla="*/ 18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4" y="27"/>
                    <a:pt x="30" y="35"/>
                    <a:pt x="19" y="36"/>
                  </a:cubicBezTo>
                  <a:cubicBezTo>
                    <a:pt x="8" y="36"/>
                    <a:pt x="1" y="31"/>
                    <a:pt x="0" y="20"/>
                  </a:cubicBezTo>
                  <a:cubicBezTo>
                    <a:pt x="0" y="8"/>
                    <a:pt x="6" y="1"/>
                    <a:pt x="18" y="0"/>
                  </a:cubicBezTo>
                  <a:cubicBezTo>
                    <a:pt x="28" y="0"/>
                    <a:pt x="34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">
              <a:extLst>
                <a:ext uri="{FF2B5EF4-FFF2-40B4-BE49-F238E27FC236}">
                  <a16:creationId xmlns:a16="http://schemas.microsoft.com/office/drawing/2014/main" id="{A45538CC-C35B-4D8B-95B6-5BA015D5AC0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31914" y="474624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20 w 36"/>
                <a:gd name="T3" fmla="*/ 35 h 35"/>
                <a:gd name="T4" fmla="*/ 1 w 36"/>
                <a:gd name="T5" fmla="*/ 17 h 35"/>
                <a:gd name="T6" fmla="*/ 18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6" y="28"/>
                    <a:pt x="30" y="35"/>
                    <a:pt x="20" y="35"/>
                  </a:cubicBezTo>
                  <a:cubicBezTo>
                    <a:pt x="8" y="35"/>
                    <a:pt x="1" y="29"/>
                    <a:pt x="1" y="17"/>
                  </a:cubicBezTo>
                  <a:cubicBezTo>
                    <a:pt x="0" y="5"/>
                    <a:pt x="9" y="0"/>
                    <a:pt x="18" y="0"/>
                  </a:cubicBezTo>
                  <a:cubicBezTo>
                    <a:pt x="28" y="0"/>
                    <a:pt x="36" y="5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FF026748-B477-4FA3-BE4A-8D7F60A2738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07082" y="4890900"/>
              <a:ext cx="31397" cy="30416"/>
            </a:xfrm>
            <a:custGeom>
              <a:avLst/>
              <a:gdLst>
                <a:gd name="T0" fmla="*/ 17 w 36"/>
                <a:gd name="T1" fmla="*/ 0 h 36"/>
                <a:gd name="T2" fmla="*/ 35 w 36"/>
                <a:gd name="T3" fmla="*/ 20 h 36"/>
                <a:gd name="T4" fmla="*/ 17 w 36"/>
                <a:gd name="T5" fmla="*/ 36 h 36"/>
                <a:gd name="T6" fmla="*/ 0 w 36"/>
                <a:gd name="T7" fmla="*/ 18 h 36"/>
                <a:gd name="T8" fmla="*/ 17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0"/>
                  </a:moveTo>
                  <a:cubicBezTo>
                    <a:pt x="30" y="2"/>
                    <a:pt x="36" y="8"/>
                    <a:pt x="35" y="20"/>
                  </a:cubicBezTo>
                  <a:cubicBezTo>
                    <a:pt x="34" y="31"/>
                    <a:pt x="27" y="36"/>
                    <a:pt x="17" y="36"/>
                  </a:cubicBezTo>
                  <a:cubicBezTo>
                    <a:pt x="6" y="35"/>
                    <a:pt x="0" y="29"/>
                    <a:pt x="0" y="18"/>
                  </a:cubicBezTo>
                  <a:cubicBezTo>
                    <a:pt x="0" y="7"/>
                    <a:pt x="8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03EE2E95-504D-4CBB-8E23-06DCC778A1C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99248" y="5104788"/>
              <a:ext cx="30416" cy="31397"/>
            </a:xfrm>
            <a:custGeom>
              <a:avLst/>
              <a:gdLst>
                <a:gd name="T0" fmla="*/ 36 w 36"/>
                <a:gd name="T1" fmla="*/ 20 h 36"/>
                <a:gd name="T2" fmla="*/ 19 w 36"/>
                <a:gd name="T3" fmla="*/ 36 h 36"/>
                <a:gd name="T4" fmla="*/ 1 w 36"/>
                <a:gd name="T5" fmla="*/ 20 h 36"/>
                <a:gd name="T6" fmla="*/ 19 w 36"/>
                <a:gd name="T7" fmla="*/ 1 h 36"/>
                <a:gd name="T8" fmla="*/ 36 w 36"/>
                <a:gd name="T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20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6"/>
                    <a:pt x="1" y="29"/>
                    <a:pt x="1" y="20"/>
                  </a:cubicBezTo>
                  <a:cubicBezTo>
                    <a:pt x="0" y="8"/>
                    <a:pt x="7" y="0"/>
                    <a:pt x="19" y="1"/>
                  </a:cubicBezTo>
                  <a:cubicBezTo>
                    <a:pt x="30" y="1"/>
                    <a:pt x="35" y="8"/>
                    <a:pt x="3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F25F7060-7D67-40A5-8A17-39A46BBD492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29736" y="4798282"/>
              <a:ext cx="30416" cy="30416"/>
            </a:xfrm>
            <a:custGeom>
              <a:avLst/>
              <a:gdLst>
                <a:gd name="T0" fmla="*/ 15 w 36"/>
                <a:gd name="T1" fmla="*/ 1 h 36"/>
                <a:gd name="T2" fmla="*/ 35 w 36"/>
                <a:gd name="T3" fmla="*/ 17 h 36"/>
                <a:gd name="T4" fmla="*/ 17 w 36"/>
                <a:gd name="T5" fmla="*/ 36 h 36"/>
                <a:gd name="T6" fmla="*/ 1 w 36"/>
                <a:gd name="T7" fmla="*/ 18 h 36"/>
                <a:gd name="T8" fmla="*/ 15 w 36"/>
                <a:gd name="T9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5" y="1"/>
                  </a:moveTo>
                  <a:cubicBezTo>
                    <a:pt x="28" y="0"/>
                    <a:pt x="35" y="8"/>
                    <a:pt x="35" y="17"/>
                  </a:cubicBezTo>
                  <a:cubicBezTo>
                    <a:pt x="36" y="28"/>
                    <a:pt x="30" y="36"/>
                    <a:pt x="17" y="36"/>
                  </a:cubicBezTo>
                  <a:cubicBezTo>
                    <a:pt x="6" y="36"/>
                    <a:pt x="1" y="29"/>
                    <a:pt x="1" y="18"/>
                  </a:cubicBezTo>
                  <a:cubicBezTo>
                    <a:pt x="0" y="7"/>
                    <a:pt x="7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6">
              <a:extLst>
                <a:ext uri="{FF2B5EF4-FFF2-40B4-BE49-F238E27FC236}">
                  <a16:creationId xmlns:a16="http://schemas.microsoft.com/office/drawing/2014/main" id="{1E2E266B-007B-4726-8077-D2E0C42F403F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7500" y="4934812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20 w 36"/>
                <a:gd name="T5" fmla="*/ 2 h 37"/>
                <a:gd name="T6" fmla="*/ 35 w 36"/>
                <a:gd name="T7" fmla="*/ 20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6"/>
                    <a:pt x="0" y="30"/>
                    <a:pt x="0" y="19"/>
                  </a:cubicBezTo>
                  <a:cubicBezTo>
                    <a:pt x="0" y="7"/>
                    <a:pt x="8" y="0"/>
                    <a:pt x="20" y="2"/>
                  </a:cubicBezTo>
                  <a:cubicBezTo>
                    <a:pt x="29" y="2"/>
                    <a:pt x="36" y="9"/>
                    <a:pt x="35" y="20"/>
                  </a:cubicBezTo>
                  <a:cubicBezTo>
                    <a:pt x="34" y="31"/>
                    <a:pt x="28" y="37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A1B2628B-35FE-4D4B-8853-B93D6B10E56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21950" y="4736391"/>
              <a:ext cx="30416" cy="31397"/>
            </a:xfrm>
            <a:custGeom>
              <a:avLst/>
              <a:gdLst>
                <a:gd name="T0" fmla="*/ 16 w 36"/>
                <a:gd name="T1" fmla="*/ 0 h 36"/>
                <a:gd name="T2" fmla="*/ 36 w 36"/>
                <a:gd name="T3" fmla="*/ 15 h 36"/>
                <a:gd name="T4" fmla="*/ 19 w 36"/>
                <a:gd name="T5" fmla="*/ 35 h 36"/>
                <a:gd name="T6" fmla="*/ 1 w 36"/>
                <a:gd name="T7" fmla="*/ 19 h 36"/>
                <a:gd name="T8" fmla="*/ 16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6" y="0"/>
                  </a:moveTo>
                  <a:cubicBezTo>
                    <a:pt x="29" y="0"/>
                    <a:pt x="35" y="4"/>
                    <a:pt x="36" y="15"/>
                  </a:cubicBezTo>
                  <a:cubicBezTo>
                    <a:pt x="36" y="27"/>
                    <a:pt x="31" y="34"/>
                    <a:pt x="19" y="35"/>
                  </a:cubicBezTo>
                  <a:cubicBezTo>
                    <a:pt x="8" y="36"/>
                    <a:pt x="2" y="28"/>
                    <a:pt x="1" y="19"/>
                  </a:cubicBezTo>
                  <a:cubicBezTo>
                    <a:pt x="0" y="8"/>
                    <a:pt x="6" y="1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B58A34E-5EBE-4BED-87F1-8354C2983A2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67692" y="4747839"/>
              <a:ext cx="31397" cy="31397"/>
            </a:xfrm>
            <a:custGeom>
              <a:avLst/>
              <a:gdLst>
                <a:gd name="T0" fmla="*/ 36 w 36"/>
                <a:gd name="T1" fmla="*/ 19 h 37"/>
                <a:gd name="T2" fmla="*/ 20 w 36"/>
                <a:gd name="T3" fmla="*/ 36 h 37"/>
                <a:gd name="T4" fmla="*/ 1 w 36"/>
                <a:gd name="T5" fmla="*/ 18 h 37"/>
                <a:gd name="T6" fmla="*/ 20 w 36"/>
                <a:gd name="T7" fmla="*/ 1 h 37"/>
                <a:gd name="T8" fmla="*/ 36 w 36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9"/>
                  </a:moveTo>
                  <a:cubicBezTo>
                    <a:pt x="36" y="29"/>
                    <a:pt x="30" y="35"/>
                    <a:pt x="20" y="36"/>
                  </a:cubicBezTo>
                  <a:cubicBezTo>
                    <a:pt x="8" y="37"/>
                    <a:pt x="0" y="28"/>
                    <a:pt x="1" y="18"/>
                  </a:cubicBezTo>
                  <a:cubicBezTo>
                    <a:pt x="1" y="8"/>
                    <a:pt x="8" y="0"/>
                    <a:pt x="20" y="1"/>
                  </a:cubicBezTo>
                  <a:cubicBezTo>
                    <a:pt x="31" y="1"/>
                    <a:pt x="36" y="8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9">
              <a:extLst>
                <a:ext uri="{FF2B5EF4-FFF2-40B4-BE49-F238E27FC236}">
                  <a16:creationId xmlns:a16="http://schemas.microsoft.com/office/drawing/2014/main" id="{76AA2C74-612A-4044-AB9C-783F84866AF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0908" y="509868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19 w 36"/>
                <a:gd name="T3" fmla="*/ 35 h 35"/>
                <a:gd name="T4" fmla="*/ 0 w 36"/>
                <a:gd name="T5" fmla="*/ 19 h 35"/>
                <a:gd name="T6" fmla="*/ 19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5" y="28"/>
                    <a:pt x="30" y="35"/>
                    <a:pt x="19" y="35"/>
                  </a:cubicBezTo>
                  <a:cubicBezTo>
                    <a:pt x="8" y="35"/>
                    <a:pt x="1" y="30"/>
                    <a:pt x="0" y="19"/>
                  </a:cubicBezTo>
                  <a:cubicBezTo>
                    <a:pt x="0" y="7"/>
                    <a:pt x="8" y="0"/>
                    <a:pt x="19" y="0"/>
                  </a:cubicBezTo>
                  <a:cubicBezTo>
                    <a:pt x="28" y="0"/>
                    <a:pt x="35" y="7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C0C79051-D4E2-4123-A263-0A9F81B9C79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88841" y="4943137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17 w 36"/>
                <a:gd name="T5" fmla="*/ 1 h 37"/>
                <a:gd name="T6" fmla="*/ 36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8" y="35"/>
                    <a:pt x="1" y="30"/>
                    <a:pt x="1" y="19"/>
                  </a:cubicBezTo>
                  <a:cubicBezTo>
                    <a:pt x="0" y="8"/>
                    <a:pt x="5" y="1"/>
                    <a:pt x="17" y="1"/>
                  </a:cubicBezTo>
                  <a:cubicBezTo>
                    <a:pt x="29" y="0"/>
                    <a:pt x="36" y="8"/>
                    <a:pt x="36" y="19"/>
                  </a:cubicBezTo>
                  <a:cubicBezTo>
                    <a:pt x="36" y="29"/>
                    <a:pt x="28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E610433-2567-4A52-89AE-D0DCF087D77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18433" y="4770733"/>
              <a:ext cx="31397" cy="31397"/>
            </a:xfrm>
            <a:custGeom>
              <a:avLst/>
              <a:gdLst>
                <a:gd name="T0" fmla="*/ 17 w 36"/>
                <a:gd name="T1" fmla="*/ 36 h 36"/>
                <a:gd name="T2" fmla="*/ 0 w 36"/>
                <a:gd name="T3" fmla="*/ 18 h 36"/>
                <a:gd name="T4" fmla="*/ 17 w 36"/>
                <a:gd name="T5" fmla="*/ 1 h 36"/>
                <a:gd name="T6" fmla="*/ 35 w 36"/>
                <a:gd name="T7" fmla="*/ 20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6" y="34"/>
                    <a:pt x="0" y="29"/>
                    <a:pt x="0" y="18"/>
                  </a:cubicBezTo>
                  <a:cubicBezTo>
                    <a:pt x="0" y="7"/>
                    <a:pt x="6" y="0"/>
                    <a:pt x="17" y="1"/>
                  </a:cubicBezTo>
                  <a:cubicBezTo>
                    <a:pt x="29" y="1"/>
                    <a:pt x="36" y="9"/>
                    <a:pt x="35" y="20"/>
                  </a:cubicBezTo>
                  <a:cubicBezTo>
                    <a:pt x="35" y="30"/>
                    <a:pt x="27" y="35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6295CD15-E7DE-40F0-A1CD-898BB820878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49103" y="5261175"/>
              <a:ext cx="30416" cy="29435"/>
            </a:xfrm>
            <a:custGeom>
              <a:avLst/>
              <a:gdLst>
                <a:gd name="T0" fmla="*/ 17 w 36"/>
                <a:gd name="T1" fmla="*/ 0 h 35"/>
                <a:gd name="T2" fmla="*/ 35 w 36"/>
                <a:gd name="T3" fmla="*/ 16 h 35"/>
                <a:gd name="T4" fmla="*/ 17 w 36"/>
                <a:gd name="T5" fmla="*/ 35 h 35"/>
                <a:gd name="T6" fmla="*/ 0 w 36"/>
                <a:gd name="T7" fmla="*/ 16 h 35"/>
                <a:gd name="T8" fmla="*/ 17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17" y="0"/>
                  </a:moveTo>
                  <a:cubicBezTo>
                    <a:pt x="28" y="0"/>
                    <a:pt x="35" y="6"/>
                    <a:pt x="35" y="16"/>
                  </a:cubicBezTo>
                  <a:cubicBezTo>
                    <a:pt x="36" y="28"/>
                    <a:pt x="28" y="35"/>
                    <a:pt x="17" y="35"/>
                  </a:cubicBezTo>
                  <a:cubicBezTo>
                    <a:pt x="7" y="34"/>
                    <a:pt x="0" y="28"/>
                    <a:pt x="0" y="16"/>
                  </a:cubicBezTo>
                  <a:cubicBezTo>
                    <a:pt x="1" y="5"/>
                    <a:pt x="7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3">
              <a:extLst>
                <a:ext uri="{FF2B5EF4-FFF2-40B4-BE49-F238E27FC236}">
                  <a16:creationId xmlns:a16="http://schemas.microsoft.com/office/drawing/2014/main" id="{9158D4C7-EF4F-4243-A292-CFFE0468769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97379" y="4882778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20 w 36"/>
                <a:gd name="T5" fmla="*/ 2 h 37"/>
                <a:gd name="T6" fmla="*/ 35 w 36"/>
                <a:gd name="T7" fmla="*/ 21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29"/>
                    <a:pt x="1" y="19"/>
                  </a:cubicBezTo>
                  <a:cubicBezTo>
                    <a:pt x="1" y="8"/>
                    <a:pt x="8" y="0"/>
                    <a:pt x="20" y="2"/>
                  </a:cubicBezTo>
                  <a:cubicBezTo>
                    <a:pt x="31" y="3"/>
                    <a:pt x="36" y="10"/>
                    <a:pt x="35" y="21"/>
                  </a:cubicBezTo>
                  <a:cubicBezTo>
                    <a:pt x="34" y="31"/>
                    <a:pt x="28" y="36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4">
              <a:extLst>
                <a:ext uri="{FF2B5EF4-FFF2-40B4-BE49-F238E27FC236}">
                  <a16:creationId xmlns:a16="http://schemas.microsoft.com/office/drawing/2014/main" id="{99C2AD2C-3DE1-426F-9397-8E264A63752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57333" y="5279620"/>
              <a:ext cx="30416" cy="31397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9 h 36"/>
                <a:gd name="T4" fmla="*/ 20 w 36"/>
                <a:gd name="T5" fmla="*/ 1 h 36"/>
                <a:gd name="T6" fmla="*/ 36 w 36"/>
                <a:gd name="T7" fmla="*/ 20 h 36"/>
                <a:gd name="T8" fmla="*/ 18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7" y="35"/>
                    <a:pt x="0" y="29"/>
                    <a:pt x="0" y="19"/>
                  </a:cubicBezTo>
                  <a:cubicBezTo>
                    <a:pt x="0" y="7"/>
                    <a:pt x="9" y="0"/>
                    <a:pt x="20" y="1"/>
                  </a:cubicBezTo>
                  <a:cubicBezTo>
                    <a:pt x="29" y="2"/>
                    <a:pt x="36" y="8"/>
                    <a:pt x="36" y="20"/>
                  </a:cubicBezTo>
                  <a:cubicBezTo>
                    <a:pt x="35" y="31"/>
                    <a:pt x="29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5">
              <a:extLst>
                <a:ext uri="{FF2B5EF4-FFF2-40B4-BE49-F238E27FC236}">
                  <a16:creationId xmlns:a16="http://schemas.microsoft.com/office/drawing/2014/main" id="{48B7473C-B0F3-4DBE-9C86-0B374D264FD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25408" y="5155229"/>
              <a:ext cx="29435" cy="30416"/>
            </a:xfrm>
            <a:custGeom>
              <a:avLst/>
              <a:gdLst>
                <a:gd name="T0" fmla="*/ 35 w 35"/>
                <a:gd name="T1" fmla="*/ 18 h 36"/>
                <a:gd name="T2" fmla="*/ 17 w 35"/>
                <a:gd name="T3" fmla="*/ 36 h 36"/>
                <a:gd name="T4" fmla="*/ 0 w 35"/>
                <a:gd name="T5" fmla="*/ 19 h 36"/>
                <a:gd name="T6" fmla="*/ 17 w 35"/>
                <a:gd name="T7" fmla="*/ 1 h 36"/>
                <a:gd name="T8" fmla="*/ 35 w 35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5" y="18"/>
                  </a:moveTo>
                  <a:cubicBezTo>
                    <a:pt x="32" y="27"/>
                    <a:pt x="29" y="36"/>
                    <a:pt x="17" y="36"/>
                  </a:cubicBezTo>
                  <a:cubicBezTo>
                    <a:pt x="6" y="36"/>
                    <a:pt x="0" y="30"/>
                    <a:pt x="0" y="19"/>
                  </a:cubicBezTo>
                  <a:cubicBezTo>
                    <a:pt x="0" y="8"/>
                    <a:pt x="7" y="2"/>
                    <a:pt x="17" y="1"/>
                  </a:cubicBezTo>
                  <a:cubicBezTo>
                    <a:pt x="27" y="0"/>
                    <a:pt x="32" y="9"/>
                    <a:pt x="3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6">
              <a:extLst>
                <a:ext uri="{FF2B5EF4-FFF2-40B4-BE49-F238E27FC236}">
                  <a16:creationId xmlns:a16="http://schemas.microsoft.com/office/drawing/2014/main" id="{89327A56-809D-4FD0-BCAA-20C0C0D3D4CA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54509" y="5191857"/>
              <a:ext cx="29435" cy="31397"/>
            </a:xfrm>
            <a:custGeom>
              <a:avLst/>
              <a:gdLst>
                <a:gd name="T0" fmla="*/ 17 w 35"/>
                <a:gd name="T1" fmla="*/ 0 h 37"/>
                <a:gd name="T2" fmla="*/ 34 w 35"/>
                <a:gd name="T3" fmla="*/ 17 h 37"/>
                <a:gd name="T4" fmla="*/ 19 w 35"/>
                <a:gd name="T5" fmla="*/ 36 h 37"/>
                <a:gd name="T6" fmla="*/ 1 w 35"/>
                <a:gd name="T7" fmla="*/ 20 h 37"/>
                <a:gd name="T8" fmla="*/ 17 w 35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17" y="0"/>
                  </a:moveTo>
                  <a:cubicBezTo>
                    <a:pt x="26" y="2"/>
                    <a:pt x="34" y="7"/>
                    <a:pt x="34" y="17"/>
                  </a:cubicBezTo>
                  <a:cubicBezTo>
                    <a:pt x="35" y="28"/>
                    <a:pt x="30" y="35"/>
                    <a:pt x="19" y="36"/>
                  </a:cubicBezTo>
                  <a:cubicBezTo>
                    <a:pt x="8" y="37"/>
                    <a:pt x="2" y="29"/>
                    <a:pt x="1" y="20"/>
                  </a:cubicBezTo>
                  <a:cubicBezTo>
                    <a:pt x="0" y="10"/>
                    <a:pt x="7" y="3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">
              <a:extLst>
                <a:ext uri="{FF2B5EF4-FFF2-40B4-BE49-F238E27FC236}">
                  <a16:creationId xmlns:a16="http://schemas.microsoft.com/office/drawing/2014/main" id="{698D99F6-2F34-4019-B9A2-867DFCBFCFF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08486" y="4970463"/>
              <a:ext cx="5887" cy="74567"/>
            </a:xfrm>
            <a:custGeom>
              <a:avLst/>
              <a:gdLst>
                <a:gd name="T0" fmla="*/ 3 w 8"/>
                <a:gd name="T1" fmla="*/ 0 h 87"/>
                <a:gd name="T2" fmla="*/ 2 w 8"/>
                <a:gd name="T3" fmla="*/ 87 h 87"/>
                <a:gd name="T4" fmla="*/ 3 w 8"/>
                <a:gd name="T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7">
                  <a:moveTo>
                    <a:pt x="3" y="0"/>
                  </a:moveTo>
                  <a:cubicBezTo>
                    <a:pt x="8" y="29"/>
                    <a:pt x="8" y="58"/>
                    <a:pt x="2" y="87"/>
                  </a:cubicBezTo>
                  <a:cubicBezTo>
                    <a:pt x="1" y="58"/>
                    <a:pt x="0" y="29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8">
              <a:extLst>
                <a:ext uri="{FF2B5EF4-FFF2-40B4-BE49-F238E27FC236}">
                  <a16:creationId xmlns:a16="http://schemas.microsoft.com/office/drawing/2014/main" id="{20D76BFA-045A-4E43-8D2A-A07E6C15F687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71283" y="5249599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9">
              <a:extLst>
                <a:ext uri="{FF2B5EF4-FFF2-40B4-BE49-F238E27FC236}">
                  <a16:creationId xmlns:a16="http://schemas.microsoft.com/office/drawing/2014/main" id="{9631E4F8-08EB-4ABF-A5F9-0250223FF2E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00422" y="5220460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0">
              <a:extLst>
                <a:ext uri="{FF2B5EF4-FFF2-40B4-BE49-F238E27FC236}">
                  <a16:creationId xmlns:a16="http://schemas.microsoft.com/office/drawing/2014/main" id="{9AB0F6CA-7A3B-4C66-AB23-523830D9D2E8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241754" y="4894971"/>
              <a:ext cx="262948" cy="266873"/>
            </a:xfrm>
            <a:custGeom>
              <a:avLst/>
              <a:gdLst>
                <a:gd name="T0" fmla="*/ 281 w 309"/>
                <a:gd name="T1" fmla="*/ 244 h 313"/>
                <a:gd name="T2" fmla="*/ 261 w 309"/>
                <a:gd name="T3" fmla="*/ 266 h 313"/>
                <a:gd name="T4" fmla="*/ 221 w 309"/>
                <a:gd name="T5" fmla="*/ 270 h 313"/>
                <a:gd name="T6" fmla="*/ 186 w 309"/>
                <a:gd name="T7" fmla="*/ 285 h 313"/>
                <a:gd name="T8" fmla="*/ 155 w 309"/>
                <a:gd name="T9" fmla="*/ 310 h 313"/>
                <a:gd name="T10" fmla="*/ 122 w 309"/>
                <a:gd name="T11" fmla="*/ 286 h 313"/>
                <a:gd name="T12" fmla="*/ 93 w 309"/>
                <a:gd name="T13" fmla="*/ 265 h 313"/>
                <a:gd name="T14" fmla="*/ 36 w 309"/>
                <a:gd name="T15" fmla="*/ 254 h 313"/>
                <a:gd name="T16" fmla="*/ 29 w 309"/>
                <a:gd name="T17" fmla="*/ 244 h 313"/>
                <a:gd name="T18" fmla="*/ 3 w 309"/>
                <a:gd name="T19" fmla="*/ 181 h 313"/>
                <a:gd name="T20" fmla="*/ 1 w 309"/>
                <a:gd name="T21" fmla="*/ 166 h 313"/>
                <a:gd name="T22" fmla="*/ 1 w 309"/>
                <a:gd name="T23" fmla="*/ 129 h 313"/>
                <a:gd name="T24" fmla="*/ 15 w 309"/>
                <a:gd name="T25" fmla="*/ 126 h 313"/>
                <a:gd name="T26" fmla="*/ 34 w 309"/>
                <a:gd name="T27" fmla="*/ 81 h 313"/>
                <a:gd name="T28" fmla="*/ 44 w 309"/>
                <a:gd name="T29" fmla="*/ 49 h 313"/>
                <a:gd name="T30" fmla="*/ 79 w 309"/>
                <a:gd name="T31" fmla="*/ 36 h 313"/>
                <a:gd name="T32" fmla="*/ 124 w 309"/>
                <a:gd name="T33" fmla="*/ 20 h 313"/>
                <a:gd name="T34" fmla="*/ 143 w 309"/>
                <a:gd name="T35" fmla="*/ 3 h 313"/>
                <a:gd name="T36" fmla="*/ 179 w 309"/>
                <a:gd name="T37" fmla="*/ 2 h 313"/>
                <a:gd name="T38" fmla="*/ 183 w 309"/>
                <a:gd name="T39" fmla="*/ 14 h 313"/>
                <a:gd name="T40" fmla="*/ 230 w 309"/>
                <a:gd name="T41" fmla="*/ 35 h 313"/>
                <a:gd name="T42" fmla="*/ 264 w 309"/>
                <a:gd name="T43" fmla="*/ 51 h 313"/>
                <a:gd name="T44" fmla="*/ 272 w 309"/>
                <a:gd name="T45" fmla="*/ 82 h 313"/>
                <a:gd name="T46" fmla="*/ 291 w 309"/>
                <a:gd name="T47" fmla="*/ 127 h 313"/>
                <a:gd name="T48" fmla="*/ 307 w 309"/>
                <a:gd name="T49" fmla="*/ 144 h 313"/>
                <a:gd name="T50" fmla="*/ 307 w 309"/>
                <a:gd name="T51" fmla="*/ 180 h 313"/>
                <a:gd name="T52" fmla="*/ 281 w 309"/>
                <a:gd name="T53" fmla="*/ 244 h 313"/>
                <a:gd name="T54" fmla="*/ 153 w 309"/>
                <a:gd name="T55" fmla="*/ 94 h 313"/>
                <a:gd name="T56" fmla="*/ 91 w 309"/>
                <a:gd name="T57" fmla="*/ 155 h 313"/>
                <a:gd name="T58" fmla="*/ 154 w 309"/>
                <a:gd name="T59" fmla="*/ 218 h 313"/>
                <a:gd name="T60" fmla="*/ 217 w 309"/>
                <a:gd name="T61" fmla="*/ 156 h 313"/>
                <a:gd name="T62" fmla="*/ 153 w 309"/>
                <a:gd name="T63" fmla="*/ 9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9" h="313">
                  <a:moveTo>
                    <a:pt x="281" y="244"/>
                  </a:moveTo>
                  <a:cubicBezTo>
                    <a:pt x="273" y="252"/>
                    <a:pt x="267" y="259"/>
                    <a:pt x="261" y="266"/>
                  </a:cubicBezTo>
                  <a:cubicBezTo>
                    <a:pt x="249" y="281"/>
                    <a:pt x="237" y="284"/>
                    <a:pt x="221" y="270"/>
                  </a:cubicBezTo>
                  <a:cubicBezTo>
                    <a:pt x="202" y="253"/>
                    <a:pt x="190" y="258"/>
                    <a:pt x="186" y="285"/>
                  </a:cubicBezTo>
                  <a:cubicBezTo>
                    <a:pt x="184" y="305"/>
                    <a:pt x="175" y="311"/>
                    <a:pt x="155" y="310"/>
                  </a:cubicBezTo>
                  <a:cubicBezTo>
                    <a:pt x="138" y="309"/>
                    <a:pt x="123" y="313"/>
                    <a:pt x="122" y="286"/>
                  </a:cubicBezTo>
                  <a:cubicBezTo>
                    <a:pt x="121" y="263"/>
                    <a:pt x="106" y="253"/>
                    <a:pt x="93" y="265"/>
                  </a:cubicBezTo>
                  <a:cubicBezTo>
                    <a:pt x="67" y="290"/>
                    <a:pt x="52" y="273"/>
                    <a:pt x="36" y="254"/>
                  </a:cubicBezTo>
                  <a:cubicBezTo>
                    <a:pt x="34" y="251"/>
                    <a:pt x="31" y="247"/>
                    <a:pt x="29" y="244"/>
                  </a:cubicBezTo>
                  <a:cubicBezTo>
                    <a:pt x="56" y="195"/>
                    <a:pt x="56" y="195"/>
                    <a:pt x="3" y="181"/>
                  </a:cubicBezTo>
                  <a:cubicBezTo>
                    <a:pt x="2" y="177"/>
                    <a:pt x="1" y="172"/>
                    <a:pt x="1" y="166"/>
                  </a:cubicBezTo>
                  <a:cubicBezTo>
                    <a:pt x="0" y="154"/>
                    <a:pt x="1" y="142"/>
                    <a:pt x="1" y="129"/>
                  </a:cubicBezTo>
                  <a:cubicBezTo>
                    <a:pt x="7" y="127"/>
                    <a:pt x="11" y="127"/>
                    <a:pt x="15" y="126"/>
                  </a:cubicBezTo>
                  <a:cubicBezTo>
                    <a:pt x="54" y="118"/>
                    <a:pt x="57" y="113"/>
                    <a:pt x="34" y="81"/>
                  </a:cubicBezTo>
                  <a:cubicBezTo>
                    <a:pt x="22" y="64"/>
                    <a:pt x="36" y="57"/>
                    <a:pt x="44" y="49"/>
                  </a:cubicBezTo>
                  <a:cubicBezTo>
                    <a:pt x="53" y="40"/>
                    <a:pt x="60" y="24"/>
                    <a:pt x="79" y="36"/>
                  </a:cubicBezTo>
                  <a:cubicBezTo>
                    <a:pt x="112" y="59"/>
                    <a:pt x="114" y="57"/>
                    <a:pt x="124" y="20"/>
                  </a:cubicBezTo>
                  <a:cubicBezTo>
                    <a:pt x="125" y="13"/>
                    <a:pt x="135" y="5"/>
                    <a:pt x="143" y="3"/>
                  </a:cubicBezTo>
                  <a:cubicBezTo>
                    <a:pt x="154" y="0"/>
                    <a:pt x="167" y="2"/>
                    <a:pt x="179" y="2"/>
                  </a:cubicBezTo>
                  <a:cubicBezTo>
                    <a:pt x="181" y="8"/>
                    <a:pt x="182" y="11"/>
                    <a:pt x="183" y="14"/>
                  </a:cubicBezTo>
                  <a:cubicBezTo>
                    <a:pt x="192" y="55"/>
                    <a:pt x="193" y="55"/>
                    <a:pt x="230" y="35"/>
                  </a:cubicBezTo>
                  <a:cubicBezTo>
                    <a:pt x="249" y="25"/>
                    <a:pt x="255" y="43"/>
                    <a:pt x="264" y="51"/>
                  </a:cubicBezTo>
                  <a:cubicBezTo>
                    <a:pt x="273" y="58"/>
                    <a:pt x="282" y="67"/>
                    <a:pt x="272" y="82"/>
                  </a:cubicBezTo>
                  <a:cubicBezTo>
                    <a:pt x="250" y="112"/>
                    <a:pt x="254" y="118"/>
                    <a:pt x="291" y="127"/>
                  </a:cubicBezTo>
                  <a:cubicBezTo>
                    <a:pt x="297" y="129"/>
                    <a:pt x="305" y="138"/>
                    <a:pt x="307" y="144"/>
                  </a:cubicBezTo>
                  <a:cubicBezTo>
                    <a:pt x="309" y="156"/>
                    <a:pt x="307" y="169"/>
                    <a:pt x="307" y="180"/>
                  </a:cubicBezTo>
                  <a:cubicBezTo>
                    <a:pt x="252" y="201"/>
                    <a:pt x="252" y="201"/>
                    <a:pt x="281" y="244"/>
                  </a:cubicBezTo>
                  <a:close/>
                  <a:moveTo>
                    <a:pt x="153" y="94"/>
                  </a:moveTo>
                  <a:cubicBezTo>
                    <a:pt x="118" y="94"/>
                    <a:pt x="92" y="121"/>
                    <a:pt x="91" y="155"/>
                  </a:cubicBezTo>
                  <a:cubicBezTo>
                    <a:pt x="91" y="191"/>
                    <a:pt x="119" y="218"/>
                    <a:pt x="154" y="218"/>
                  </a:cubicBezTo>
                  <a:cubicBezTo>
                    <a:pt x="188" y="217"/>
                    <a:pt x="216" y="190"/>
                    <a:pt x="217" y="156"/>
                  </a:cubicBezTo>
                  <a:cubicBezTo>
                    <a:pt x="217" y="122"/>
                    <a:pt x="188" y="93"/>
                    <a:pt x="153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1">
              <a:extLst>
                <a:ext uri="{FF2B5EF4-FFF2-40B4-BE49-F238E27FC236}">
                  <a16:creationId xmlns:a16="http://schemas.microsoft.com/office/drawing/2014/main" id="{E51ACE7D-4CFB-4CF6-A6CC-82FBA2A864E1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500239" y="4894185"/>
              <a:ext cx="156003" cy="160908"/>
            </a:xfrm>
            <a:custGeom>
              <a:avLst/>
              <a:gdLst>
                <a:gd name="T0" fmla="*/ 31 w 183"/>
                <a:gd name="T1" fmla="*/ 23 h 189"/>
                <a:gd name="T2" fmla="*/ 80 w 183"/>
                <a:gd name="T3" fmla="*/ 24 h 189"/>
                <a:gd name="T4" fmla="*/ 105 w 183"/>
                <a:gd name="T5" fmla="*/ 23 h 189"/>
                <a:gd name="T6" fmla="*/ 122 w 183"/>
                <a:gd name="T7" fmla="*/ 5 h 189"/>
                <a:gd name="T8" fmla="*/ 151 w 183"/>
                <a:gd name="T9" fmla="*/ 21 h 189"/>
                <a:gd name="T10" fmla="*/ 147 w 183"/>
                <a:gd name="T11" fmla="*/ 38 h 189"/>
                <a:gd name="T12" fmla="*/ 166 w 183"/>
                <a:gd name="T13" fmla="*/ 72 h 189"/>
                <a:gd name="T14" fmla="*/ 182 w 183"/>
                <a:gd name="T15" fmla="*/ 91 h 189"/>
                <a:gd name="T16" fmla="*/ 170 w 183"/>
                <a:gd name="T17" fmla="*/ 112 h 189"/>
                <a:gd name="T18" fmla="*/ 149 w 183"/>
                <a:gd name="T19" fmla="*/ 152 h 189"/>
                <a:gd name="T20" fmla="*/ 151 w 183"/>
                <a:gd name="T21" fmla="*/ 163 h 189"/>
                <a:gd name="T22" fmla="*/ 119 w 183"/>
                <a:gd name="T23" fmla="*/ 183 h 189"/>
                <a:gd name="T24" fmla="*/ 110 w 183"/>
                <a:gd name="T25" fmla="*/ 167 h 189"/>
                <a:gd name="T26" fmla="*/ 74 w 183"/>
                <a:gd name="T27" fmla="*/ 166 h 189"/>
                <a:gd name="T28" fmla="*/ 32 w 183"/>
                <a:gd name="T29" fmla="*/ 163 h 189"/>
                <a:gd name="T30" fmla="*/ 35 w 183"/>
                <a:gd name="T31" fmla="*/ 149 h 189"/>
                <a:gd name="T32" fmla="*/ 15 w 183"/>
                <a:gd name="T33" fmla="*/ 112 h 189"/>
                <a:gd name="T34" fmla="*/ 1 w 183"/>
                <a:gd name="T35" fmla="*/ 91 h 189"/>
                <a:gd name="T36" fmla="*/ 14 w 183"/>
                <a:gd name="T37" fmla="*/ 72 h 189"/>
                <a:gd name="T38" fmla="*/ 35 w 183"/>
                <a:gd name="T39" fmla="*/ 34 h 189"/>
                <a:gd name="T40" fmla="*/ 31 w 183"/>
                <a:gd name="T41" fmla="*/ 23 h 189"/>
                <a:gd name="T42" fmla="*/ 90 w 183"/>
                <a:gd name="T43" fmla="*/ 124 h 189"/>
                <a:gd name="T44" fmla="*/ 123 w 183"/>
                <a:gd name="T45" fmla="*/ 93 h 189"/>
                <a:gd name="T46" fmla="*/ 92 w 183"/>
                <a:gd name="T47" fmla="*/ 61 h 189"/>
                <a:gd name="T48" fmla="*/ 61 w 183"/>
                <a:gd name="T49" fmla="*/ 92 h 189"/>
                <a:gd name="T50" fmla="*/ 90 w 183"/>
                <a:gd name="T51" fmla="*/ 12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89">
                  <a:moveTo>
                    <a:pt x="31" y="23"/>
                  </a:moveTo>
                  <a:cubicBezTo>
                    <a:pt x="49" y="7"/>
                    <a:pt x="64" y="0"/>
                    <a:pt x="80" y="24"/>
                  </a:cubicBezTo>
                  <a:cubicBezTo>
                    <a:pt x="82" y="28"/>
                    <a:pt x="98" y="26"/>
                    <a:pt x="105" y="23"/>
                  </a:cubicBezTo>
                  <a:cubicBezTo>
                    <a:pt x="112" y="20"/>
                    <a:pt x="116" y="12"/>
                    <a:pt x="122" y="5"/>
                  </a:cubicBezTo>
                  <a:cubicBezTo>
                    <a:pt x="132" y="10"/>
                    <a:pt x="141" y="15"/>
                    <a:pt x="151" y="21"/>
                  </a:cubicBezTo>
                  <a:cubicBezTo>
                    <a:pt x="150" y="27"/>
                    <a:pt x="149" y="33"/>
                    <a:pt x="147" y="38"/>
                  </a:cubicBezTo>
                  <a:cubicBezTo>
                    <a:pt x="138" y="58"/>
                    <a:pt x="142" y="69"/>
                    <a:pt x="166" y="72"/>
                  </a:cubicBezTo>
                  <a:cubicBezTo>
                    <a:pt x="172" y="73"/>
                    <a:pt x="181" y="84"/>
                    <a:pt x="182" y="91"/>
                  </a:cubicBezTo>
                  <a:cubicBezTo>
                    <a:pt x="183" y="98"/>
                    <a:pt x="175" y="111"/>
                    <a:pt x="170" y="112"/>
                  </a:cubicBezTo>
                  <a:cubicBezTo>
                    <a:pt x="140" y="114"/>
                    <a:pt x="137" y="128"/>
                    <a:pt x="149" y="152"/>
                  </a:cubicBezTo>
                  <a:cubicBezTo>
                    <a:pt x="151" y="155"/>
                    <a:pt x="150" y="158"/>
                    <a:pt x="151" y="163"/>
                  </a:cubicBezTo>
                  <a:cubicBezTo>
                    <a:pt x="142" y="168"/>
                    <a:pt x="133" y="174"/>
                    <a:pt x="119" y="183"/>
                  </a:cubicBezTo>
                  <a:cubicBezTo>
                    <a:pt x="116" y="178"/>
                    <a:pt x="113" y="172"/>
                    <a:pt x="110" y="167"/>
                  </a:cubicBezTo>
                  <a:cubicBezTo>
                    <a:pt x="99" y="150"/>
                    <a:pt x="87" y="146"/>
                    <a:pt x="74" y="166"/>
                  </a:cubicBezTo>
                  <a:cubicBezTo>
                    <a:pt x="59" y="189"/>
                    <a:pt x="47" y="171"/>
                    <a:pt x="32" y="163"/>
                  </a:cubicBezTo>
                  <a:cubicBezTo>
                    <a:pt x="33" y="158"/>
                    <a:pt x="33" y="153"/>
                    <a:pt x="35" y="149"/>
                  </a:cubicBezTo>
                  <a:cubicBezTo>
                    <a:pt x="46" y="127"/>
                    <a:pt x="42" y="115"/>
                    <a:pt x="15" y="112"/>
                  </a:cubicBezTo>
                  <a:cubicBezTo>
                    <a:pt x="9" y="111"/>
                    <a:pt x="1" y="99"/>
                    <a:pt x="1" y="91"/>
                  </a:cubicBezTo>
                  <a:cubicBezTo>
                    <a:pt x="0" y="85"/>
                    <a:pt x="8" y="74"/>
                    <a:pt x="14" y="72"/>
                  </a:cubicBezTo>
                  <a:cubicBezTo>
                    <a:pt x="45" y="63"/>
                    <a:pt x="45" y="63"/>
                    <a:pt x="35" y="34"/>
                  </a:cubicBezTo>
                  <a:cubicBezTo>
                    <a:pt x="34" y="31"/>
                    <a:pt x="32" y="27"/>
                    <a:pt x="31" y="23"/>
                  </a:cubicBezTo>
                  <a:close/>
                  <a:moveTo>
                    <a:pt x="90" y="124"/>
                  </a:moveTo>
                  <a:cubicBezTo>
                    <a:pt x="111" y="123"/>
                    <a:pt x="123" y="111"/>
                    <a:pt x="123" y="93"/>
                  </a:cubicBezTo>
                  <a:cubicBezTo>
                    <a:pt x="123" y="75"/>
                    <a:pt x="112" y="61"/>
                    <a:pt x="92" y="61"/>
                  </a:cubicBezTo>
                  <a:cubicBezTo>
                    <a:pt x="73" y="61"/>
                    <a:pt x="61" y="72"/>
                    <a:pt x="61" y="92"/>
                  </a:cubicBezTo>
                  <a:cubicBezTo>
                    <a:pt x="60" y="112"/>
                    <a:pt x="73" y="121"/>
                    <a:pt x="9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3" name="Rectangle 192">
            <a:extLst>
              <a:ext uri="{FF2B5EF4-FFF2-40B4-BE49-F238E27FC236}">
                <a16:creationId xmlns:a16="http://schemas.microsoft.com/office/drawing/2014/main" id="{84EEC23B-CB56-4592-BC0B-CF70EA23F361}"/>
              </a:ext>
            </a:extLst>
          </p:cNvPr>
          <p:cNvSpPr>
            <a:spLocks/>
          </p:cNvSpPr>
          <p:nvPr/>
        </p:nvSpPr>
        <p:spPr bwMode="gray">
          <a:xfrm>
            <a:off x="11059749" y="2853517"/>
            <a:ext cx="724264" cy="905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000CB68F-5DC2-4FF6-ADA2-1EF701E12530}"/>
              </a:ext>
            </a:extLst>
          </p:cNvPr>
          <p:cNvSpPr/>
          <p:nvPr/>
        </p:nvSpPr>
        <p:spPr>
          <a:xfrm>
            <a:off x="10555394" y="2785977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BDA21250-B5EE-4990-8E1F-728A339C172D}"/>
              </a:ext>
            </a:extLst>
          </p:cNvPr>
          <p:cNvGrpSpPr/>
          <p:nvPr/>
        </p:nvGrpSpPr>
        <p:grpSpPr bwMode="gray">
          <a:xfrm>
            <a:off x="10519571" y="2738879"/>
            <a:ext cx="205069" cy="214556"/>
            <a:chOff x="5710238" y="596900"/>
            <a:chExt cx="538163" cy="498475"/>
          </a:xfrm>
          <a:solidFill>
            <a:schemeClr val="accent6"/>
          </a:solidFill>
        </p:grpSpPr>
        <p:sp>
          <p:nvSpPr>
            <p:cNvPr id="221" name="Freeform 63">
              <a:extLst>
                <a:ext uri="{FF2B5EF4-FFF2-40B4-BE49-F238E27FC236}">
                  <a16:creationId xmlns:a16="http://schemas.microsoft.com/office/drawing/2014/main" id="{366BE4F7-A56F-421C-AD77-C306BBB47E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596900"/>
              <a:ext cx="430213" cy="479425"/>
            </a:xfrm>
            <a:custGeom>
              <a:avLst/>
              <a:gdLst>
                <a:gd name="T0" fmla="*/ 132 w 132"/>
                <a:gd name="T1" fmla="*/ 0 h 146"/>
                <a:gd name="T2" fmla="*/ 106 w 132"/>
                <a:gd name="T3" fmla="*/ 11 h 146"/>
                <a:gd name="T4" fmla="*/ 56 w 132"/>
                <a:gd name="T5" fmla="*/ 64 h 146"/>
                <a:gd name="T6" fmla="*/ 9 w 132"/>
                <a:gd name="T7" fmla="*/ 119 h 146"/>
                <a:gd name="T8" fmla="*/ 0 w 132"/>
                <a:gd name="T9" fmla="*/ 146 h 146"/>
                <a:gd name="T10" fmla="*/ 25 w 132"/>
                <a:gd name="T11" fmla="*/ 133 h 146"/>
                <a:gd name="T12" fmla="*/ 73 w 132"/>
                <a:gd name="T13" fmla="*/ 79 h 146"/>
                <a:gd name="T14" fmla="*/ 121 w 132"/>
                <a:gd name="T15" fmla="*/ 26 h 146"/>
                <a:gd name="T16" fmla="*/ 132 w 132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46">
                  <a:moveTo>
                    <a:pt x="132" y="0"/>
                  </a:moveTo>
                  <a:cubicBezTo>
                    <a:pt x="121" y="1"/>
                    <a:pt x="114" y="3"/>
                    <a:pt x="106" y="11"/>
                  </a:cubicBezTo>
                  <a:cubicBezTo>
                    <a:pt x="97" y="19"/>
                    <a:pt x="56" y="64"/>
                    <a:pt x="56" y="64"/>
                  </a:cubicBezTo>
                  <a:cubicBezTo>
                    <a:pt x="56" y="64"/>
                    <a:pt x="16" y="109"/>
                    <a:pt x="9" y="119"/>
                  </a:cubicBezTo>
                  <a:cubicBezTo>
                    <a:pt x="2" y="127"/>
                    <a:pt x="1" y="135"/>
                    <a:pt x="0" y="146"/>
                  </a:cubicBezTo>
                  <a:cubicBezTo>
                    <a:pt x="11" y="143"/>
                    <a:pt x="18" y="141"/>
                    <a:pt x="25" y="133"/>
                  </a:cubicBezTo>
                  <a:cubicBezTo>
                    <a:pt x="33" y="123"/>
                    <a:pt x="72" y="78"/>
                    <a:pt x="73" y="79"/>
                  </a:cubicBezTo>
                  <a:cubicBezTo>
                    <a:pt x="72" y="78"/>
                    <a:pt x="113" y="35"/>
                    <a:pt x="121" y="26"/>
                  </a:cubicBezTo>
                  <a:cubicBezTo>
                    <a:pt x="129" y="18"/>
                    <a:pt x="131" y="11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222" name="Freeform 64">
              <a:extLst>
                <a:ext uri="{FF2B5EF4-FFF2-40B4-BE49-F238E27FC236}">
                  <a16:creationId xmlns:a16="http://schemas.microsoft.com/office/drawing/2014/main" id="{F64A341B-F106-49A9-B401-1470D08FED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708025"/>
              <a:ext cx="538163" cy="387350"/>
            </a:xfrm>
            <a:custGeom>
              <a:avLst/>
              <a:gdLst>
                <a:gd name="T0" fmla="*/ 0 w 165"/>
                <a:gd name="T1" fmla="*/ 2 h 118"/>
                <a:gd name="T2" fmla="*/ 19 w 165"/>
                <a:gd name="T3" fmla="*/ 25 h 118"/>
                <a:gd name="T4" fmla="*/ 81 w 165"/>
                <a:gd name="T5" fmla="*/ 63 h 118"/>
                <a:gd name="T6" fmla="*/ 138 w 165"/>
                <a:gd name="T7" fmla="*/ 107 h 118"/>
                <a:gd name="T8" fmla="*/ 165 w 165"/>
                <a:gd name="T9" fmla="*/ 118 h 118"/>
                <a:gd name="T10" fmla="*/ 153 w 165"/>
                <a:gd name="T11" fmla="*/ 91 h 118"/>
                <a:gd name="T12" fmla="*/ 93 w 165"/>
                <a:gd name="T13" fmla="*/ 45 h 118"/>
                <a:gd name="T14" fmla="*/ 30 w 165"/>
                <a:gd name="T15" fmla="*/ 5 h 118"/>
                <a:gd name="T16" fmla="*/ 0 w 165"/>
                <a:gd name="T17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18">
                  <a:moveTo>
                    <a:pt x="0" y="2"/>
                  </a:moveTo>
                  <a:cubicBezTo>
                    <a:pt x="5" y="13"/>
                    <a:pt x="9" y="19"/>
                    <a:pt x="19" y="25"/>
                  </a:cubicBezTo>
                  <a:cubicBezTo>
                    <a:pt x="30" y="30"/>
                    <a:pt x="82" y="62"/>
                    <a:pt x="81" y="63"/>
                  </a:cubicBezTo>
                  <a:cubicBezTo>
                    <a:pt x="82" y="62"/>
                    <a:pt x="130" y="98"/>
                    <a:pt x="138" y="107"/>
                  </a:cubicBezTo>
                  <a:cubicBezTo>
                    <a:pt x="147" y="114"/>
                    <a:pt x="153" y="116"/>
                    <a:pt x="165" y="118"/>
                  </a:cubicBezTo>
                  <a:cubicBezTo>
                    <a:pt x="163" y="107"/>
                    <a:pt x="162" y="98"/>
                    <a:pt x="153" y="91"/>
                  </a:cubicBezTo>
                  <a:cubicBezTo>
                    <a:pt x="144" y="81"/>
                    <a:pt x="94" y="44"/>
                    <a:pt x="93" y="45"/>
                  </a:cubicBezTo>
                  <a:cubicBezTo>
                    <a:pt x="94" y="44"/>
                    <a:pt x="41" y="11"/>
                    <a:pt x="30" y="5"/>
                  </a:cubicBezTo>
                  <a:cubicBezTo>
                    <a:pt x="19" y="0"/>
                    <a:pt x="1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52191EA9-3366-41B2-A0C6-E909D9F87991}"/>
              </a:ext>
            </a:extLst>
          </p:cNvPr>
          <p:cNvCxnSpPr/>
          <p:nvPr/>
        </p:nvCxnSpPr>
        <p:spPr>
          <a:xfrm>
            <a:off x="10707602" y="2863878"/>
            <a:ext cx="290402" cy="6194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arrow" w="med" len="med"/>
            <a:tailEnd type="none" w="med" len="med"/>
          </a:ln>
          <a:effectLst/>
        </p:spPr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D6AE5CCB-8313-432D-A342-41DD081CB5C9}"/>
              </a:ext>
            </a:extLst>
          </p:cNvPr>
          <p:cNvSpPr/>
          <p:nvPr/>
        </p:nvSpPr>
        <p:spPr bwMode="gray">
          <a:xfrm>
            <a:off x="10984435" y="271831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2</a:t>
            </a:r>
            <a:r>
              <a:rPr kumimoji="0" lang="en-US" sz="105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nd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SteerCo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CDA6AA57-7928-4F42-807F-0EB62D873EBC}"/>
              </a:ext>
            </a:extLst>
          </p:cNvPr>
          <p:cNvGrpSpPr>
            <a:grpSpLocks/>
          </p:cNvGrpSpPr>
          <p:nvPr/>
        </p:nvGrpSpPr>
        <p:grpSpPr>
          <a:xfrm rot="5400000">
            <a:off x="5069696" y="4561595"/>
            <a:ext cx="144000" cy="1332000"/>
            <a:chOff x="5688912" y="2372505"/>
            <a:chExt cx="712725" cy="1671702"/>
          </a:xfrm>
        </p:grpSpPr>
        <p:sp>
          <p:nvSpPr>
            <p:cNvPr id="239" name="Raute 132">
              <a:extLst>
                <a:ext uri="{FF2B5EF4-FFF2-40B4-BE49-F238E27FC236}">
                  <a16:creationId xmlns:a16="http://schemas.microsoft.com/office/drawing/2014/main" id="{004C3756-D65C-4C68-84EA-766F1F6690BD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  <p:sp>
          <p:nvSpPr>
            <p:cNvPr id="240" name="Raute 132">
              <a:extLst>
                <a:ext uri="{FF2B5EF4-FFF2-40B4-BE49-F238E27FC236}">
                  <a16:creationId xmlns:a16="http://schemas.microsoft.com/office/drawing/2014/main" id="{3AE9A154-8C01-4242-8D21-3F32470231A6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4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</p:grpSp>
      <p:sp>
        <p:nvSpPr>
          <p:cNvPr id="241" name="Rectangle 240">
            <a:extLst>
              <a:ext uri="{FF2B5EF4-FFF2-40B4-BE49-F238E27FC236}">
                <a16:creationId xmlns:a16="http://schemas.microsoft.com/office/drawing/2014/main" id="{866D5499-C36F-46F5-A1AF-29F802D7D9A0}"/>
              </a:ext>
            </a:extLst>
          </p:cNvPr>
          <p:cNvSpPr>
            <a:spLocks/>
          </p:cNvSpPr>
          <p:nvPr/>
        </p:nvSpPr>
        <p:spPr>
          <a:xfrm>
            <a:off x="1233402" y="5491846"/>
            <a:ext cx="7816589" cy="969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…we were able improve the model in terms of accuracy far beyond Watson performance and initial expectations. At the same time, engineering activities started with the goal of building a robust infrastructure that allows for utilizing the good model results.</a:t>
            </a:r>
          </a:p>
        </p:txBody>
      </p:sp>
    </p:spTree>
    <p:extLst>
      <p:ext uri="{BB962C8B-B14F-4D97-AF65-F5344CB8AC3E}">
        <p14:creationId xmlns:p14="http://schemas.microsoft.com/office/powerpoint/2010/main" val="174478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079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Holmes Development Lifecycle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C2AF88E-1B69-45F8-8E85-6207ADFDF830}"/>
              </a:ext>
            </a:extLst>
          </p:cNvPr>
          <p:cNvGrpSpPr/>
          <p:nvPr/>
        </p:nvGrpSpPr>
        <p:grpSpPr>
          <a:xfrm>
            <a:off x="1251012" y="2500956"/>
            <a:ext cx="6454593" cy="1974396"/>
            <a:chOff x="751586" y="2271014"/>
            <a:chExt cx="6609396" cy="2121408"/>
          </a:xfrm>
        </p:grpSpPr>
        <p:sp>
          <p:nvSpPr>
            <p:cNvPr id="197" name="Hexagon 10">
              <a:extLst>
                <a:ext uri="{FF2B5EF4-FFF2-40B4-BE49-F238E27FC236}">
                  <a16:creationId xmlns:a16="http://schemas.microsoft.com/office/drawing/2014/main" id="{33B4A255-A42A-47E5-BBF8-450FEC78C35C}"/>
                </a:ext>
              </a:extLst>
            </p:cNvPr>
            <p:cNvSpPr/>
            <p:nvPr/>
          </p:nvSpPr>
          <p:spPr bwMode="gray">
            <a:xfrm rot="5400000">
              <a:off x="658336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8" name="Hexagon 10">
              <a:extLst>
                <a:ext uri="{FF2B5EF4-FFF2-40B4-BE49-F238E27FC236}">
                  <a16:creationId xmlns:a16="http://schemas.microsoft.com/office/drawing/2014/main" id="{4FD3C07C-4B78-484D-9648-55078F5DE087}"/>
                </a:ext>
              </a:extLst>
            </p:cNvPr>
            <p:cNvSpPr/>
            <p:nvPr/>
          </p:nvSpPr>
          <p:spPr bwMode="gray">
            <a:xfrm rot="5400000" flipH="1">
              <a:off x="2015648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9" name="Hexagon 10">
              <a:extLst>
                <a:ext uri="{FF2B5EF4-FFF2-40B4-BE49-F238E27FC236}">
                  <a16:creationId xmlns:a16="http://schemas.microsoft.com/office/drawing/2014/main" id="{2CBD80C7-DE19-41BB-9401-273E837E419D}"/>
                </a:ext>
              </a:extLst>
            </p:cNvPr>
            <p:cNvSpPr/>
            <p:nvPr/>
          </p:nvSpPr>
          <p:spPr bwMode="gray">
            <a:xfrm rot="5400000">
              <a:off x="3349148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0" name="Hexagon 10">
              <a:extLst>
                <a:ext uri="{FF2B5EF4-FFF2-40B4-BE49-F238E27FC236}">
                  <a16:creationId xmlns:a16="http://schemas.microsoft.com/office/drawing/2014/main" id="{A53386E8-9D04-4401-84C1-CE8DB86499D4}"/>
                </a:ext>
              </a:extLst>
            </p:cNvPr>
            <p:cNvSpPr/>
            <p:nvPr/>
          </p:nvSpPr>
          <p:spPr bwMode="gray">
            <a:xfrm rot="5400000" flipH="1">
              <a:off x="4706460" y="3071400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accent5"/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1" name="Hexagon 10">
              <a:extLst>
                <a:ext uri="{FF2B5EF4-FFF2-40B4-BE49-F238E27FC236}">
                  <a16:creationId xmlns:a16="http://schemas.microsoft.com/office/drawing/2014/main" id="{60153D2B-67A4-4BD9-9702-351AD78AD926}"/>
                </a:ext>
              </a:extLst>
            </p:cNvPr>
            <p:cNvSpPr/>
            <p:nvPr/>
          </p:nvSpPr>
          <p:spPr bwMode="gray">
            <a:xfrm rot="5400000">
              <a:off x="6039960" y="2364264"/>
              <a:ext cx="1414272" cy="1227772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accent6"/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02" name="Hexagon 201">
            <a:extLst>
              <a:ext uri="{FF2B5EF4-FFF2-40B4-BE49-F238E27FC236}">
                <a16:creationId xmlns:a16="http://schemas.microsoft.com/office/drawing/2014/main" id="{02218789-BB2C-4DF6-8226-EB9DB14783D6}"/>
              </a:ext>
            </a:extLst>
          </p:cNvPr>
          <p:cNvSpPr/>
          <p:nvPr/>
        </p:nvSpPr>
        <p:spPr bwMode="gray">
          <a:xfrm rot="16200000">
            <a:off x="1290471" y="2661334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3" name="Hexagon 202">
            <a:extLst>
              <a:ext uri="{FF2B5EF4-FFF2-40B4-BE49-F238E27FC236}">
                <a16:creationId xmlns:a16="http://schemas.microsoft.com/office/drawing/2014/main" id="{574A566D-36B0-4C0D-8434-34E020E4CD2C}"/>
              </a:ext>
            </a:extLst>
          </p:cNvPr>
          <p:cNvSpPr/>
          <p:nvPr/>
        </p:nvSpPr>
        <p:spPr bwMode="gray">
          <a:xfrm rot="16200000">
            <a:off x="2620754" y="3314928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4" name="Hexagon 203">
            <a:extLst>
              <a:ext uri="{FF2B5EF4-FFF2-40B4-BE49-F238E27FC236}">
                <a16:creationId xmlns:a16="http://schemas.microsoft.com/office/drawing/2014/main" id="{C87EE9CE-0A39-42B6-9AE6-CFFD383404CE}"/>
              </a:ext>
            </a:extLst>
          </p:cNvPr>
          <p:cNvSpPr>
            <a:spLocks/>
          </p:cNvSpPr>
          <p:nvPr/>
        </p:nvSpPr>
        <p:spPr bwMode="gray">
          <a:xfrm rot="16200000">
            <a:off x="3923021" y="2656796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5" name="Hexagon 204">
            <a:extLst>
              <a:ext uri="{FF2B5EF4-FFF2-40B4-BE49-F238E27FC236}">
                <a16:creationId xmlns:a16="http://schemas.microsoft.com/office/drawing/2014/main" id="{E1792963-3546-4BFD-8D1A-BA34CA47745D}"/>
              </a:ext>
            </a:extLst>
          </p:cNvPr>
          <p:cNvSpPr>
            <a:spLocks/>
          </p:cNvSpPr>
          <p:nvPr/>
        </p:nvSpPr>
        <p:spPr bwMode="gray">
          <a:xfrm rot="16200000">
            <a:off x="5248543" y="3314928"/>
            <a:ext cx="1110573" cy="1004584"/>
          </a:xfrm>
          <a:prstGeom prst="hexagon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06" name="Hexagon 205">
            <a:extLst>
              <a:ext uri="{FF2B5EF4-FFF2-40B4-BE49-F238E27FC236}">
                <a16:creationId xmlns:a16="http://schemas.microsoft.com/office/drawing/2014/main" id="{4B3C7CAF-5C5E-47C4-8C7B-72CDF41A670A}"/>
              </a:ext>
            </a:extLst>
          </p:cNvPr>
          <p:cNvSpPr>
            <a:spLocks/>
          </p:cNvSpPr>
          <p:nvPr/>
        </p:nvSpPr>
        <p:spPr bwMode="gray">
          <a:xfrm rot="16200000">
            <a:off x="6550810" y="2656797"/>
            <a:ext cx="1110573" cy="1004584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BE75C26D-288F-4048-BAF5-13CDAB244A66}"/>
              </a:ext>
            </a:extLst>
          </p:cNvPr>
          <p:cNvGrpSpPr/>
          <p:nvPr/>
        </p:nvGrpSpPr>
        <p:grpSpPr>
          <a:xfrm>
            <a:off x="1841531" y="2306089"/>
            <a:ext cx="5268663" cy="199404"/>
            <a:chOff x="1425933" y="1146206"/>
            <a:chExt cx="6282218" cy="1374704"/>
          </a:xfrm>
        </p:grpSpPr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71F48747-AE2E-45BD-9F8C-8099EA6125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5933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2CBEF1FD-75A0-43E4-8BC3-0E04C7EB8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66698" y="1146206"/>
              <a:ext cx="688" cy="13747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D8F66EB9-E612-4CDF-B613-F04B582CBF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07463" y="1146206"/>
              <a:ext cx="688" cy="1374704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9089C857-37A3-4736-929C-6D0D47610D60}"/>
              </a:ext>
            </a:extLst>
          </p:cNvPr>
          <p:cNvGrpSpPr/>
          <p:nvPr/>
        </p:nvGrpSpPr>
        <p:grpSpPr>
          <a:xfrm>
            <a:off x="3171428" y="4480396"/>
            <a:ext cx="2623921" cy="166857"/>
            <a:chOff x="3013013" y="5005847"/>
            <a:chExt cx="3130094" cy="938942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097C9AE1-C019-4ECF-9A3D-A604F9CA8C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2419" y="5005849"/>
              <a:ext cx="688" cy="938940"/>
            </a:xfrm>
            <a:prstGeom prst="line">
              <a:avLst/>
            </a:prstGeom>
            <a:ln>
              <a:solidFill>
                <a:schemeClr val="accent5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C355E85-2FD9-401F-AF69-354C5EE8C0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3013" y="5005847"/>
              <a:ext cx="688" cy="938939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Rectangle 213">
            <a:extLst>
              <a:ext uri="{FF2B5EF4-FFF2-40B4-BE49-F238E27FC236}">
                <a16:creationId xmlns:a16="http://schemas.microsoft.com/office/drawing/2014/main" id="{1DB6B88C-ECB5-4448-BD58-2C51BDCEE0A5}"/>
              </a:ext>
            </a:extLst>
          </p:cNvPr>
          <p:cNvSpPr/>
          <p:nvPr/>
        </p:nvSpPr>
        <p:spPr>
          <a:xfrm>
            <a:off x="1130630" y="1975066"/>
            <a:ext cx="1430256" cy="2539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5ECADE8-3103-4B20-BA19-0554069258A4}"/>
              </a:ext>
            </a:extLst>
          </p:cNvPr>
          <p:cNvSpPr/>
          <p:nvPr/>
        </p:nvSpPr>
        <p:spPr>
          <a:xfrm>
            <a:off x="3878800" y="1975066"/>
            <a:ext cx="1199017" cy="2539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Modelling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06935711-88E4-4E58-B4C9-4F9FF8B6A7E7}"/>
              </a:ext>
            </a:extLst>
          </p:cNvPr>
          <p:cNvSpPr/>
          <p:nvPr/>
        </p:nvSpPr>
        <p:spPr>
          <a:xfrm>
            <a:off x="5969299" y="1975066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Validation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D0E0F0B-E0A5-4F35-8CFB-F5AB6D6FB554}"/>
              </a:ext>
            </a:extLst>
          </p:cNvPr>
          <p:cNvSpPr/>
          <p:nvPr/>
        </p:nvSpPr>
        <p:spPr>
          <a:xfrm>
            <a:off x="2450028" y="4645728"/>
            <a:ext cx="1430256" cy="2539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Explor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1EA8D65-1C1C-4350-95E1-07A4491AF15C}"/>
              </a:ext>
            </a:extLst>
          </p:cNvPr>
          <p:cNvSpPr/>
          <p:nvPr/>
        </p:nvSpPr>
        <p:spPr>
          <a:xfrm>
            <a:off x="4656148" y="4645728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prstClr val="black"/>
                </a:solidFill>
              </a:rPr>
              <a:t>Engineering</a:t>
            </a:r>
          </a:p>
        </p:txBody>
      </p:sp>
      <p:sp>
        <p:nvSpPr>
          <p:cNvPr id="226" name="Hexagon 58">
            <a:extLst>
              <a:ext uri="{FF2B5EF4-FFF2-40B4-BE49-F238E27FC236}">
                <a16:creationId xmlns:a16="http://schemas.microsoft.com/office/drawing/2014/main" id="{4608056B-4104-4663-94D5-07B238D0A2C6}"/>
              </a:ext>
            </a:extLst>
          </p:cNvPr>
          <p:cNvSpPr/>
          <p:nvPr/>
        </p:nvSpPr>
        <p:spPr bwMode="gray">
          <a:xfrm rot="16200000">
            <a:off x="1705714" y="3207830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7" name="Hexagon 58">
            <a:extLst>
              <a:ext uri="{FF2B5EF4-FFF2-40B4-BE49-F238E27FC236}">
                <a16:creationId xmlns:a16="http://schemas.microsoft.com/office/drawing/2014/main" id="{7FEDA1E9-9025-4222-8B3E-007DABE933E3}"/>
              </a:ext>
            </a:extLst>
          </p:cNvPr>
          <p:cNvSpPr/>
          <p:nvPr/>
        </p:nvSpPr>
        <p:spPr bwMode="gray">
          <a:xfrm rot="16200000">
            <a:off x="4328679" y="320329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8" name="Hexagon 58">
            <a:extLst>
              <a:ext uri="{FF2B5EF4-FFF2-40B4-BE49-F238E27FC236}">
                <a16:creationId xmlns:a16="http://schemas.microsoft.com/office/drawing/2014/main" id="{341DB174-C2B6-4609-9BEA-1A41A014DFF6}"/>
              </a:ext>
            </a:extLst>
          </p:cNvPr>
          <p:cNvSpPr/>
          <p:nvPr/>
        </p:nvSpPr>
        <p:spPr bwMode="gray">
          <a:xfrm rot="16200000">
            <a:off x="6951643" y="319875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9" name="Hexagon 58">
            <a:extLst>
              <a:ext uri="{FF2B5EF4-FFF2-40B4-BE49-F238E27FC236}">
                <a16:creationId xmlns:a16="http://schemas.microsoft.com/office/drawing/2014/main" id="{F2AE54A5-748B-45B5-8772-7F29C09500DB}"/>
              </a:ext>
            </a:extLst>
          </p:cNvPr>
          <p:cNvSpPr/>
          <p:nvPr/>
        </p:nvSpPr>
        <p:spPr bwMode="gray">
          <a:xfrm rot="5400000" flipV="1">
            <a:off x="5637999" y="2538012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0" name="Hexagon 58">
            <a:extLst>
              <a:ext uri="{FF2B5EF4-FFF2-40B4-BE49-F238E27FC236}">
                <a16:creationId xmlns:a16="http://schemas.microsoft.com/office/drawing/2014/main" id="{71248B5A-4534-4A22-B526-3476100187D4}"/>
              </a:ext>
            </a:extLst>
          </p:cNvPr>
          <p:cNvSpPr/>
          <p:nvPr/>
        </p:nvSpPr>
        <p:spPr bwMode="gray">
          <a:xfrm rot="5400000" flipV="1">
            <a:off x="3029004" y="2551314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1" name="Hexagon 10">
            <a:extLst>
              <a:ext uri="{FF2B5EF4-FFF2-40B4-BE49-F238E27FC236}">
                <a16:creationId xmlns:a16="http://schemas.microsoft.com/office/drawing/2014/main" id="{CC251BAF-13A4-4ECA-A47E-A0853474ED72}"/>
              </a:ext>
            </a:extLst>
          </p:cNvPr>
          <p:cNvSpPr/>
          <p:nvPr/>
        </p:nvSpPr>
        <p:spPr bwMode="gray">
          <a:xfrm rot="5400000" flipH="1">
            <a:off x="7768866" y="3231415"/>
            <a:ext cx="1316264" cy="1199016"/>
          </a:xfrm>
          <a:custGeom>
            <a:avLst/>
            <a:gdLst>
              <a:gd name="connsiteX0" fmla="*/ 0 w 1414272"/>
              <a:gd name="connsiteY0" fmla="*/ 609600 h 1219200"/>
              <a:gd name="connsiteX1" fmla="*/ 304800 w 1414272"/>
              <a:gd name="connsiteY1" fmla="*/ 0 h 1219200"/>
              <a:gd name="connsiteX2" fmla="*/ 1109472 w 1414272"/>
              <a:gd name="connsiteY2" fmla="*/ 0 h 1219200"/>
              <a:gd name="connsiteX3" fmla="*/ 1414272 w 1414272"/>
              <a:gd name="connsiteY3" fmla="*/ 609600 h 1219200"/>
              <a:gd name="connsiteX4" fmla="*/ 1109472 w 1414272"/>
              <a:gd name="connsiteY4" fmla="*/ 1219200 h 1219200"/>
              <a:gd name="connsiteX5" fmla="*/ 304800 w 1414272"/>
              <a:gd name="connsiteY5" fmla="*/ 1219200 h 1219200"/>
              <a:gd name="connsiteX6" fmla="*/ 0 w 1414272"/>
              <a:gd name="connsiteY6" fmla="*/ 609600 h 1219200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1200912 w 1414272"/>
              <a:gd name="connsiteY6" fmla="*/ 91440 h 1219200"/>
              <a:gd name="connsiteX0" fmla="*/ 1109472 w 1414272"/>
              <a:gd name="connsiteY0" fmla="*/ 13335 h 1232535"/>
              <a:gd name="connsiteX1" fmla="*/ 1414272 w 1414272"/>
              <a:gd name="connsiteY1" fmla="*/ 622935 h 1232535"/>
              <a:gd name="connsiteX2" fmla="*/ 1109472 w 1414272"/>
              <a:gd name="connsiteY2" fmla="*/ 1232535 h 1232535"/>
              <a:gd name="connsiteX3" fmla="*/ 304800 w 1414272"/>
              <a:gd name="connsiteY3" fmla="*/ 1232535 h 1232535"/>
              <a:gd name="connsiteX4" fmla="*/ 0 w 1414272"/>
              <a:gd name="connsiteY4" fmla="*/ 622935 h 1232535"/>
              <a:gd name="connsiteX5" fmla="*/ 304800 w 1414272"/>
              <a:gd name="connsiteY5" fmla="*/ 13335 h 1232535"/>
              <a:gd name="connsiteX6" fmla="*/ 958024 w 1414272"/>
              <a:gd name="connsiteY6" fmla="*/ 0 h 1232535"/>
              <a:gd name="connsiteX0" fmla="*/ 1109472 w 1414272"/>
              <a:gd name="connsiteY0" fmla="*/ 0 h 1219200"/>
              <a:gd name="connsiteX1" fmla="*/ 1414272 w 1414272"/>
              <a:gd name="connsiteY1" fmla="*/ 609600 h 1219200"/>
              <a:gd name="connsiteX2" fmla="*/ 1109472 w 1414272"/>
              <a:gd name="connsiteY2" fmla="*/ 1219200 h 1219200"/>
              <a:gd name="connsiteX3" fmla="*/ 304800 w 1414272"/>
              <a:gd name="connsiteY3" fmla="*/ 1219200 h 1219200"/>
              <a:gd name="connsiteX4" fmla="*/ 0 w 1414272"/>
              <a:gd name="connsiteY4" fmla="*/ 609600 h 1219200"/>
              <a:gd name="connsiteX5" fmla="*/ 304800 w 1414272"/>
              <a:gd name="connsiteY5" fmla="*/ 0 h 1219200"/>
              <a:gd name="connsiteX6" fmla="*/ 858015 w 1414272"/>
              <a:gd name="connsiteY6" fmla="*/ 10478 h 1219200"/>
              <a:gd name="connsiteX0" fmla="*/ 1109472 w 1414272"/>
              <a:gd name="connsiteY0" fmla="*/ 8572 h 1227772"/>
              <a:gd name="connsiteX1" fmla="*/ 1414272 w 1414272"/>
              <a:gd name="connsiteY1" fmla="*/ 618172 h 1227772"/>
              <a:gd name="connsiteX2" fmla="*/ 1109472 w 1414272"/>
              <a:gd name="connsiteY2" fmla="*/ 1227772 h 1227772"/>
              <a:gd name="connsiteX3" fmla="*/ 304800 w 1414272"/>
              <a:gd name="connsiteY3" fmla="*/ 1227772 h 1227772"/>
              <a:gd name="connsiteX4" fmla="*/ 0 w 1414272"/>
              <a:gd name="connsiteY4" fmla="*/ 618172 h 1227772"/>
              <a:gd name="connsiteX5" fmla="*/ 304800 w 1414272"/>
              <a:gd name="connsiteY5" fmla="*/ 8572 h 1227772"/>
              <a:gd name="connsiteX6" fmla="*/ 848490 w 1414272"/>
              <a:gd name="connsiteY6" fmla="*/ 0 h 1227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4272" h="1227772">
                <a:moveTo>
                  <a:pt x="1109472" y="8572"/>
                </a:moveTo>
                <a:lnTo>
                  <a:pt x="1414272" y="618172"/>
                </a:lnTo>
                <a:lnTo>
                  <a:pt x="1109472" y="1227772"/>
                </a:lnTo>
                <a:lnTo>
                  <a:pt x="304800" y="1227772"/>
                </a:lnTo>
                <a:lnTo>
                  <a:pt x="0" y="618172"/>
                </a:lnTo>
                <a:lnTo>
                  <a:pt x="304800" y="8572"/>
                </a:lnTo>
                <a:cubicBezTo>
                  <a:pt x="573024" y="8572"/>
                  <a:pt x="848490" y="0"/>
                  <a:pt x="84849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triangle" w="lg" len="lg"/>
            <a:tailEnd type="oval" w="med" len="med"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2" name="Hexagon 231">
            <a:extLst>
              <a:ext uri="{FF2B5EF4-FFF2-40B4-BE49-F238E27FC236}">
                <a16:creationId xmlns:a16="http://schemas.microsoft.com/office/drawing/2014/main" id="{2EF3E5C7-1C8A-47E8-8105-E633AC406B0F}"/>
              </a:ext>
            </a:extLst>
          </p:cNvPr>
          <p:cNvSpPr/>
          <p:nvPr/>
        </p:nvSpPr>
        <p:spPr bwMode="gray">
          <a:xfrm rot="16200000">
            <a:off x="7871711" y="3328631"/>
            <a:ext cx="1110573" cy="1004584"/>
          </a:xfrm>
          <a:prstGeom prst="hexagon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F6ADF69-A80C-40A4-9F54-E20D16DB37A7}"/>
              </a:ext>
            </a:extLst>
          </p:cNvPr>
          <p:cNvSpPr/>
          <p:nvPr/>
        </p:nvSpPr>
        <p:spPr>
          <a:xfrm>
            <a:off x="7279316" y="4659431"/>
            <a:ext cx="2303441" cy="2539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Deployment</a:t>
            </a:r>
          </a:p>
        </p:txBody>
      </p:sp>
      <p:sp>
        <p:nvSpPr>
          <p:cNvPr id="236" name="Hexagon 58">
            <a:extLst>
              <a:ext uri="{FF2B5EF4-FFF2-40B4-BE49-F238E27FC236}">
                <a16:creationId xmlns:a16="http://schemas.microsoft.com/office/drawing/2014/main" id="{47E1E454-6BC6-4FE5-A45F-0AAE081AFE7A}"/>
              </a:ext>
            </a:extLst>
          </p:cNvPr>
          <p:cNvSpPr/>
          <p:nvPr/>
        </p:nvSpPr>
        <p:spPr bwMode="gray">
          <a:xfrm rot="5400000" flipV="1">
            <a:off x="8261167" y="2551715"/>
            <a:ext cx="289611" cy="1215546"/>
          </a:xfrm>
          <a:custGeom>
            <a:avLst/>
            <a:gdLst>
              <a:gd name="connsiteX0" fmla="*/ 0 w 1682040"/>
              <a:gd name="connsiteY0" fmla="*/ 725017 h 1450034"/>
              <a:gd name="connsiteX1" fmla="*/ 362509 w 1682040"/>
              <a:gd name="connsiteY1" fmla="*/ 0 h 1450034"/>
              <a:gd name="connsiteX2" fmla="*/ 1319532 w 1682040"/>
              <a:gd name="connsiteY2" fmla="*/ 0 h 1450034"/>
              <a:gd name="connsiteX3" fmla="*/ 1682040 w 1682040"/>
              <a:gd name="connsiteY3" fmla="*/ 725017 h 1450034"/>
              <a:gd name="connsiteX4" fmla="*/ 1319532 w 1682040"/>
              <a:gd name="connsiteY4" fmla="*/ 1450034 h 1450034"/>
              <a:gd name="connsiteX5" fmla="*/ 362509 w 1682040"/>
              <a:gd name="connsiteY5" fmla="*/ 1450034 h 1450034"/>
              <a:gd name="connsiteX6" fmla="*/ 0 w 1682040"/>
              <a:gd name="connsiteY6" fmla="*/ 725017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6" fmla="*/ 1410972 w 1682040"/>
              <a:gd name="connsiteY6" fmla="*/ 91440 h 1450034"/>
              <a:gd name="connsiteX0" fmla="*/ 1319532 w 1682040"/>
              <a:gd name="connsiteY0" fmla="*/ 0 h 1450034"/>
              <a:gd name="connsiteX1" fmla="*/ 1682040 w 1682040"/>
              <a:gd name="connsiteY1" fmla="*/ 725017 h 1450034"/>
              <a:gd name="connsiteX2" fmla="*/ 1319532 w 1682040"/>
              <a:gd name="connsiteY2" fmla="*/ 1450034 h 1450034"/>
              <a:gd name="connsiteX3" fmla="*/ 362509 w 1682040"/>
              <a:gd name="connsiteY3" fmla="*/ 1450034 h 1450034"/>
              <a:gd name="connsiteX4" fmla="*/ 0 w 1682040"/>
              <a:gd name="connsiteY4" fmla="*/ 725017 h 1450034"/>
              <a:gd name="connsiteX5" fmla="*/ 362509 w 1682040"/>
              <a:gd name="connsiteY5" fmla="*/ 0 h 1450034"/>
              <a:gd name="connsiteX0" fmla="*/ 1319532 w 1319532"/>
              <a:gd name="connsiteY0" fmla="*/ 0 h 1450034"/>
              <a:gd name="connsiteX1" fmla="*/ 1319532 w 1319532"/>
              <a:gd name="connsiteY1" fmla="*/ 1450034 h 1450034"/>
              <a:gd name="connsiteX2" fmla="*/ 362509 w 1319532"/>
              <a:gd name="connsiteY2" fmla="*/ 1450034 h 1450034"/>
              <a:gd name="connsiteX3" fmla="*/ 0 w 1319532"/>
              <a:gd name="connsiteY3" fmla="*/ 725017 h 1450034"/>
              <a:gd name="connsiteX4" fmla="*/ 362509 w 1319532"/>
              <a:gd name="connsiteY4" fmla="*/ 0 h 1450034"/>
              <a:gd name="connsiteX0" fmla="*/ 1319532 w 1319532"/>
              <a:gd name="connsiteY0" fmla="*/ 0 h 1450034"/>
              <a:gd name="connsiteX1" fmla="*/ 362509 w 1319532"/>
              <a:gd name="connsiteY1" fmla="*/ 1450034 h 1450034"/>
              <a:gd name="connsiteX2" fmla="*/ 0 w 1319532"/>
              <a:gd name="connsiteY2" fmla="*/ 725017 h 1450034"/>
              <a:gd name="connsiteX3" fmla="*/ 362509 w 1319532"/>
              <a:gd name="connsiteY3" fmla="*/ 0 h 1450034"/>
              <a:gd name="connsiteX0" fmla="*/ 362509 w 362509"/>
              <a:gd name="connsiteY0" fmla="*/ 1450034 h 1450034"/>
              <a:gd name="connsiteX1" fmla="*/ 0 w 362509"/>
              <a:gd name="connsiteY1" fmla="*/ 725017 h 1450034"/>
              <a:gd name="connsiteX2" fmla="*/ 362509 w 362509"/>
              <a:gd name="connsiteY2" fmla="*/ 0 h 14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09" h="1450034">
                <a:moveTo>
                  <a:pt x="362509" y="1450034"/>
                </a:moveTo>
                <a:lnTo>
                  <a:pt x="0" y="725017"/>
                </a:lnTo>
                <a:lnTo>
                  <a:pt x="362509" y="0"/>
                </a:lnTo>
              </a:path>
            </a:pathLst>
          </a:custGeom>
          <a:noFill/>
          <a:ln w="19050" algn="ctr">
            <a:solidFill>
              <a:srgbClr val="A7A8AA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0AD7F1F-DECA-4AA0-953E-372CA19338A9}"/>
              </a:ext>
            </a:extLst>
          </p:cNvPr>
          <p:cNvCxnSpPr>
            <a:cxnSpLocks/>
          </p:cNvCxnSpPr>
          <p:nvPr/>
        </p:nvCxnSpPr>
        <p:spPr>
          <a:xfrm flipH="1">
            <a:off x="8425800" y="4480396"/>
            <a:ext cx="577" cy="16685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3C57EA3E-85CE-4D5E-A634-A5972252D8CF}"/>
              </a:ext>
            </a:extLst>
          </p:cNvPr>
          <p:cNvSpPr>
            <a:spLocks/>
          </p:cNvSpPr>
          <p:nvPr/>
        </p:nvSpPr>
        <p:spPr bwMode="gray">
          <a:xfrm>
            <a:off x="9395701" y="376863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Aug 21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13E85F0-8D5F-4D5D-8CE1-892E465819FA}"/>
              </a:ext>
            </a:extLst>
          </p:cNvPr>
          <p:cNvCxnSpPr/>
          <p:nvPr/>
        </p:nvCxnSpPr>
        <p:spPr>
          <a:xfrm>
            <a:off x="10683599" y="3929330"/>
            <a:ext cx="290402" cy="6194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arrow" w="med" len="med"/>
            <a:tailEnd type="none" w="med" len="med"/>
          </a:ln>
          <a:effectLst/>
        </p:spPr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D6AE5CCB-8313-432D-A342-41DD081CB5C9}"/>
              </a:ext>
            </a:extLst>
          </p:cNvPr>
          <p:cNvSpPr/>
          <p:nvPr/>
        </p:nvSpPr>
        <p:spPr bwMode="gray">
          <a:xfrm>
            <a:off x="10962895" y="378194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We are here</a:t>
            </a:r>
          </a:p>
        </p:txBody>
      </p:sp>
      <p:sp>
        <p:nvSpPr>
          <p:cNvPr id="90" name="Freeform 8">
            <a:extLst>
              <a:ext uri="{FF2B5EF4-FFF2-40B4-BE49-F238E27FC236}">
                <a16:creationId xmlns:a16="http://schemas.microsoft.com/office/drawing/2014/main" id="{5528DDFD-7443-4D6F-8EA5-F06D17B686C9}"/>
              </a:ext>
            </a:extLst>
          </p:cNvPr>
          <p:cNvSpPr>
            <a:spLocks/>
          </p:cNvSpPr>
          <p:nvPr/>
        </p:nvSpPr>
        <p:spPr bwMode="gray">
          <a:xfrm>
            <a:off x="10968019" y="3754432"/>
            <a:ext cx="946967" cy="333925"/>
          </a:xfrm>
          <a:custGeom>
            <a:avLst/>
            <a:gdLst>
              <a:gd name="T0" fmla="*/ 1580 w 1898"/>
              <a:gd name="T1" fmla="*/ 49 h 295"/>
              <a:gd name="T2" fmla="*/ 1067 w 1898"/>
              <a:gd name="T3" fmla="*/ 9 h 295"/>
              <a:gd name="T4" fmla="*/ 284 w 1898"/>
              <a:gd name="T5" fmla="*/ 41 h 295"/>
              <a:gd name="T6" fmla="*/ 60 w 1898"/>
              <a:gd name="T7" fmla="*/ 102 h 295"/>
              <a:gd name="T8" fmla="*/ 15 w 1898"/>
              <a:gd name="T9" fmla="*/ 139 h 295"/>
              <a:gd name="T10" fmla="*/ 24 w 1898"/>
              <a:gd name="T11" fmla="*/ 198 h 295"/>
              <a:gd name="T12" fmla="*/ 110 w 1898"/>
              <a:gd name="T13" fmla="*/ 238 h 295"/>
              <a:gd name="T14" fmla="*/ 295 w 1898"/>
              <a:gd name="T15" fmla="*/ 269 h 295"/>
              <a:gd name="T16" fmla="*/ 904 w 1898"/>
              <a:gd name="T17" fmla="*/ 292 h 295"/>
              <a:gd name="T18" fmla="*/ 1687 w 1898"/>
              <a:gd name="T19" fmla="*/ 256 h 295"/>
              <a:gd name="T20" fmla="*/ 1830 w 1898"/>
              <a:gd name="T21" fmla="*/ 218 h 295"/>
              <a:gd name="T22" fmla="*/ 1886 w 1898"/>
              <a:gd name="T23" fmla="*/ 179 h 295"/>
              <a:gd name="T24" fmla="*/ 1893 w 1898"/>
              <a:gd name="T25" fmla="*/ 142 h 295"/>
              <a:gd name="T26" fmla="*/ 1872 w 1898"/>
              <a:gd name="T27" fmla="*/ 115 h 295"/>
              <a:gd name="T28" fmla="*/ 1636 w 1898"/>
              <a:gd name="T29" fmla="*/ 53 h 295"/>
              <a:gd name="T30" fmla="*/ 1862 w 1898"/>
              <a:gd name="T31" fmla="*/ 127 h 295"/>
              <a:gd name="T32" fmla="*/ 1871 w 1898"/>
              <a:gd name="T33" fmla="*/ 168 h 295"/>
              <a:gd name="T34" fmla="*/ 1822 w 1898"/>
              <a:gd name="T35" fmla="*/ 200 h 295"/>
              <a:gd name="T36" fmla="*/ 1684 w 1898"/>
              <a:gd name="T37" fmla="*/ 235 h 295"/>
              <a:gd name="T38" fmla="*/ 904 w 1898"/>
              <a:gd name="T39" fmla="*/ 270 h 295"/>
              <a:gd name="T40" fmla="*/ 296 w 1898"/>
              <a:gd name="T41" fmla="*/ 247 h 295"/>
              <a:gd name="T42" fmla="*/ 116 w 1898"/>
              <a:gd name="T43" fmla="*/ 217 h 295"/>
              <a:gd name="T44" fmla="*/ 39 w 1898"/>
              <a:gd name="T45" fmla="*/ 182 h 295"/>
              <a:gd name="T46" fmla="*/ 70 w 1898"/>
              <a:gd name="T47" fmla="*/ 122 h 295"/>
              <a:gd name="T48" fmla="*/ 287 w 1898"/>
              <a:gd name="T49" fmla="*/ 63 h 295"/>
              <a:gd name="T50" fmla="*/ 1067 w 1898"/>
              <a:gd name="T51" fmla="*/ 31 h 295"/>
              <a:gd name="T52" fmla="*/ 1580 w 1898"/>
              <a:gd name="T53" fmla="*/ 49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98" h="295">
                <a:moveTo>
                  <a:pt x="1580" y="49"/>
                </a:moveTo>
                <a:cubicBezTo>
                  <a:pt x="1403" y="20"/>
                  <a:pt x="1281" y="14"/>
                  <a:pt x="1067" y="9"/>
                </a:cubicBezTo>
                <a:cubicBezTo>
                  <a:pt x="952" y="8"/>
                  <a:pt x="603" y="0"/>
                  <a:pt x="284" y="41"/>
                </a:cubicBezTo>
                <a:cubicBezTo>
                  <a:pt x="205" y="53"/>
                  <a:pt x="127" y="68"/>
                  <a:pt x="60" y="102"/>
                </a:cubicBezTo>
                <a:cubicBezTo>
                  <a:pt x="43" y="112"/>
                  <a:pt x="27" y="122"/>
                  <a:pt x="15" y="139"/>
                </a:cubicBezTo>
                <a:cubicBezTo>
                  <a:pt x="0" y="156"/>
                  <a:pt x="9" y="187"/>
                  <a:pt x="24" y="198"/>
                </a:cubicBezTo>
                <a:cubicBezTo>
                  <a:pt x="52" y="222"/>
                  <a:pt x="83" y="230"/>
                  <a:pt x="110" y="238"/>
                </a:cubicBezTo>
                <a:cubicBezTo>
                  <a:pt x="221" y="267"/>
                  <a:pt x="295" y="267"/>
                  <a:pt x="295" y="269"/>
                </a:cubicBezTo>
                <a:cubicBezTo>
                  <a:pt x="295" y="270"/>
                  <a:pt x="584" y="291"/>
                  <a:pt x="904" y="292"/>
                </a:cubicBezTo>
                <a:cubicBezTo>
                  <a:pt x="1224" y="295"/>
                  <a:pt x="1572" y="277"/>
                  <a:pt x="1687" y="256"/>
                </a:cubicBezTo>
                <a:cubicBezTo>
                  <a:pt x="1741" y="247"/>
                  <a:pt x="1788" y="236"/>
                  <a:pt x="1830" y="218"/>
                </a:cubicBezTo>
                <a:cubicBezTo>
                  <a:pt x="1851" y="209"/>
                  <a:pt x="1871" y="198"/>
                  <a:pt x="1886" y="179"/>
                </a:cubicBezTo>
                <a:cubicBezTo>
                  <a:pt x="1893" y="170"/>
                  <a:pt x="1898" y="155"/>
                  <a:pt x="1893" y="142"/>
                </a:cubicBezTo>
                <a:cubicBezTo>
                  <a:pt x="1889" y="130"/>
                  <a:pt x="1881" y="122"/>
                  <a:pt x="1872" y="115"/>
                </a:cubicBezTo>
                <a:cubicBezTo>
                  <a:pt x="1801" y="69"/>
                  <a:pt x="1724" y="63"/>
                  <a:pt x="1636" y="53"/>
                </a:cubicBezTo>
                <a:cubicBezTo>
                  <a:pt x="1722" y="70"/>
                  <a:pt x="1801" y="83"/>
                  <a:pt x="1862" y="127"/>
                </a:cubicBezTo>
                <a:cubicBezTo>
                  <a:pt x="1876" y="140"/>
                  <a:pt x="1883" y="155"/>
                  <a:pt x="1871" y="168"/>
                </a:cubicBezTo>
                <a:cubicBezTo>
                  <a:pt x="1860" y="182"/>
                  <a:pt x="1842" y="192"/>
                  <a:pt x="1822" y="200"/>
                </a:cubicBezTo>
                <a:cubicBezTo>
                  <a:pt x="1782" y="216"/>
                  <a:pt x="1736" y="226"/>
                  <a:pt x="1684" y="235"/>
                </a:cubicBezTo>
                <a:cubicBezTo>
                  <a:pt x="1571" y="255"/>
                  <a:pt x="1223" y="273"/>
                  <a:pt x="904" y="270"/>
                </a:cubicBezTo>
                <a:cubicBezTo>
                  <a:pt x="585" y="269"/>
                  <a:pt x="296" y="248"/>
                  <a:pt x="296" y="247"/>
                </a:cubicBezTo>
                <a:cubicBezTo>
                  <a:pt x="297" y="245"/>
                  <a:pt x="223" y="245"/>
                  <a:pt x="116" y="217"/>
                </a:cubicBezTo>
                <a:cubicBezTo>
                  <a:pt x="90" y="210"/>
                  <a:pt x="60" y="200"/>
                  <a:pt x="39" y="182"/>
                </a:cubicBezTo>
                <a:cubicBezTo>
                  <a:pt x="14" y="163"/>
                  <a:pt x="39" y="137"/>
                  <a:pt x="70" y="122"/>
                </a:cubicBezTo>
                <a:cubicBezTo>
                  <a:pt x="132" y="90"/>
                  <a:pt x="209" y="75"/>
                  <a:pt x="287" y="63"/>
                </a:cubicBezTo>
                <a:cubicBezTo>
                  <a:pt x="602" y="23"/>
                  <a:pt x="952" y="30"/>
                  <a:pt x="1067" y="31"/>
                </a:cubicBezTo>
                <a:cubicBezTo>
                  <a:pt x="1281" y="36"/>
                  <a:pt x="1402" y="34"/>
                  <a:pt x="1580" y="4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5381916-3B69-4B7C-B12D-7382BF2E17F3}"/>
              </a:ext>
            </a:extLst>
          </p:cNvPr>
          <p:cNvGrpSpPr/>
          <p:nvPr/>
        </p:nvGrpSpPr>
        <p:grpSpPr bwMode="gray">
          <a:xfrm>
            <a:off x="10519665" y="3837143"/>
            <a:ext cx="205069" cy="214556"/>
            <a:chOff x="5710238" y="596900"/>
            <a:chExt cx="538163" cy="498475"/>
          </a:xfrm>
          <a:solidFill>
            <a:schemeClr val="accent6"/>
          </a:solidFill>
        </p:grpSpPr>
        <p:sp>
          <p:nvSpPr>
            <p:cNvPr id="92" name="Freeform 63">
              <a:extLst>
                <a:ext uri="{FF2B5EF4-FFF2-40B4-BE49-F238E27FC236}">
                  <a16:creationId xmlns:a16="http://schemas.microsoft.com/office/drawing/2014/main" id="{78AA75F8-080E-4971-8449-EC6CB97BF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596900"/>
              <a:ext cx="430213" cy="479425"/>
            </a:xfrm>
            <a:custGeom>
              <a:avLst/>
              <a:gdLst>
                <a:gd name="T0" fmla="*/ 132 w 132"/>
                <a:gd name="T1" fmla="*/ 0 h 146"/>
                <a:gd name="T2" fmla="*/ 106 w 132"/>
                <a:gd name="T3" fmla="*/ 11 h 146"/>
                <a:gd name="T4" fmla="*/ 56 w 132"/>
                <a:gd name="T5" fmla="*/ 64 h 146"/>
                <a:gd name="T6" fmla="*/ 9 w 132"/>
                <a:gd name="T7" fmla="*/ 119 h 146"/>
                <a:gd name="T8" fmla="*/ 0 w 132"/>
                <a:gd name="T9" fmla="*/ 146 h 146"/>
                <a:gd name="T10" fmla="*/ 25 w 132"/>
                <a:gd name="T11" fmla="*/ 133 h 146"/>
                <a:gd name="T12" fmla="*/ 73 w 132"/>
                <a:gd name="T13" fmla="*/ 79 h 146"/>
                <a:gd name="T14" fmla="*/ 121 w 132"/>
                <a:gd name="T15" fmla="*/ 26 h 146"/>
                <a:gd name="T16" fmla="*/ 132 w 132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46">
                  <a:moveTo>
                    <a:pt x="132" y="0"/>
                  </a:moveTo>
                  <a:cubicBezTo>
                    <a:pt x="121" y="1"/>
                    <a:pt x="114" y="3"/>
                    <a:pt x="106" y="11"/>
                  </a:cubicBezTo>
                  <a:cubicBezTo>
                    <a:pt x="97" y="19"/>
                    <a:pt x="56" y="64"/>
                    <a:pt x="56" y="64"/>
                  </a:cubicBezTo>
                  <a:cubicBezTo>
                    <a:pt x="56" y="64"/>
                    <a:pt x="16" y="109"/>
                    <a:pt x="9" y="119"/>
                  </a:cubicBezTo>
                  <a:cubicBezTo>
                    <a:pt x="2" y="127"/>
                    <a:pt x="1" y="135"/>
                    <a:pt x="0" y="146"/>
                  </a:cubicBezTo>
                  <a:cubicBezTo>
                    <a:pt x="11" y="143"/>
                    <a:pt x="18" y="141"/>
                    <a:pt x="25" y="133"/>
                  </a:cubicBezTo>
                  <a:cubicBezTo>
                    <a:pt x="33" y="123"/>
                    <a:pt x="72" y="78"/>
                    <a:pt x="73" y="79"/>
                  </a:cubicBezTo>
                  <a:cubicBezTo>
                    <a:pt x="72" y="78"/>
                    <a:pt x="113" y="35"/>
                    <a:pt x="121" y="26"/>
                  </a:cubicBezTo>
                  <a:cubicBezTo>
                    <a:pt x="129" y="18"/>
                    <a:pt x="131" y="11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93" name="Freeform 64">
              <a:extLst>
                <a:ext uri="{FF2B5EF4-FFF2-40B4-BE49-F238E27FC236}">
                  <a16:creationId xmlns:a16="http://schemas.microsoft.com/office/drawing/2014/main" id="{BC120912-A5F2-49D4-B673-ADF6CBD9E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708025"/>
              <a:ext cx="538163" cy="387350"/>
            </a:xfrm>
            <a:custGeom>
              <a:avLst/>
              <a:gdLst>
                <a:gd name="T0" fmla="*/ 0 w 165"/>
                <a:gd name="T1" fmla="*/ 2 h 118"/>
                <a:gd name="T2" fmla="*/ 19 w 165"/>
                <a:gd name="T3" fmla="*/ 25 h 118"/>
                <a:gd name="T4" fmla="*/ 81 w 165"/>
                <a:gd name="T5" fmla="*/ 63 h 118"/>
                <a:gd name="T6" fmla="*/ 138 w 165"/>
                <a:gd name="T7" fmla="*/ 107 h 118"/>
                <a:gd name="T8" fmla="*/ 165 w 165"/>
                <a:gd name="T9" fmla="*/ 118 h 118"/>
                <a:gd name="T10" fmla="*/ 153 w 165"/>
                <a:gd name="T11" fmla="*/ 91 h 118"/>
                <a:gd name="T12" fmla="*/ 93 w 165"/>
                <a:gd name="T13" fmla="*/ 45 h 118"/>
                <a:gd name="T14" fmla="*/ 30 w 165"/>
                <a:gd name="T15" fmla="*/ 5 h 118"/>
                <a:gd name="T16" fmla="*/ 0 w 165"/>
                <a:gd name="T17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18">
                  <a:moveTo>
                    <a:pt x="0" y="2"/>
                  </a:moveTo>
                  <a:cubicBezTo>
                    <a:pt x="5" y="13"/>
                    <a:pt x="9" y="19"/>
                    <a:pt x="19" y="25"/>
                  </a:cubicBezTo>
                  <a:cubicBezTo>
                    <a:pt x="30" y="30"/>
                    <a:pt x="82" y="62"/>
                    <a:pt x="81" y="63"/>
                  </a:cubicBezTo>
                  <a:cubicBezTo>
                    <a:pt x="82" y="62"/>
                    <a:pt x="130" y="98"/>
                    <a:pt x="138" y="107"/>
                  </a:cubicBezTo>
                  <a:cubicBezTo>
                    <a:pt x="147" y="114"/>
                    <a:pt x="153" y="116"/>
                    <a:pt x="165" y="118"/>
                  </a:cubicBezTo>
                  <a:cubicBezTo>
                    <a:pt x="163" y="107"/>
                    <a:pt x="162" y="98"/>
                    <a:pt x="153" y="91"/>
                  </a:cubicBezTo>
                  <a:cubicBezTo>
                    <a:pt x="144" y="81"/>
                    <a:pt x="94" y="44"/>
                    <a:pt x="93" y="45"/>
                  </a:cubicBezTo>
                  <a:cubicBezTo>
                    <a:pt x="94" y="44"/>
                    <a:pt x="41" y="11"/>
                    <a:pt x="30" y="5"/>
                  </a:cubicBezTo>
                  <a:cubicBezTo>
                    <a:pt x="19" y="0"/>
                    <a:pt x="1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97" name="myP_Server">
            <a:extLst>
              <a:ext uri="{FF2B5EF4-FFF2-40B4-BE49-F238E27FC236}">
                <a16:creationId xmlns:a16="http://schemas.microsoft.com/office/drawing/2014/main" id="{9B40E6A5-1B02-42DD-9A18-9A5F72D94E4A}"/>
              </a:ext>
            </a:extLst>
          </p:cNvPr>
          <p:cNvGrpSpPr/>
          <p:nvPr/>
        </p:nvGrpSpPr>
        <p:grpSpPr>
          <a:xfrm>
            <a:off x="3030897" y="3670257"/>
            <a:ext cx="355758" cy="354868"/>
            <a:chOff x="4972448" y="2995216"/>
            <a:chExt cx="533564" cy="532230"/>
          </a:xfrm>
          <a:solidFill>
            <a:schemeClr val="bg1"/>
          </a:solidFill>
        </p:grpSpPr>
        <p:sp>
          <p:nvSpPr>
            <p:cNvPr id="98" name="Freeform 619">
              <a:extLst>
                <a:ext uri="{FF2B5EF4-FFF2-40B4-BE49-F238E27FC236}">
                  <a16:creationId xmlns:a16="http://schemas.microsoft.com/office/drawing/2014/main" id="{075E3DA4-0DFF-4CFA-A8A9-971D98F0E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448" y="2995216"/>
              <a:ext cx="344149" cy="125387"/>
            </a:xfrm>
            <a:custGeom>
              <a:avLst/>
              <a:gdLst>
                <a:gd name="T0" fmla="*/ 22 w 297"/>
                <a:gd name="T1" fmla="*/ 81 h 108"/>
                <a:gd name="T2" fmla="*/ 45 w 297"/>
                <a:gd name="T3" fmla="*/ 91 h 108"/>
                <a:gd name="T4" fmla="*/ 54 w 297"/>
                <a:gd name="T5" fmla="*/ 95 h 108"/>
                <a:gd name="T6" fmla="*/ 74 w 297"/>
                <a:gd name="T7" fmla="*/ 100 h 108"/>
                <a:gd name="T8" fmla="*/ 85 w 297"/>
                <a:gd name="T9" fmla="*/ 102 h 108"/>
                <a:gd name="T10" fmla="*/ 97 w 297"/>
                <a:gd name="T11" fmla="*/ 104 h 108"/>
                <a:gd name="T12" fmla="*/ 109 w 297"/>
                <a:gd name="T13" fmla="*/ 105 h 108"/>
                <a:gd name="T14" fmla="*/ 122 w 297"/>
                <a:gd name="T15" fmla="*/ 107 h 108"/>
                <a:gd name="T16" fmla="*/ 136 w 297"/>
                <a:gd name="T17" fmla="*/ 107 h 108"/>
                <a:gd name="T18" fmla="*/ 161 w 297"/>
                <a:gd name="T19" fmla="*/ 107 h 108"/>
                <a:gd name="T20" fmla="*/ 174 w 297"/>
                <a:gd name="T21" fmla="*/ 107 h 108"/>
                <a:gd name="T22" fmla="*/ 188 w 297"/>
                <a:gd name="T23" fmla="*/ 105 h 108"/>
                <a:gd name="T24" fmla="*/ 200 w 297"/>
                <a:gd name="T25" fmla="*/ 104 h 108"/>
                <a:gd name="T26" fmla="*/ 211 w 297"/>
                <a:gd name="T27" fmla="*/ 102 h 108"/>
                <a:gd name="T28" fmla="*/ 223 w 297"/>
                <a:gd name="T29" fmla="*/ 100 h 108"/>
                <a:gd name="T30" fmla="*/ 243 w 297"/>
                <a:gd name="T31" fmla="*/ 95 h 108"/>
                <a:gd name="T32" fmla="*/ 252 w 297"/>
                <a:gd name="T33" fmla="*/ 91 h 108"/>
                <a:gd name="T34" fmla="*/ 275 w 297"/>
                <a:gd name="T35" fmla="*/ 81 h 108"/>
                <a:gd name="T36" fmla="*/ 297 w 297"/>
                <a:gd name="T37" fmla="*/ 54 h 108"/>
                <a:gd name="T38" fmla="*/ 275 w 297"/>
                <a:gd name="T39" fmla="*/ 27 h 108"/>
                <a:gd name="T40" fmla="*/ 252 w 297"/>
                <a:gd name="T41" fmla="*/ 16 h 108"/>
                <a:gd name="T42" fmla="*/ 243 w 297"/>
                <a:gd name="T43" fmla="*/ 13 h 108"/>
                <a:gd name="T44" fmla="*/ 223 w 297"/>
                <a:gd name="T45" fmla="*/ 8 h 108"/>
                <a:gd name="T46" fmla="*/ 211 w 297"/>
                <a:gd name="T47" fmla="*/ 5 h 108"/>
                <a:gd name="T48" fmla="*/ 200 w 297"/>
                <a:gd name="T49" fmla="*/ 4 h 108"/>
                <a:gd name="T50" fmla="*/ 188 w 297"/>
                <a:gd name="T51" fmla="*/ 2 h 108"/>
                <a:gd name="T52" fmla="*/ 174 w 297"/>
                <a:gd name="T53" fmla="*/ 1 h 108"/>
                <a:gd name="T54" fmla="*/ 161 w 297"/>
                <a:gd name="T55" fmla="*/ 0 h 108"/>
                <a:gd name="T56" fmla="*/ 136 w 297"/>
                <a:gd name="T57" fmla="*/ 0 h 108"/>
                <a:gd name="T58" fmla="*/ 122 w 297"/>
                <a:gd name="T59" fmla="*/ 1 h 108"/>
                <a:gd name="T60" fmla="*/ 109 w 297"/>
                <a:gd name="T61" fmla="*/ 2 h 108"/>
                <a:gd name="T62" fmla="*/ 97 w 297"/>
                <a:gd name="T63" fmla="*/ 4 h 108"/>
                <a:gd name="T64" fmla="*/ 85 w 297"/>
                <a:gd name="T65" fmla="*/ 5 h 108"/>
                <a:gd name="T66" fmla="*/ 74 w 297"/>
                <a:gd name="T67" fmla="*/ 8 h 108"/>
                <a:gd name="T68" fmla="*/ 54 w 297"/>
                <a:gd name="T69" fmla="*/ 13 h 108"/>
                <a:gd name="T70" fmla="*/ 45 w 297"/>
                <a:gd name="T71" fmla="*/ 16 h 108"/>
                <a:gd name="T72" fmla="*/ 22 w 297"/>
                <a:gd name="T73" fmla="*/ 27 h 108"/>
                <a:gd name="T74" fmla="*/ 4 w 297"/>
                <a:gd name="T75" fmla="*/ 43 h 108"/>
                <a:gd name="T76" fmla="*/ 0 w 297"/>
                <a:gd name="T77" fmla="*/ 54 h 108"/>
                <a:gd name="T78" fmla="*/ 22 w 297"/>
                <a:gd name="T7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108">
                  <a:moveTo>
                    <a:pt x="22" y="81"/>
                  </a:move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4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5"/>
                    <a:pt x="109" y="105"/>
                  </a:cubicBezTo>
                  <a:cubicBezTo>
                    <a:pt x="112" y="106"/>
                    <a:pt x="116" y="106"/>
                    <a:pt x="120" y="106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7" y="107"/>
                    <a:pt x="171" y="107"/>
                    <a:pt x="174" y="107"/>
                  </a:cubicBezTo>
                  <a:cubicBezTo>
                    <a:pt x="175" y="107"/>
                    <a:pt x="176" y="107"/>
                    <a:pt x="177" y="106"/>
                  </a:cubicBezTo>
                  <a:cubicBezTo>
                    <a:pt x="180" y="106"/>
                    <a:pt x="184" y="106"/>
                    <a:pt x="188" y="105"/>
                  </a:cubicBezTo>
                  <a:cubicBezTo>
                    <a:pt x="188" y="105"/>
                    <a:pt x="189" y="105"/>
                    <a:pt x="189" y="105"/>
                  </a:cubicBezTo>
                  <a:cubicBezTo>
                    <a:pt x="193" y="105"/>
                    <a:pt x="196" y="105"/>
                    <a:pt x="200" y="104"/>
                  </a:cubicBezTo>
                  <a:cubicBezTo>
                    <a:pt x="200" y="104"/>
                    <a:pt x="200" y="104"/>
                    <a:pt x="201" y="104"/>
                  </a:cubicBezTo>
                  <a:cubicBezTo>
                    <a:pt x="204" y="103"/>
                    <a:pt x="208" y="103"/>
                    <a:pt x="211" y="102"/>
                  </a:cubicBezTo>
                  <a:cubicBezTo>
                    <a:pt x="212" y="102"/>
                    <a:pt x="212" y="102"/>
                    <a:pt x="213" y="102"/>
                  </a:cubicBezTo>
                  <a:cubicBezTo>
                    <a:pt x="216" y="101"/>
                    <a:pt x="220" y="101"/>
                    <a:pt x="223" y="100"/>
                  </a:cubicBezTo>
                  <a:cubicBezTo>
                    <a:pt x="223" y="100"/>
                    <a:pt x="224" y="100"/>
                    <a:pt x="224" y="100"/>
                  </a:cubicBezTo>
                  <a:cubicBezTo>
                    <a:pt x="231" y="98"/>
                    <a:pt x="237" y="96"/>
                    <a:pt x="243" y="95"/>
                  </a:cubicBezTo>
                  <a:cubicBezTo>
                    <a:pt x="243" y="94"/>
                    <a:pt x="243" y="94"/>
                    <a:pt x="244" y="94"/>
                  </a:cubicBezTo>
                  <a:cubicBezTo>
                    <a:pt x="247" y="93"/>
                    <a:pt x="249" y="92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61" y="88"/>
                    <a:pt x="269" y="85"/>
                    <a:pt x="275" y="81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89" y="72"/>
                    <a:pt x="297" y="63"/>
                    <a:pt x="297" y="54"/>
                  </a:cubicBezTo>
                  <a:cubicBezTo>
                    <a:pt x="297" y="45"/>
                    <a:pt x="289" y="35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23"/>
                    <a:pt x="261" y="20"/>
                    <a:pt x="253" y="16"/>
                  </a:cubicBezTo>
                  <a:cubicBezTo>
                    <a:pt x="253" y="16"/>
                    <a:pt x="252" y="16"/>
                    <a:pt x="252" y="16"/>
                  </a:cubicBezTo>
                  <a:cubicBezTo>
                    <a:pt x="249" y="15"/>
                    <a:pt x="247" y="14"/>
                    <a:pt x="244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37" y="11"/>
                    <a:pt x="231" y="9"/>
                    <a:pt x="224" y="8"/>
                  </a:cubicBezTo>
                  <a:cubicBezTo>
                    <a:pt x="224" y="8"/>
                    <a:pt x="223" y="8"/>
                    <a:pt x="223" y="8"/>
                  </a:cubicBezTo>
                  <a:cubicBezTo>
                    <a:pt x="220" y="7"/>
                    <a:pt x="216" y="6"/>
                    <a:pt x="213" y="6"/>
                  </a:cubicBezTo>
                  <a:cubicBezTo>
                    <a:pt x="212" y="6"/>
                    <a:pt x="212" y="5"/>
                    <a:pt x="211" y="5"/>
                  </a:cubicBezTo>
                  <a:cubicBezTo>
                    <a:pt x="208" y="5"/>
                    <a:pt x="204" y="4"/>
                    <a:pt x="201" y="4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6" y="3"/>
                    <a:pt x="193" y="3"/>
                    <a:pt x="189" y="2"/>
                  </a:cubicBezTo>
                  <a:cubicBezTo>
                    <a:pt x="189" y="2"/>
                    <a:pt x="188" y="2"/>
                    <a:pt x="188" y="2"/>
                  </a:cubicBezTo>
                  <a:cubicBezTo>
                    <a:pt x="184" y="2"/>
                    <a:pt x="180" y="1"/>
                    <a:pt x="177" y="1"/>
                  </a:cubicBezTo>
                  <a:cubicBezTo>
                    <a:pt x="176" y="1"/>
                    <a:pt x="175" y="1"/>
                    <a:pt x="174" y="1"/>
                  </a:cubicBezTo>
                  <a:cubicBezTo>
                    <a:pt x="171" y="1"/>
                    <a:pt x="167" y="0"/>
                    <a:pt x="163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7" y="0"/>
                    <a:pt x="153" y="0"/>
                    <a:pt x="148" y="0"/>
                  </a:cubicBezTo>
                  <a:cubicBezTo>
                    <a:pt x="144" y="0"/>
                    <a:pt x="140" y="0"/>
                    <a:pt x="136" y="0"/>
                  </a:cubicBezTo>
                  <a:cubicBezTo>
                    <a:pt x="135" y="0"/>
                    <a:pt x="134" y="0"/>
                    <a:pt x="134" y="0"/>
                  </a:cubicBezTo>
                  <a:cubicBezTo>
                    <a:pt x="130" y="0"/>
                    <a:pt x="126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cubicBezTo>
                    <a:pt x="116" y="1"/>
                    <a:pt x="112" y="2"/>
                    <a:pt x="109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4" y="3"/>
                    <a:pt x="100" y="3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2" y="4"/>
                    <a:pt x="89" y="5"/>
                    <a:pt x="85" y="5"/>
                  </a:cubicBezTo>
                  <a:cubicBezTo>
                    <a:pt x="85" y="5"/>
                    <a:pt x="84" y="6"/>
                    <a:pt x="84" y="6"/>
                  </a:cubicBezTo>
                  <a:cubicBezTo>
                    <a:pt x="80" y="6"/>
                    <a:pt x="77" y="7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6" y="9"/>
                    <a:pt x="60" y="11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0" y="14"/>
                    <a:pt x="47" y="15"/>
                    <a:pt x="45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5" y="20"/>
                    <a:pt x="28" y="2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32"/>
                    <a:pt x="7" y="37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6"/>
                    <a:pt x="0" y="50"/>
                    <a:pt x="0" y="54"/>
                  </a:cubicBezTo>
                  <a:cubicBezTo>
                    <a:pt x="0" y="57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20">
              <a:extLst>
                <a:ext uri="{FF2B5EF4-FFF2-40B4-BE49-F238E27FC236}">
                  <a16:creationId xmlns:a16="http://schemas.microsoft.com/office/drawing/2014/main" id="{163E925F-D17A-4792-922A-A65FA851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877" y="3291343"/>
              <a:ext cx="90706" cy="90706"/>
            </a:xfrm>
            <a:custGeom>
              <a:avLst/>
              <a:gdLst>
                <a:gd name="T0" fmla="*/ 65 w 78"/>
                <a:gd name="T1" fmla="*/ 52 h 78"/>
                <a:gd name="T2" fmla="*/ 26 w 78"/>
                <a:gd name="T3" fmla="*/ 13 h 78"/>
                <a:gd name="T4" fmla="*/ 13 w 78"/>
                <a:gd name="T5" fmla="*/ 0 h 78"/>
                <a:gd name="T6" fmla="*/ 0 w 78"/>
                <a:gd name="T7" fmla="*/ 13 h 78"/>
                <a:gd name="T8" fmla="*/ 65 w 78"/>
                <a:gd name="T9" fmla="*/ 78 h 78"/>
                <a:gd name="T10" fmla="*/ 78 w 78"/>
                <a:gd name="T11" fmla="*/ 65 h 78"/>
                <a:gd name="T12" fmla="*/ 65 w 78"/>
                <a:gd name="T13" fmla="*/ 5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8">
                  <a:moveTo>
                    <a:pt x="65" y="52"/>
                  </a:moveTo>
                  <a:cubicBezTo>
                    <a:pt x="44" y="52"/>
                    <a:pt x="26" y="34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9"/>
                    <a:pt x="29" y="78"/>
                    <a:pt x="65" y="78"/>
                  </a:cubicBezTo>
                  <a:cubicBezTo>
                    <a:pt x="72" y="78"/>
                    <a:pt x="78" y="72"/>
                    <a:pt x="78" y="65"/>
                  </a:cubicBezTo>
                  <a:cubicBezTo>
                    <a:pt x="78" y="58"/>
                    <a:pt x="72" y="52"/>
                    <a:pt x="6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621">
              <a:extLst>
                <a:ext uri="{FF2B5EF4-FFF2-40B4-BE49-F238E27FC236}">
                  <a16:creationId xmlns:a16="http://schemas.microsoft.com/office/drawing/2014/main" id="{4CF9EE24-0E4F-47B8-9FDC-34D8FF119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547" y="3253994"/>
              <a:ext cx="32014" cy="2934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22">
              <a:extLst>
                <a:ext uri="{FF2B5EF4-FFF2-40B4-BE49-F238E27FC236}">
                  <a16:creationId xmlns:a16="http://schemas.microsoft.com/office/drawing/2014/main" id="{C6A6DC49-10A5-45D6-8E0C-0BFE0F757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448" y="3091257"/>
              <a:ext cx="533564" cy="436189"/>
            </a:xfrm>
            <a:custGeom>
              <a:avLst/>
              <a:gdLst>
                <a:gd name="T0" fmla="*/ 384 w 460"/>
                <a:gd name="T1" fmla="*/ 180 h 378"/>
                <a:gd name="T2" fmla="*/ 297 w 460"/>
                <a:gd name="T3" fmla="*/ 0 h 378"/>
                <a:gd name="T4" fmla="*/ 244 w 460"/>
                <a:gd name="T5" fmla="*/ 41 h 378"/>
                <a:gd name="T6" fmla="*/ 211 w 460"/>
                <a:gd name="T7" fmla="*/ 49 h 378"/>
                <a:gd name="T8" fmla="*/ 177 w 460"/>
                <a:gd name="T9" fmla="*/ 53 h 378"/>
                <a:gd name="T10" fmla="*/ 136 w 460"/>
                <a:gd name="T11" fmla="*/ 54 h 378"/>
                <a:gd name="T12" fmla="*/ 107 w 460"/>
                <a:gd name="T13" fmla="*/ 52 h 378"/>
                <a:gd name="T14" fmla="*/ 74 w 460"/>
                <a:gd name="T15" fmla="*/ 46 h 378"/>
                <a:gd name="T16" fmla="*/ 44 w 460"/>
                <a:gd name="T17" fmla="*/ 37 h 378"/>
                <a:gd name="T18" fmla="*/ 0 w 460"/>
                <a:gd name="T19" fmla="*/ 54 h 378"/>
                <a:gd name="T20" fmla="*/ 44 w 460"/>
                <a:gd name="T21" fmla="*/ 91 h 378"/>
                <a:gd name="T22" fmla="*/ 74 w 460"/>
                <a:gd name="T23" fmla="*/ 100 h 378"/>
                <a:gd name="T24" fmla="*/ 107 w 460"/>
                <a:gd name="T25" fmla="*/ 105 h 378"/>
                <a:gd name="T26" fmla="*/ 136 w 460"/>
                <a:gd name="T27" fmla="*/ 107 h 378"/>
                <a:gd name="T28" fmla="*/ 166 w 460"/>
                <a:gd name="T29" fmla="*/ 107 h 378"/>
                <a:gd name="T30" fmla="*/ 134 w 460"/>
                <a:gd name="T31" fmla="*/ 136 h 378"/>
                <a:gd name="T32" fmla="*/ 97 w 460"/>
                <a:gd name="T33" fmla="*/ 132 h 378"/>
                <a:gd name="T34" fmla="*/ 73 w 460"/>
                <a:gd name="T35" fmla="*/ 128 h 378"/>
                <a:gd name="T36" fmla="*/ 22 w 460"/>
                <a:gd name="T37" fmla="*/ 109 h 378"/>
                <a:gd name="T38" fmla="*/ 0 w 460"/>
                <a:gd name="T39" fmla="*/ 136 h 378"/>
                <a:gd name="T40" fmla="*/ 45 w 460"/>
                <a:gd name="T41" fmla="*/ 174 h 378"/>
                <a:gd name="T42" fmla="*/ 84 w 460"/>
                <a:gd name="T43" fmla="*/ 184 h 378"/>
                <a:gd name="T44" fmla="*/ 109 w 460"/>
                <a:gd name="T45" fmla="*/ 188 h 378"/>
                <a:gd name="T46" fmla="*/ 142 w 460"/>
                <a:gd name="T47" fmla="*/ 190 h 378"/>
                <a:gd name="T48" fmla="*/ 120 w 460"/>
                <a:gd name="T49" fmla="*/ 217 h 378"/>
                <a:gd name="T50" fmla="*/ 85 w 460"/>
                <a:gd name="T51" fmla="*/ 213 h 378"/>
                <a:gd name="T52" fmla="*/ 53 w 460"/>
                <a:gd name="T53" fmla="*/ 205 h 378"/>
                <a:gd name="T54" fmla="*/ 3 w 460"/>
                <a:gd name="T55" fmla="*/ 175 h 378"/>
                <a:gd name="T56" fmla="*/ 22 w 460"/>
                <a:gd name="T57" fmla="*/ 245 h 378"/>
                <a:gd name="T58" fmla="*/ 54 w 460"/>
                <a:gd name="T59" fmla="*/ 259 h 378"/>
                <a:gd name="T60" fmla="*/ 96 w 460"/>
                <a:gd name="T61" fmla="*/ 268 h 378"/>
                <a:gd name="T62" fmla="*/ 122 w 460"/>
                <a:gd name="T63" fmla="*/ 271 h 378"/>
                <a:gd name="T64" fmla="*/ 163 w 460"/>
                <a:gd name="T65" fmla="*/ 271 h 378"/>
                <a:gd name="T66" fmla="*/ 213 w 460"/>
                <a:gd name="T67" fmla="*/ 294 h 378"/>
                <a:gd name="T68" fmla="*/ 188 w 460"/>
                <a:gd name="T69" fmla="*/ 298 h 378"/>
                <a:gd name="T70" fmla="*/ 148 w 460"/>
                <a:gd name="T71" fmla="*/ 300 h 378"/>
                <a:gd name="T72" fmla="*/ 109 w 460"/>
                <a:gd name="T73" fmla="*/ 298 h 378"/>
                <a:gd name="T74" fmla="*/ 84 w 460"/>
                <a:gd name="T75" fmla="*/ 294 h 378"/>
                <a:gd name="T76" fmla="*/ 45 w 460"/>
                <a:gd name="T77" fmla="*/ 284 h 378"/>
                <a:gd name="T78" fmla="*/ 0 w 460"/>
                <a:gd name="T79" fmla="*/ 246 h 378"/>
                <a:gd name="T80" fmla="*/ 22 w 460"/>
                <a:gd name="T81" fmla="*/ 327 h 378"/>
                <a:gd name="T82" fmla="*/ 73 w 460"/>
                <a:gd name="T83" fmla="*/ 346 h 378"/>
                <a:gd name="T84" fmla="*/ 97 w 460"/>
                <a:gd name="T85" fmla="*/ 350 h 378"/>
                <a:gd name="T86" fmla="*/ 134 w 460"/>
                <a:gd name="T87" fmla="*/ 353 h 378"/>
                <a:gd name="T88" fmla="*/ 174 w 460"/>
                <a:gd name="T89" fmla="*/ 353 h 378"/>
                <a:gd name="T90" fmla="*/ 201 w 460"/>
                <a:gd name="T91" fmla="*/ 350 h 378"/>
                <a:gd name="T92" fmla="*/ 243 w 460"/>
                <a:gd name="T93" fmla="*/ 341 h 378"/>
                <a:gd name="T94" fmla="*/ 275 w 460"/>
                <a:gd name="T95" fmla="*/ 327 h 378"/>
                <a:gd name="T96" fmla="*/ 349 w 460"/>
                <a:gd name="T97" fmla="*/ 291 h 378"/>
                <a:gd name="T98" fmla="*/ 454 w 460"/>
                <a:gd name="T99" fmla="*/ 347 h 378"/>
                <a:gd name="T100" fmla="*/ 358 w 460"/>
                <a:gd name="T101" fmla="*/ 18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0" h="378">
                  <a:moveTo>
                    <a:pt x="460" y="341"/>
                  </a:moveTo>
                  <a:cubicBezTo>
                    <a:pt x="380" y="260"/>
                    <a:pt x="380" y="260"/>
                    <a:pt x="380" y="260"/>
                  </a:cubicBezTo>
                  <a:cubicBezTo>
                    <a:pt x="374" y="267"/>
                    <a:pt x="374" y="267"/>
                    <a:pt x="374" y="267"/>
                  </a:cubicBezTo>
                  <a:cubicBezTo>
                    <a:pt x="360" y="253"/>
                    <a:pt x="360" y="253"/>
                    <a:pt x="360" y="253"/>
                  </a:cubicBezTo>
                  <a:cubicBezTo>
                    <a:pt x="375" y="233"/>
                    <a:pt x="384" y="207"/>
                    <a:pt x="384" y="180"/>
                  </a:cubicBezTo>
                  <a:cubicBezTo>
                    <a:pt x="384" y="124"/>
                    <a:pt x="346" y="77"/>
                    <a:pt x="294" y="63"/>
                  </a:cubicBezTo>
                  <a:cubicBezTo>
                    <a:pt x="294" y="63"/>
                    <a:pt x="294" y="63"/>
                    <a:pt x="294" y="63"/>
                  </a:cubicBezTo>
                  <a:cubicBezTo>
                    <a:pt x="296" y="60"/>
                    <a:pt x="297" y="57"/>
                    <a:pt x="297" y="54"/>
                  </a:cubicBezTo>
                  <a:cubicBezTo>
                    <a:pt x="297" y="54"/>
                    <a:pt x="297" y="54"/>
                    <a:pt x="297" y="54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9"/>
                    <a:pt x="289" y="19"/>
                    <a:pt x="275" y="27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69" y="31"/>
                    <a:pt x="261" y="34"/>
                    <a:pt x="253" y="37"/>
                  </a:cubicBezTo>
                  <a:cubicBezTo>
                    <a:pt x="253" y="38"/>
                    <a:pt x="252" y="38"/>
                    <a:pt x="252" y="38"/>
                  </a:cubicBezTo>
                  <a:cubicBezTo>
                    <a:pt x="249" y="39"/>
                    <a:pt x="247" y="40"/>
                    <a:pt x="244" y="4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37" y="43"/>
                    <a:pt x="231" y="44"/>
                    <a:pt x="224" y="46"/>
                  </a:cubicBezTo>
                  <a:cubicBezTo>
                    <a:pt x="224" y="46"/>
                    <a:pt x="223" y="46"/>
                    <a:pt x="223" y="46"/>
                  </a:cubicBezTo>
                  <a:cubicBezTo>
                    <a:pt x="220" y="47"/>
                    <a:pt x="216" y="48"/>
                    <a:pt x="213" y="48"/>
                  </a:cubicBezTo>
                  <a:cubicBezTo>
                    <a:pt x="212" y="48"/>
                    <a:pt x="212" y="48"/>
                    <a:pt x="211" y="49"/>
                  </a:cubicBezTo>
                  <a:cubicBezTo>
                    <a:pt x="208" y="49"/>
                    <a:pt x="204" y="50"/>
                    <a:pt x="201" y="50"/>
                  </a:cubicBezTo>
                  <a:cubicBezTo>
                    <a:pt x="200" y="50"/>
                    <a:pt x="200" y="50"/>
                    <a:pt x="200" y="50"/>
                  </a:cubicBezTo>
                  <a:cubicBezTo>
                    <a:pt x="196" y="51"/>
                    <a:pt x="193" y="51"/>
                    <a:pt x="189" y="52"/>
                  </a:cubicBezTo>
                  <a:cubicBezTo>
                    <a:pt x="189" y="52"/>
                    <a:pt x="188" y="52"/>
                    <a:pt x="188" y="52"/>
                  </a:cubicBezTo>
                  <a:cubicBezTo>
                    <a:pt x="184" y="52"/>
                    <a:pt x="180" y="53"/>
                    <a:pt x="177" y="53"/>
                  </a:cubicBezTo>
                  <a:cubicBezTo>
                    <a:pt x="176" y="53"/>
                    <a:pt x="175" y="53"/>
                    <a:pt x="174" y="53"/>
                  </a:cubicBezTo>
                  <a:cubicBezTo>
                    <a:pt x="171" y="53"/>
                    <a:pt x="167" y="53"/>
                    <a:pt x="163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57" y="54"/>
                    <a:pt x="153" y="54"/>
                    <a:pt x="148" y="54"/>
                  </a:cubicBezTo>
                  <a:cubicBezTo>
                    <a:pt x="144" y="54"/>
                    <a:pt x="140" y="54"/>
                    <a:pt x="136" y="54"/>
                  </a:cubicBezTo>
                  <a:cubicBezTo>
                    <a:pt x="135" y="54"/>
                    <a:pt x="134" y="54"/>
                    <a:pt x="134" y="54"/>
                  </a:cubicBezTo>
                  <a:cubicBezTo>
                    <a:pt x="130" y="53"/>
                    <a:pt x="126" y="53"/>
                    <a:pt x="122" y="53"/>
                  </a:cubicBezTo>
                  <a:cubicBezTo>
                    <a:pt x="121" y="53"/>
                    <a:pt x="121" y="53"/>
                    <a:pt x="120" y="53"/>
                  </a:cubicBezTo>
                  <a:cubicBezTo>
                    <a:pt x="116" y="53"/>
                    <a:pt x="112" y="52"/>
                    <a:pt x="109" y="52"/>
                  </a:cubicBezTo>
                  <a:cubicBezTo>
                    <a:pt x="108" y="52"/>
                    <a:pt x="108" y="52"/>
                    <a:pt x="107" y="52"/>
                  </a:cubicBezTo>
                  <a:cubicBezTo>
                    <a:pt x="104" y="51"/>
                    <a:pt x="100" y="51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2" y="50"/>
                    <a:pt x="89" y="49"/>
                    <a:pt x="85" y="49"/>
                  </a:cubicBezTo>
                  <a:cubicBezTo>
                    <a:pt x="85" y="48"/>
                    <a:pt x="84" y="48"/>
                    <a:pt x="84" y="48"/>
                  </a:cubicBezTo>
                  <a:cubicBezTo>
                    <a:pt x="80" y="48"/>
                    <a:pt x="77" y="47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6" y="44"/>
                    <a:pt x="60" y="43"/>
                    <a:pt x="5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0" y="40"/>
                    <a:pt x="47" y="39"/>
                    <a:pt x="45" y="38"/>
                  </a:cubicBezTo>
                  <a:cubicBezTo>
                    <a:pt x="44" y="38"/>
                    <a:pt x="44" y="38"/>
                    <a:pt x="44" y="37"/>
                  </a:cubicBezTo>
                  <a:cubicBezTo>
                    <a:pt x="35" y="34"/>
                    <a:pt x="28" y="31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3" y="22"/>
                    <a:pt x="7" y="17"/>
                    <a:pt x="3" y="11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1" y="61"/>
                    <a:pt x="3" y="65"/>
                  </a:cubicBezTo>
                  <a:cubicBezTo>
                    <a:pt x="7" y="70"/>
                    <a:pt x="13" y="76"/>
                    <a:pt x="22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8" y="85"/>
                    <a:pt x="35" y="88"/>
                    <a:pt x="44" y="91"/>
                  </a:cubicBezTo>
                  <a:cubicBezTo>
                    <a:pt x="44" y="91"/>
                    <a:pt x="44" y="91"/>
                    <a:pt x="45" y="91"/>
                  </a:cubicBezTo>
                  <a:cubicBezTo>
                    <a:pt x="47" y="92"/>
                    <a:pt x="50" y="93"/>
                    <a:pt x="53" y="94"/>
                  </a:cubicBezTo>
                  <a:cubicBezTo>
                    <a:pt x="53" y="94"/>
                    <a:pt x="53" y="95"/>
                    <a:pt x="54" y="95"/>
                  </a:cubicBezTo>
                  <a:cubicBezTo>
                    <a:pt x="60" y="96"/>
                    <a:pt x="66" y="98"/>
                    <a:pt x="73" y="100"/>
                  </a:cubicBezTo>
                  <a:cubicBezTo>
                    <a:pt x="73" y="100"/>
                    <a:pt x="73" y="100"/>
                    <a:pt x="74" y="100"/>
                  </a:cubicBezTo>
                  <a:cubicBezTo>
                    <a:pt x="77" y="101"/>
                    <a:pt x="80" y="101"/>
                    <a:pt x="84" y="102"/>
                  </a:cubicBezTo>
                  <a:cubicBezTo>
                    <a:pt x="84" y="102"/>
                    <a:pt x="85" y="102"/>
                    <a:pt x="85" y="102"/>
                  </a:cubicBezTo>
                  <a:cubicBezTo>
                    <a:pt x="89" y="103"/>
                    <a:pt x="92" y="103"/>
                    <a:pt x="96" y="104"/>
                  </a:cubicBezTo>
                  <a:cubicBezTo>
                    <a:pt x="96" y="104"/>
                    <a:pt x="96" y="104"/>
                    <a:pt x="97" y="104"/>
                  </a:cubicBezTo>
                  <a:cubicBezTo>
                    <a:pt x="100" y="105"/>
                    <a:pt x="104" y="105"/>
                    <a:pt x="107" y="105"/>
                  </a:cubicBezTo>
                  <a:cubicBezTo>
                    <a:pt x="108" y="105"/>
                    <a:pt x="108" y="106"/>
                    <a:pt x="109" y="106"/>
                  </a:cubicBezTo>
                  <a:cubicBezTo>
                    <a:pt x="112" y="106"/>
                    <a:pt x="116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6" y="107"/>
                    <a:pt x="130" y="107"/>
                    <a:pt x="134" y="107"/>
                  </a:cubicBezTo>
                  <a:cubicBezTo>
                    <a:pt x="134" y="107"/>
                    <a:pt x="135" y="107"/>
                    <a:pt x="136" y="107"/>
                  </a:cubicBezTo>
                  <a:cubicBezTo>
                    <a:pt x="140" y="107"/>
                    <a:pt x="144" y="108"/>
                    <a:pt x="148" y="108"/>
                  </a:cubicBezTo>
                  <a:cubicBezTo>
                    <a:pt x="153" y="108"/>
                    <a:pt x="157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5" y="107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59" y="116"/>
                    <a:pt x="154" y="126"/>
                    <a:pt x="149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9" y="136"/>
                    <a:pt x="149" y="136"/>
                    <a:pt x="148" y="136"/>
                  </a:cubicBezTo>
                  <a:cubicBezTo>
                    <a:pt x="144" y="136"/>
                    <a:pt x="140" y="136"/>
                    <a:pt x="136" y="136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0" y="135"/>
                    <a:pt x="126" y="135"/>
                    <a:pt x="122" y="135"/>
                  </a:cubicBezTo>
                  <a:cubicBezTo>
                    <a:pt x="121" y="135"/>
                    <a:pt x="121" y="135"/>
                    <a:pt x="120" y="135"/>
                  </a:cubicBezTo>
                  <a:cubicBezTo>
                    <a:pt x="116" y="135"/>
                    <a:pt x="112" y="134"/>
                    <a:pt x="109" y="134"/>
                  </a:cubicBezTo>
                  <a:cubicBezTo>
                    <a:pt x="108" y="134"/>
                    <a:pt x="108" y="134"/>
                    <a:pt x="107" y="134"/>
                  </a:cubicBezTo>
                  <a:cubicBezTo>
                    <a:pt x="104" y="133"/>
                    <a:pt x="100" y="133"/>
                    <a:pt x="97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2" y="132"/>
                    <a:pt x="89" y="131"/>
                    <a:pt x="85" y="131"/>
                  </a:cubicBezTo>
                  <a:cubicBezTo>
                    <a:pt x="85" y="130"/>
                    <a:pt x="84" y="130"/>
                    <a:pt x="84" y="130"/>
                  </a:cubicBezTo>
                  <a:cubicBezTo>
                    <a:pt x="80" y="130"/>
                    <a:pt x="77" y="129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66" y="126"/>
                    <a:pt x="60" y="125"/>
                    <a:pt x="54" y="123"/>
                  </a:cubicBezTo>
                  <a:cubicBezTo>
                    <a:pt x="53" y="123"/>
                    <a:pt x="53" y="123"/>
                    <a:pt x="53" y="123"/>
                  </a:cubicBezTo>
                  <a:cubicBezTo>
                    <a:pt x="50" y="122"/>
                    <a:pt x="47" y="121"/>
                    <a:pt x="45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35" y="116"/>
                    <a:pt x="28" y="113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3" y="104"/>
                    <a:pt x="7" y="99"/>
                    <a:pt x="3" y="93"/>
                  </a:cubicBezTo>
                  <a:cubicBezTo>
                    <a:pt x="1" y="90"/>
                    <a:pt x="0" y="86"/>
                    <a:pt x="0" y="8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0"/>
                    <a:pt x="1" y="143"/>
                    <a:pt x="3" y="147"/>
                  </a:cubicBezTo>
                  <a:cubicBezTo>
                    <a:pt x="7" y="152"/>
                    <a:pt x="13" y="158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8" y="167"/>
                    <a:pt x="35" y="170"/>
                    <a:pt x="44" y="173"/>
                  </a:cubicBezTo>
                  <a:cubicBezTo>
                    <a:pt x="44" y="173"/>
                    <a:pt x="44" y="173"/>
                    <a:pt x="45" y="174"/>
                  </a:cubicBezTo>
                  <a:cubicBezTo>
                    <a:pt x="47" y="175"/>
                    <a:pt x="50" y="175"/>
                    <a:pt x="53" y="176"/>
                  </a:cubicBezTo>
                  <a:cubicBezTo>
                    <a:pt x="53" y="177"/>
                    <a:pt x="53" y="177"/>
                    <a:pt x="54" y="177"/>
                  </a:cubicBezTo>
                  <a:cubicBezTo>
                    <a:pt x="60" y="179"/>
                    <a:pt x="66" y="180"/>
                    <a:pt x="73" y="182"/>
                  </a:cubicBezTo>
                  <a:cubicBezTo>
                    <a:pt x="73" y="182"/>
                    <a:pt x="73" y="182"/>
                    <a:pt x="74" y="182"/>
                  </a:cubicBezTo>
                  <a:cubicBezTo>
                    <a:pt x="77" y="183"/>
                    <a:pt x="80" y="183"/>
                    <a:pt x="84" y="184"/>
                  </a:cubicBezTo>
                  <a:cubicBezTo>
                    <a:pt x="84" y="184"/>
                    <a:pt x="85" y="184"/>
                    <a:pt x="85" y="184"/>
                  </a:cubicBezTo>
                  <a:cubicBezTo>
                    <a:pt x="89" y="185"/>
                    <a:pt x="92" y="185"/>
                    <a:pt x="96" y="186"/>
                  </a:cubicBezTo>
                  <a:cubicBezTo>
                    <a:pt x="96" y="186"/>
                    <a:pt x="96" y="186"/>
                    <a:pt x="97" y="186"/>
                  </a:cubicBezTo>
                  <a:cubicBezTo>
                    <a:pt x="100" y="187"/>
                    <a:pt x="104" y="187"/>
                    <a:pt x="107" y="187"/>
                  </a:cubicBezTo>
                  <a:cubicBezTo>
                    <a:pt x="108" y="188"/>
                    <a:pt x="108" y="188"/>
                    <a:pt x="109" y="188"/>
                  </a:cubicBezTo>
                  <a:cubicBezTo>
                    <a:pt x="112" y="188"/>
                    <a:pt x="116" y="188"/>
                    <a:pt x="120" y="189"/>
                  </a:cubicBezTo>
                  <a:cubicBezTo>
                    <a:pt x="121" y="189"/>
                    <a:pt x="121" y="189"/>
                    <a:pt x="122" y="189"/>
                  </a:cubicBezTo>
                  <a:cubicBezTo>
                    <a:pt x="126" y="189"/>
                    <a:pt x="130" y="189"/>
                    <a:pt x="134" y="189"/>
                  </a:cubicBezTo>
                  <a:cubicBezTo>
                    <a:pt x="134" y="189"/>
                    <a:pt x="135" y="189"/>
                    <a:pt x="136" y="189"/>
                  </a:cubicBezTo>
                  <a:cubicBezTo>
                    <a:pt x="138" y="189"/>
                    <a:pt x="140" y="189"/>
                    <a:pt x="142" y="190"/>
                  </a:cubicBezTo>
                  <a:cubicBezTo>
                    <a:pt x="142" y="199"/>
                    <a:pt x="144" y="209"/>
                    <a:pt x="147" y="218"/>
                  </a:cubicBezTo>
                  <a:cubicBezTo>
                    <a:pt x="143" y="218"/>
                    <a:pt x="139" y="218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130" y="218"/>
                    <a:pt x="126" y="217"/>
                    <a:pt x="122" y="217"/>
                  </a:cubicBezTo>
                  <a:cubicBezTo>
                    <a:pt x="121" y="217"/>
                    <a:pt x="121" y="217"/>
                    <a:pt x="120" y="217"/>
                  </a:cubicBezTo>
                  <a:cubicBezTo>
                    <a:pt x="116" y="217"/>
                    <a:pt x="112" y="216"/>
                    <a:pt x="109" y="216"/>
                  </a:cubicBezTo>
                  <a:cubicBezTo>
                    <a:pt x="108" y="216"/>
                    <a:pt x="108" y="216"/>
                    <a:pt x="107" y="216"/>
                  </a:cubicBezTo>
                  <a:cubicBezTo>
                    <a:pt x="104" y="215"/>
                    <a:pt x="100" y="215"/>
                    <a:pt x="9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2" y="214"/>
                    <a:pt x="89" y="213"/>
                    <a:pt x="85" y="213"/>
                  </a:cubicBezTo>
                  <a:cubicBezTo>
                    <a:pt x="85" y="213"/>
                    <a:pt x="84" y="212"/>
                    <a:pt x="84" y="212"/>
                  </a:cubicBezTo>
                  <a:cubicBezTo>
                    <a:pt x="80" y="212"/>
                    <a:pt x="77" y="211"/>
                    <a:pt x="74" y="210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66" y="209"/>
                    <a:pt x="60" y="207"/>
                    <a:pt x="54" y="205"/>
                  </a:cubicBezTo>
                  <a:cubicBezTo>
                    <a:pt x="53" y="205"/>
                    <a:pt x="53" y="205"/>
                    <a:pt x="53" y="205"/>
                  </a:cubicBezTo>
                  <a:cubicBezTo>
                    <a:pt x="50" y="204"/>
                    <a:pt x="47" y="203"/>
                    <a:pt x="45" y="202"/>
                  </a:cubicBezTo>
                  <a:cubicBezTo>
                    <a:pt x="44" y="202"/>
                    <a:pt x="44" y="202"/>
                    <a:pt x="44" y="202"/>
                  </a:cubicBezTo>
                  <a:cubicBezTo>
                    <a:pt x="35" y="198"/>
                    <a:pt x="28" y="195"/>
                    <a:pt x="22" y="191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3" y="186"/>
                    <a:pt x="7" y="181"/>
                    <a:pt x="3" y="175"/>
                  </a:cubicBezTo>
                  <a:cubicBezTo>
                    <a:pt x="1" y="172"/>
                    <a:pt x="0" y="168"/>
                    <a:pt x="0" y="16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2"/>
                    <a:pt x="1" y="225"/>
                    <a:pt x="3" y="229"/>
                  </a:cubicBezTo>
                  <a:cubicBezTo>
                    <a:pt x="7" y="234"/>
                    <a:pt x="13" y="240"/>
                    <a:pt x="22" y="245"/>
                  </a:cubicBezTo>
                  <a:cubicBezTo>
                    <a:pt x="22" y="245"/>
                    <a:pt x="22" y="245"/>
                    <a:pt x="22" y="245"/>
                  </a:cubicBezTo>
                  <a:cubicBezTo>
                    <a:pt x="28" y="249"/>
                    <a:pt x="35" y="252"/>
                    <a:pt x="44" y="255"/>
                  </a:cubicBezTo>
                  <a:cubicBezTo>
                    <a:pt x="44" y="255"/>
                    <a:pt x="44" y="256"/>
                    <a:pt x="45" y="256"/>
                  </a:cubicBezTo>
                  <a:cubicBezTo>
                    <a:pt x="47" y="257"/>
                    <a:pt x="50" y="258"/>
                    <a:pt x="53" y="258"/>
                  </a:cubicBezTo>
                  <a:cubicBezTo>
                    <a:pt x="53" y="259"/>
                    <a:pt x="53" y="259"/>
                    <a:pt x="54" y="259"/>
                  </a:cubicBezTo>
                  <a:cubicBezTo>
                    <a:pt x="60" y="261"/>
                    <a:pt x="66" y="262"/>
                    <a:pt x="73" y="264"/>
                  </a:cubicBezTo>
                  <a:cubicBezTo>
                    <a:pt x="73" y="264"/>
                    <a:pt x="73" y="264"/>
                    <a:pt x="74" y="264"/>
                  </a:cubicBezTo>
                  <a:cubicBezTo>
                    <a:pt x="77" y="265"/>
                    <a:pt x="80" y="265"/>
                    <a:pt x="84" y="266"/>
                  </a:cubicBezTo>
                  <a:cubicBezTo>
                    <a:pt x="84" y="266"/>
                    <a:pt x="85" y="266"/>
                    <a:pt x="85" y="266"/>
                  </a:cubicBezTo>
                  <a:cubicBezTo>
                    <a:pt x="89" y="267"/>
                    <a:pt x="92" y="268"/>
                    <a:pt x="96" y="268"/>
                  </a:cubicBezTo>
                  <a:cubicBezTo>
                    <a:pt x="96" y="268"/>
                    <a:pt x="96" y="268"/>
                    <a:pt x="97" y="268"/>
                  </a:cubicBezTo>
                  <a:cubicBezTo>
                    <a:pt x="100" y="269"/>
                    <a:pt x="104" y="269"/>
                    <a:pt x="107" y="270"/>
                  </a:cubicBezTo>
                  <a:cubicBezTo>
                    <a:pt x="108" y="270"/>
                    <a:pt x="108" y="270"/>
                    <a:pt x="109" y="270"/>
                  </a:cubicBezTo>
                  <a:cubicBezTo>
                    <a:pt x="112" y="270"/>
                    <a:pt x="116" y="270"/>
                    <a:pt x="120" y="271"/>
                  </a:cubicBezTo>
                  <a:cubicBezTo>
                    <a:pt x="121" y="271"/>
                    <a:pt x="121" y="271"/>
                    <a:pt x="122" y="271"/>
                  </a:cubicBezTo>
                  <a:cubicBezTo>
                    <a:pt x="126" y="271"/>
                    <a:pt x="130" y="271"/>
                    <a:pt x="134" y="271"/>
                  </a:cubicBezTo>
                  <a:cubicBezTo>
                    <a:pt x="134" y="271"/>
                    <a:pt x="135" y="271"/>
                    <a:pt x="136" y="271"/>
                  </a:cubicBezTo>
                  <a:cubicBezTo>
                    <a:pt x="140" y="272"/>
                    <a:pt x="144" y="272"/>
                    <a:pt x="148" y="272"/>
                  </a:cubicBezTo>
                  <a:cubicBezTo>
                    <a:pt x="153" y="272"/>
                    <a:pt x="157" y="272"/>
                    <a:pt x="161" y="271"/>
                  </a:cubicBezTo>
                  <a:cubicBezTo>
                    <a:pt x="161" y="271"/>
                    <a:pt x="162" y="271"/>
                    <a:pt x="163" y="271"/>
                  </a:cubicBezTo>
                  <a:cubicBezTo>
                    <a:pt x="167" y="271"/>
                    <a:pt x="171" y="271"/>
                    <a:pt x="174" y="271"/>
                  </a:cubicBezTo>
                  <a:cubicBezTo>
                    <a:pt x="175" y="271"/>
                    <a:pt x="176" y="271"/>
                    <a:pt x="177" y="271"/>
                  </a:cubicBezTo>
                  <a:cubicBezTo>
                    <a:pt x="178" y="271"/>
                    <a:pt x="180" y="270"/>
                    <a:pt x="181" y="270"/>
                  </a:cubicBezTo>
                  <a:cubicBezTo>
                    <a:pt x="192" y="280"/>
                    <a:pt x="204" y="288"/>
                    <a:pt x="218" y="293"/>
                  </a:cubicBezTo>
                  <a:cubicBezTo>
                    <a:pt x="216" y="294"/>
                    <a:pt x="215" y="294"/>
                    <a:pt x="213" y="294"/>
                  </a:cubicBezTo>
                  <a:cubicBezTo>
                    <a:pt x="212" y="294"/>
                    <a:pt x="212" y="295"/>
                    <a:pt x="211" y="295"/>
                  </a:cubicBezTo>
                  <a:cubicBezTo>
                    <a:pt x="208" y="295"/>
                    <a:pt x="204" y="296"/>
                    <a:pt x="201" y="296"/>
                  </a:cubicBezTo>
                  <a:cubicBezTo>
                    <a:pt x="200" y="296"/>
                    <a:pt x="200" y="296"/>
                    <a:pt x="200" y="297"/>
                  </a:cubicBezTo>
                  <a:cubicBezTo>
                    <a:pt x="196" y="297"/>
                    <a:pt x="193" y="297"/>
                    <a:pt x="189" y="298"/>
                  </a:cubicBezTo>
                  <a:cubicBezTo>
                    <a:pt x="189" y="298"/>
                    <a:pt x="188" y="298"/>
                    <a:pt x="188" y="298"/>
                  </a:cubicBezTo>
                  <a:cubicBezTo>
                    <a:pt x="184" y="298"/>
                    <a:pt x="180" y="299"/>
                    <a:pt x="177" y="299"/>
                  </a:cubicBezTo>
                  <a:cubicBezTo>
                    <a:pt x="176" y="299"/>
                    <a:pt x="175" y="299"/>
                    <a:pt x="174" y="299"/>
                  </a:cubicBezTo>
                  <a:cubicBezTo>
                    <a:pt x="171" y="299"/>
                    <a:pt x="167" y="300"/>
                    <a:pt x="163" y="300"/>
                  </a:cubicBezTo>
                  <a:cubicBezTo>
                    <a:pt x="162" y="300"/>
                    <a:pt x="161" y="300"/>
                    <a:pt x="161" y="300"/>
                  </a:cubicBezTo>
                  <a:cubicBezTo>
                    <a:pt x="157" y="300"/>
                    <a:pt x="153" y="300"/>
                    <a:pt x="148" y="300"/>
                  </a:cubicBezTo>
                  <a:cubicBezTo>
                    <a:pt x="144" y="300"/>
                    <a:pt x="140" y="300"/>
                    <a:pt x="136" y="300"/>
                  </a:cubicBezTo>
                  <a:cubicBezTo>
                    <a:pt x="135" y="300"/>
                    <a:pt x="134" y="300"/>
                    <a:pt x="134" y="300"/>
                  </a:cubicBezTo>
                  <a:cubicBezTo>
                    <a:pt x="130" y="300"/>
                    <a:pt x="126" y="299"/>
                    <a:pt x="122" y="299"/>
                  </a:cubicBezTo>
                  <a:cubicBezTo>
                    <a:pt x="121" y="299"/>
                    <a:pt x="121" y="299"/>
                    <a:pt x="120" y="299"/>
                  </a:cubicBezTo>
                  <a:cubicBezTo>
                    <a:pt x="116" y="299"/>
                    <a:pt x="112" y="298"/>
                    <a:pt x="109" y="298"/>
                  </a:cubicBezTo>
                  <a:cubicBezTo>
                    <a:pt x="108" y="298"/>
                    <a:pt x="108" y="298"/>
                    <a:pt x="107" y="298"/>
                  </a:cubicBezTo>
                  <a:cubicBezTo>
                    <a:pt x="104" y="297"/>
                    <a:pt x="100" y="297"/>
                    <a:pt x="97" y="297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2" y="296"/>
                    <a:pt x="89" y="295"/>
                    <a:pt x="85" y="295"/>
                  </a:cubicBezTo>
                  <a:cubicBezTo>
                    <a:pt x="85" y="295"/>
                    <a:pt x="84" y="294"/>
                    <a:pt x="84" y="294"/>
                  </a:cubicBezTo>
                  <a:cubicBezTo>
                    <a:pt x="80" y="294"/>
                    <a:pt x="77" y="293"/>
                    <a:pt x="74" y="292"/>
                  </a:cubicBezTo>
                  <a:cubicBezTo>
                    <a:pt x="73" y="292"/>
                    <a:pt x="73" y="292"/>
                    <a:pt x="73" y="292"/>
                  </a:cubicBezTo>
                  <a:cubicBezTo>
                    <a:pt x="66" y="291"/>
                    <a:pt x="60" y="289"/>
                    <a:pt x="54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0" y="286"/>
                    <a:pt x="47" y="285"/>
                    <a:pt x="45" y="284"/>
                  </a:cubicBezTo>
                  <a:cubicBezTo>
                    <a:pt x="44" y="284"/>
                    <a:pt x="44" y="284"/>
                    <a:pt x="44" y="284"/>
                  </a:cubicBezTo>
                  <a:cubicBezTo>
                    <a:pt x="35" y="280"/>
                    <a:pt x="28" y="277"/>
                    <a:pt x="22" y="273"/>
                  </a:cubicBezTo>
                  <a:cubicBezTo>
                    <a:pt x="22" y="273"/>
                    <a:pt x="22" y="273"/>
                    <a:pt x="22" y="273"/>
                  </a:cubicBezTo>
                  <a:cubicBezTo>
                    <a:pt x="13" y="268"/>
                    <a:pt x="7" y="263"/>
                    <a:pt x="3" y="257"/>
                  </a:cubicBezTo>
                  <a:cubicBezTo>
                    <a:pt x="1" y="254"/>
                    <a:pt x="0" y="250"/>
                    <a:pt x="0" y="246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04"/>
                    <a:pt x="1" y="307"/>
                    <a:pt x="3" y="311"/>
                  </a:cubicBezTo>
                  <a:cubicBezTo>
                    <a:pt x="7" y="317"/>
                    <a:pt x="13" y="322"/>
                    <a:pt x="22" y="327"/>
                  </a:cubicBezTo>
                  <a:cubicBezTo>
                    <a:pt x="22" y="327"/>
                    <a:pt x="22" y="327"/>
                    <a:pt x="22" y="327"/>
                  </a:cubicBezTo>
                  <a:cubicBezTo>
                    <a:pt x="28" y="331"/>
                    <a:pt x="35" y="334"/>
                    <a:pt x="44" y="337"/>
                  </a:cubicBezTo>
                  <a:cubicBezTo>
                    <a:pt x="44" y="337"/>
                    <a:pt x="44" y="338"/>
                    <a:pt x="45" y="338"/>
                  </a:cubicBezTo>
                  <a:cubicBezTo>
                    <a:pt x="47" y="339"/>
                    <a:pt x="50" y="340"/>
                    <a:pt x="53" y="341"/>
                  </a:cubicBezTo>
                  <a:cubicBezTo>
                    <a:pt x="53" y="341"/>
                    <a:pt x="53" y="341"/>
                    <a:pt x="54" y="341"/>
                  </a:cubicBezTo>
                  <a:cubicBezTo>
                    <a:pt x="60" y="343"/>
                    <a:pt x="66" y="344"/>
                    <a:pt x="73" y="346"/>
                  </a:cubicBezTo>
                  <a:cubicBezTo>
                    <a:pt x="73" y="346"/>
                    <a:pt x="73" y="346"/>
                    <a:pt x="74" y="346"/>
                  </a:cubicBezTo>
                  <a:cubicBezTo>
                    <a:pt x="77" y="347"/>
                    <a:pt x="80" y="347"/>
                    <a:pt x="84" y="348"/>
                  </a:cubicBezTo>
                  <a:cubicBezTo>
                    <a:pt x="84" y="348"/>
                    <a:pt x="85" y="348"/>
                    <a:pt x="85" y="348"/>
                  </a:cubicBezTo>
                  <a:cubicBezTo>
                    <a:pt x="89" y="349"/>
                    <a:pt x="92" y="350"/>
                    <a:pt x="96" y="350"/>
                  </a:cubicBezTo>
                  <a:cubicBezTo>
                    <a:pt x="96" y="350"/>
                    <a:pt x="96" y="350"/>
                    <a:pt x="97" y="350"/>
                  </a:cubicBezTo>
                  <a:cubicBezTo>
                    <a:pt x="100" y="351"/>
                    <a:pt x="104" y="351"/>
                    <a:pt x="107" y="352"/>
                  </a:cubicBezTo>
                  <a:cubicBezTo>
                    <a:pt x="108" y="352"/>
                    <a:pt x="108" y="352"/>
                    <a:pt x="109" y="352"/>
                  </a:cubicBezTo>
                  <a:cubicBezTo>
                    <a:pt x="112" y="352"/>
                    <a:pt x="116" y="352"/>
                    <a:pt x="120" y="353"/>
                  </a:cubicBezTo>
                  <a:cubicBezTo>
                    <a:pt x="121" y="353"/>
                    <a:pt x="121" y="353"/>
                    <a:pt x="122" y="353"/>
                  </a:cubicBezTo>
                  <a:cubicBezTo>
                    <a:pt x="126" y="353"/>
                    <a:pt x="130" y="353"/>
                    <a:pt x="134" y="353"/>
                  </a:cubicBezTo>
                  <a:cubicBezTo>
                    <a:pt x="134" y="354"/>
                    <a:pt x="135" y="354"/>
                    <a:pt x="136" y="354"/>
                  </a:cubicBezTo>
                  <a:cubicBezTo>
                    <a:pt x="140" y="354"/>
                    <a:pt x="144" y="354"/>
                    <a:pt x="148" y="354"/>
                  </a:cubicBezTo>
                  <a:cubicBezTo>
                    <a:pt x="153" y="354"/>
                    <a:pt x="157" y="354"/>
                    <a:pt x="161" y="354"/>
                  </a:cubicBezTo>
                  <a:cubicBezTo>
                    <a:pt x="161" y="354"/>
                    <a:pt x="162" y="354"/>
                    <a:pt x="163" y="353"/>
                  </a:cubicBezTo>
                  <a:cubicBezTo>
                    <a:pt x="167" y="353"/>
                    <a:pt x="171" y="353"/>
                    <a:pt x="174" y="353"/>
                  </a:cubicBezTo>
                  <a:cubicBezTo>
                    <a:pt x="175" y="353"/>
                    <a:pt x="176" y="353"/>
                    <a:pt x="177" y="353"/>
                  </a:cubicBezTo>
                  <a:cubicBezTo>
                    <a:pt x="180" y="352"/>
                    <a:pt x="184" y="352"/>
                    <a:pt x="188" y="352"/>
                  </a:cubicBezTo>
                  <a:cubicBezTo>
                    <a:pt x="188" y="352"/>
                    <a:pt x="189" y="352"/>
                    <a:pt x="189" y="352"/>
                  </a:cubicBezTo>
                  <a:cubicBezTo>
                    <a:pt x="193" y="351"/>
                    <a:pt x="196" y="351"/>
                    <a:pt x="200" y="350"/>
                  </a:cubicBezTo>
                  <a:cubicBezTo>
                    <a:pt x="200" y="350"/>
                    <a:pt x="200" y="350"/>
                    <a:pt x="201" y="350"/>
                  </a:cubicBezTo>
                  <a:cubicBezTo>
                    <a:pt x="204" y="350"/>
                    <a:pt x="208" y="349"/>
                    <a:pt x="211" y="348"/>
                  </a:cubicBezTo>
                  <a:cubicBezTo>
                    <a:pt x="212" y="348"/>
                    <a:pt x="212" y="348"/>
                    <a:pt x="213" y="348"/>
                  </a:cubicBezTo>
                  <a:cubicBezTo>
                    <a:pt x="216" y="347"/>
                    <a:pt x="220" y="347"/>
                    <a:pt x="223" y="346"/>
                  </a:cubicBezTo>
                  <a:cubicBezTo>
                    <a:pt x="223" y="346"/>
                    <a:pt x="224" y="346"/>
                    <a:pt x="224" y="346"/>
                  </a:cubicBezTo>
                  <a:cubicBezTo>
                    <a:pt x="231" y="344"/>
                    <a:pt x="237" y="343"/>
                    <a:pt x="243" y="341"/>
                  </a:cubicBezTo>
                  <a:cubicBezTo>
                    <a:pt x="243" y="341"/>
                    <a:pt x="243" y="341"/>
                    <a:pt x="244" y="341"/>
                  </a:cubicBezTo>
                  <a:cubicBezTo>
                    <a:pt x="247" y="340"/>
                    <a:pt x="249" y="339"/>
                    <a:pt x="252" y="338"/>
                  </a:cubicBezTo>
                  <a:cubicBezTo>
                    <a:pt x="252" y="338"/>
                    <a:pt x="253" y="337"/>
                    <a:pt x="253" y="337"/>
                  </a:cubicBezTo>
                  <a:cubicBezTo>
                    <a:pt x="261" y="334"/>
                    <a:pt x="269" y="331"/>
                    <a:pt x="275" y="327"/>
                  </a:cubicBezTo>
                  <a:cubicBezTo>
                    <a:pt x="275" y="327"/>
                    <a:pt x="275" y="327"/>
                    <a:pt x="275" y="327"/>
                  </a:cubicBezTo>
                  <a:cubicBezTo>
                    <a:pt x="289" y="319"/>
                    <a:pt x="297" y="309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311" y="293"/>
                    <a:pt x="324" y="286"/>
                    <a:pt x="335" y="278"/>
                  </a:cubicBezTo>
                  <a:cubicBezTo>
                    <a:pt x="349" y="291"/>
                    <a:pt x="349" y="291"/>
                    <a:pt x="349" y="291"/>
                  </a:cubicBezTo>
                  <a:cubicBezTo>
                    <a:pt x="343" y="297"/>
                    <a:pt x="343" y="297"/>
                    <a:pt x="343" y="297"/>
                  </a:cubicBezTo>
                  <a:cubicBezTo>
                    <a:pt x="423" y="378"/>
                    <a:pt x="423" y="378"/>
                    <a:pt x="423" y="378"/>
                  </a:cubicBezTo>
                  <a:cubicBezTo>
                    <a:pt x="429" y="372"/>
                    <a:pt x="429" y="372"/>
                    <a:pt x="429" y="372"/>
                  </a:cubicBezTo>
                  <a:cubicBezTo>
                    <a:pt x="454" y="347"/>
                    <a:pt x="454" y="347"/>
                    <a:pt x="454" y="347"/>
                  </a:cubicBezTo>
                  <a:cubicBezTo>
                    <a:pt x="454" y="347"/>
                    <a:pt x="454" y="347"/>
                    <a:pt x="454" y="347"/>
                  </a:cubicBezTo>
                  <a:lnTo>
                    <a:pt x="460" y="341"/>
                  </a:lnTo>
                  <a:close/>
                  <a:moveTo>
                    <a:pt x="263" y="276"/>
                  </a:moveTo>
                  <a:cubicBezTo>
                    <a:pt x="210" y="276"/>
                    <a:pt x="167" y="233"/>
                    <a:pt x="167" y="180"/>
                  </a:cubicBezTo>
                  <a:cubicBezTo>
                    <a:pt x="167" y="128"/>
                    <a:pt x="210" y="85"/>
                    <a:pt x="263" y="85"/>
                  </a:cubicBezTo>
                  <a:cubicBezTo>
                    <a:pt x="315" y="85"/>
                    <a:pt x="358" y="128"/>
                    <a:pt x="358" y="180"/>
                  </a:cubicBezTo>
                  <a:cubicBezTo>
                    <a:pt x="358" y="233"/>
                    <a:pt x="315" y="276"/>
                    <a:pt x="263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myP_Bulb">
            <a:extLst>
              <a:ext uri="{FF2B5EF4-FFF2-40B4-BE49-F238E27FC236}">
                <a16:creationId xmlns:a16="http://schemas.microsoft.com/office/drawing/2014/main" id="{30514568-999C-43A9-BF17-5674020DDC87}"/>
              </a:ext>
            </a:extLst>
          </p:cNvPr>
          <p:cNvGrpSpPr/>
          <p:nvPr/>
        </p:nvGrpSpPr>
        <p:grpSpPr>
          <a:xfrm>
            <a:off x="1636178" y="2878398"/>
            <a:ext cx="379307" cy="476272"/>
            <a:chOff x="1174750" y="1774825"/>
            <a:chExt cx="1266825" cy="1590676"/>
          </a:xfrm>
          <a:solidFill>
            <a:schemeClr val="bg1"/>
          </a:solidFill>
        </p:grpSpPr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DD9697EF-AB95-4A53-B8DC-7E02AB9B8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4750" y="2408238"/>
              <a:ext cx="881063" cy="957263"/>
            </a:xfrm>
            <a:custGeom>
              <a:avLst/>
              <a:gdLst>
                <a:gd name="T0" fmla="*/ 223 w 456"/>
                <a:gd name="T1" fmla="*/ 245 h 493"/>
                <a:gd name="T2" fmla="*/ 223 w 456"/>
                <a:gd name="T3" fmla="*/ 110 h 493"/>
                <a:gd name="T4" fmla="*/ 154 w 456"/>
                <a:gd name="T5" fmla="*/ 37 h 493"/>
                <a:gd name="T6" fmla="*/ 85 w 456"/>
                <a:gd name="T7" fmla="*/ 109 h 493"/>
                <a:gd name="T8" fmla="*/ 85 w 456"/>
                <a:gd name="T9" fmla="*/ 347 h 493"/>
                <a:gd name="T10" fmla="*/ 100 w 456"/>
                <a:gd name="T11" fmla="*/ 372 h 493"/>
                <a:gd name="T12" fmla="*/ 131 w 456"/>
                <a:gd name="T13" fmla="*/ 447 h 493"/>
                <a:gd name="T14" fmla="*/ 70 w 456"/>
                <a:gd name="T15" fmla="*/ 493 h 493"/>
                <a:gd name="T16" fmla="*/ 9 w 456"/>
                <a:gd name="T17" fmla="*/ 447 h 493"/>
                <a:gd name="T18" fmla="*/ 40 w 456"/>
                <a:gd name="T19" fmla="*/ 372 h 493"/>
                <a:gd name="T20" fmla="*/ 55 w 456"/>
                <a:gd name="T21" fmla="*/ 344 h 493"/>
                <a:gd name="T22" fmla="*/ 55 w 456"/>
                <a:gd name="T23" fmla="*/ 104 h 493"/>
                <a:gd name="T24" fmla="*/ 145 w 456"/>
                <a:gd name="T25" fmla="*/ 6 h 493"/>
                <a:gd name="T26" fmla="*/ 249 w 456"/>
                <a:gd name="T27" fmla="*/ 75 h 493"/>
                <a:gd name="T28" fmla="*/ 253 w 456"/>
                <a:gd name="T29" fmla="*/ 111 h 493"/>
                <a:gd name="T30" fmla="*/ 253 w 456"/>
                <a:gd name="T31" fmla="*/ 377 h 493"/>
                <a:gd name="T32" fmla="*/ 304 w 456"/>
                <a:gd name="T33" fmla="*/ 452 h 493"/>
                <a:gd name="T34" fmla="*/ 391 w 456"/>
                <a:gd name="T35" fmla="*/ 394 h 493"/>
                <a:gd name="T36" fmla="*/ 392 w 456"/>
                <a:gd name="T37" fmla="*/ 336 h 493"/>
                <a:gd name="T38" fmla="*/ 374 w 456"/>
                <a:gd name="T39" fmla="*/ 318 h 493"/>
                <a:gd name="T40" fmla="*/ 364 w 456"/>
                <a:gd name="T41" fmla="*/ 300 h 493"/>
                <a:gd name="T42" fmla="*/ 399 w 456"/>
                <a:gd name="T43" fmla="*/ 230 h 493"/>
                <a:gd name="T44" fmla="*/ 415 w 456"/>
                <a:gd name="T45" fmla="*/ 229 h 493"/>
                <a:gd name="T46" fmla="*/ 451 w 456"/>
                <a:gd name="T47" fmla="*/ 302 h 493"/>
                <a:gd name="T48" fmla="*/ 442 w 456"/>
                <a:gd name="T49" fmla="*/ 317 h 493"/>
                <a:gd name="T50" fmla="*/ 424 w 456"/>
                <a:gd name="T51" fmla="*/ 339 h 493"/>
                <a:gd name="T52" fmla="*/ 422 w 456"/>
                <a:gd name="T53" fmla="*/ 399 h 493"/>
                <a:gd name="T54" fmla="*/ 315 w 456"/>
                <a:gd name="T55" fmla="*/ 486 h 493"/>
                <a:gd name="T56" fmla="*/ 223 w 456"/>
                <a:gd name="T57" fmla="*/ 385 h 493"/>
                <a:gd name="T58" fmla="*/ 223 w 456"/>
                <a:gd name="T59" fmla="*/ 245 h 493"/>
                <a:gd name="T60" fmla="*/ 223 w 456"/>
                <a:gd name="T61" fmla="*/ 245 h 493"/>
                <a:gd name="T62" fmla="*/ 70 w 456"/>
                <a:gd name="T63" fmla="*/ 461 h 493"/>
                <a:gd name="T64" fmla="*/ 103 w 456"/>
                <a:gd name="T65" fmla="*/ 429 h 493"/>
                <a:gd name="T66" fmla="*/ 69 w 456"/>
                <a:gd name="T67" fmla="*/ 395 h 493"/>
                <a:gd name="T68" fmla="*/ 37 w 456"/>
                <a:gd name="T69" fmla="*/ 429 h 493"/>
                <a:gd name="T70" fmla="*/ 70 w 456"/>
                <a:gd name="T71" fmla="*/ 461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6" h="493">
                  <a:moveTo>
                    <a:pt x="223" y="245"/>
                  </a:moveTo>
                  <a:cubicBezTo>
                    <a:pt x="223" y="200"/>
                    <a:pt x="223" y="155"/>
                    <a:pt x="223" y="110"/>
                  </a:cubicBezTo>
                  <a:cubicBezTo>
                    <a:pt x="223" y="67"/>
                    <a:pt x="195" y="37"/>
                    <a:pt x="154" y="37"/>
                  </a:cubicBezTo>
                  <a:cubicBezTo>
                    <a:pt x="115" y="37"/>
                    <a:pt x="86" y="67"/>
                    <a:pt x="85" y="109"/>
                  </a:cubicBezTo>
                  <a:cubicBezTo>
                    <a:pt x="85" y="189"/>
                    <a:pt x="85" y="268"/>
                    <a:pt x="85" y="347"/>
                  </a:cubicBezTo>
                  <a:cubicBezTo>
                    <a:pt x="85" y="359"/>
                    <a:pt x="89" y="366"/>
                    <a:pt x="100" y="372"/>
                  </a:cubicBezTo>
                  <a:cubicBezTo>
                    <a:pt x="128" y="387"/>
                    <a:pt x="140" y="416"/>
                    <a:pt x="131" y="447"/>
                  </a:cubicBezTo>
                  <a:cubicBezTo>
                    <a:pt x="124" y="472"/>
                    <a:pt x="97" y="493"/>
                    <a:pt x="70" y="493"/>
                  </a:cubicBezTo>
                  <a:cubicBezTo>
                    <a:pt x="43" y="493"/>
                    <a:pt x="16" y="473"/>
                    <a:pt x="9" y="447"/>
                  </a:cubicBezTo>
                  <a:cubicBezTo>
                    <a:pt x="0" y="417"/>
                    <a:pt x="11" y="387"/>
                    <a:pt x="40" y="372"/>
                  </a:cubicBezTo>
                  <a:cubicBezTo>
                    <a:pt x="53" y="365"/>
                    <a:pt x="55" y="357"/>
                    <a:pt x="55" y="344"/>
                  </a:cubicBezTo>
                  <a:cubicBezTo>
                    <a:pt x="55" y="264"/>
                    <a:pt x="54" y="184"/>
                    <a:pt x="55" y="104"/>
                  </a:cubicBezTo>
                  <a:cubicBezTo>
                    <a:pt x="55" y="52"/>
                    <a:pt x="92" y="13"/>
                    <a:pt x="145" y="6"/>
                  </a:cubicBezTo>
                  <a:cubicBezTo>
                    <a:pt x="189" y="0"/>
                    <a:pt x="235" y="30"/>
                    <a:pt x="249" y="75"/>
                  </a:cubicBezTo>
                  <a:cubicBezTo>
                    <a:pt x="253" y="87"/>
                    <a:pt x="253" y="99"/>
                    <a:pt x="253" y="111"/>
                  </a:cubicBezTo>
                  <a:cubicBezTo>
                    <a:pt x="253" y="200"/>
                    <a:pt x="253" y="288"/>
                    <a:pt x="253" y="377"/>
                  </a:cubicBezTo>
                  <a:cubicBezTo>
                    <a:pt x="254" y="417"/>
                    <a:pt x="271" y="442"/>
                    <a:pt x="304" y="452"/>
                  </a:cubicBezTo>
                  <a:cubicBezTo>
                    <a:pt x="344" y="464"/>
                    <a:pt x="388" y="436"/>
                    <a:pt x="391" y="394"/>
                  </a:cubicBezTo>
                  <a:cubicBezTo>
                    <a:pt x="392" y="374"/>
                    <a:pt x="391" y="355"/>
                    <a:pt x="392" y="336"/>
                  </a:cubicBezTo>
                  <a:cubicBezTo>
                    <a:pt x="392" y="323"/>
                    <a:pt x="387" y="317"/>
                    <a:pt x="374" y="318"/>
                  </a:cubicBezTo>
                  <a:cubicBezTo>
                    <a:pt x="360" y="318"/>
                    <a:pt x="359" y="311"/>
                    <a:pt x="364" y="300"/>
                  </a:cubicBezTo>
                  <a:cubicBezTo>
                    <a:pt x="376" y="277"/>
                    <a:pt x="388" y="254"/>
                    <a:pt x="399" y="230"/>
                  </a:cubicBezTo>
                  <a:cubicBezTo>
                    <a:pt x="404" y="221"/>
                    <a:pt x="408" y="217"/>
                    <a:pt x="415" y="229"/>
                  </a:cubicBezTo>
                  <a:cubicBezTo>
                    <a:pt x="427" y="254"/>
                    <a:pt x="439" y="278"/>
                    <a:pt x="451" y="302"/>
                  </a:cubicBezTo>
                  <a:cubicBezTo>
                    <a:pt x="456" y="312"/>
                    <a:pt x="454" y="318"/>
                    <a:pt x="442" y="317"/>
                  </a:cubicBezTo>
                  <a:cubicBezTo>
                    <a:pt x="426" y="317"/>
                    <a:pt x="424" y="326"/>
                    <a:pt x="424" y="339"/>
                  </a:cubicBezTo>
                  <a:cubicBezTo>
                    <a:pt x="424" y="359"/>
                    <a:pt x="425" y="379"/>
                    <a:pt x="422" y="399"/>
                  </a:cubicBezTo>
                  <a:cubicBezTo>
                    <a:pt x="414" y="453"/>
                    <a:pt x="369" y="490"/>
                    <a:pt x="315" y="486"/>
                  </a:cubicBezTo>
                  <a:cubicBezTo>
                    <a:pt x="264" y="482"/>
                    <a:pt x="224" y="439"/>
                    <a:pt x="223" y="385"/>
                  </a:cubicBezTo>
                  <a:cubicBezTo>
                    <a:pt x="223" y="339"/>
                    <a:pt x="223" y="292"/>
                    <a:pt x="223" y="245"/>
                  </a:cubicBezTo>
                  <a:cubicBezTo>
                    <a:pt x="223" y="245"/>
                    <a:pt x="223" y="245"/>
                    <a:pt x="223" y="245"/>
                  </a:cubicBezTo>
                  <a:close/>
                  <a:moveTo>
                    <a:pt x="70" y="461"/>
                  </a:moveTo>
                  <a:cubicBezTo>
                    <a:pt x="89" y="461"/>
                    <a:pt x="103" y="448"/>
                    <a:pt x="103" y="429"/>
                  </a:cubicBezTo>
                  <a:cubicBezTo>
                    <a:pt x="103" y="410"/>
                    <a:pt x="87" y="394"/>
                    <a:pt x="69" y="395"/>
                  </a:cubicBezTo>
                  <a:cubicBezTo>
                    <a:pt x="52" y="395"/>
                    <a:pt x="37" y="411"/>
                    <a:pt x="37" y="429"/>
                  </a:cubicBezTo>
                  <a:cubicBezTo>
                    <a:pt x="37" y="447"/>
                    <a:pt x="51" y="461"/>
                    <a:pt x="70" y="4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D6978589-4486-4893-AF25-2BC23D761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1992313"/>
              <a:ext cx="541338" cy="596900"/>
            </a:xfrm>
            <a:custGeom>
              <a:avLst/>
              <a:gdLst>
                <a:gd name="T0" fmla="*/ 146 w 280"/>
                <a:gd name="T1" fmla="*/ 308 h 308"/>
                <a:gd name="T2" fmla="*/ 140 w 280"/>
                <a:gd name="T3" fmla="*/ 308 h 308"/>
                <a:gd name="T4" fmla="*/ 94 w 280"/>
                <a:gd name="T5" fmla="*/ 267 h 308"/>
                <a:gd name="T6" fmla="*/ 74 w 280"/>
                <a:gd name="T7" fmla="*/ 242 h 308"/>
                <a:gd name="T8" fmla="*/ 41 w 280"/>
                <a:gd name="T9" fmla="*/ 63 h 308"/>
                <a:gd name="T10" fmla="*/ 175 w 280"/>
                <a:gd name="T11" fmla="*/ 12 h 308"/>
                <a:gd name="T12" fmla="*/ 271 w 280"/>
                <a:gd name="T13" fmla="*/ 113 h 308"/>
                <a:gd name="T14" fmla="*/ 215 w 280"/>
                <a:gd name="T15" fmla="*/ 243 h 308"/>
                <a:gd name="T16" fmla="*/ 195 w 280"/>
                <a:gd name="T17" fmla="*/ 281 h 308"/>
                <a:gd name="T18" fmla="*/ 168 w 280"/>
                <a:gd name="T19" fmla="*/ 308 h 308"/>
                <a:gd name="T20" fmla="*/ 146 w 280"/>
                <a:gd name="T21" fmla="*/ 308 h 308"/>
                <a:gd name="T22" fmla="*/ 145 w 280"/>
                <a:gd name="T23" fmla="*/ 40 h 308"/>
                <a:gd name="T24" fmla="*/ 52 w 280"/>
                <a:gd name="T25" fmla="*/ 110 h 308"/>
                <a:gd name="T26" fmla="*/ 102 w 280"/>
                <a:gd name="T27" fmla="*/ 223 h 308"/>
                <a:gd name="T28" fmla="*/ 126 w 280"/>
                <a:gd name="T29" fmla="*/ 260 h 308"/>
                <a:gd name="T30" fmla="*/ 146 w 280"/>
                <a:gd name="T31" fmla="*/ 276 h 308"/>
                <a:gd name="T32" fmla="*/ 165 w 280"/>
                <a:gd name="T33" fmla="*/ 260 h 308"/>
                <a:gd name="T34" fmla="*/ 190 w 280"/>
                <a:gd name="T35" fmla="*/ 221 h 308"/>
                <a:gd name="T36" fmla="*/ 239 w 280"/>
                <a:gd name="T37" fmla="*/ 112 h 308"/>
                <a:gd name="T38" fmla="*/ 145 w 280"/>
                <a:gd name="T39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308">
                  <a:moveTo>
                    <a:pt x="146" y="308"/>
                  </a:moveTo>
                  <a:cubicBezTo>
                    <a:pt x="144" y="308"/>
                    <a:pt x="142" y="308"/>
                    <a:pt x="140" y="308"/>
                  </a:cubicBezTo>
                  <a:cubicBezTo>
                    <a:pt x="98" y="308"/>
                    <a:pt x="97" y="308"/>
                    <a:pt x="94" y="267"/>
                  </a:cubicBezTo>
                  <a:cubicBezTo>
                    <a:pt x="93" y="253"/>
                    <a:pt x="83" y="248"/>
                    <a:pt x="74" y="242"/>
                  </a:cubicBezTo>
                  <a:cubicBezTo>
                    <a:pt x="14" y="201"/>
                    <a:pt x="0" y="122"/>
                    <a:pt x="41" y="63"/>
                  </a:cubicBezTo>
                  <a:cubicBezTo>
                    <a:pt x="72" y="20"/>
                    <a:pt x="123" y="0"/>
                    <a:pt x="175" y="12"/>
                  </a:cubicBezTo>
                  <a:cubicBezTo>
                    <a:pt x="223" y="23"/>
                    <a:pt x="262" y="64"/>
                    <a:pt x="271" y="113"/>
                  </a:cubicBezTo>
                  <a:cubicBezTo>
                    <a:pt x="280" y="164"/>
                    <a:pt x="259" y="216"/>
                    <a:pt x="215" y="243"/>
                  </a:cubicBezTo>
                  <a:cubicBezTo>
                    <a:pt x="199" y="253"/>
                    <a:pt x="194" y="264"/>
                    <a:pt x="195" y="281"/>
                  </a:cubicBezTo>
                  <a:cubicBezTo>
                    <a:pt x="196" y="307"/>
                    <a:pt x="194" y="308"/>
                    <a:pt x="168" y="308"/>
                  </a:cubicBezTo>
                  <a:cubicBezTo>
                    <a:pt x="160" y="308"/>
                    <a:pt x="153" y="308"/>
                    <a:pt x="146" y="308"/>
                  </a:cubicBezTo>
                  <a:close/>
                  <a:moveTo>
                    <a:pt x="145" y="40"/>
                  </a:moveTo>
                  <a:cubicBezTo>
                    <a:pt x="101" y="40"/>
                    <a:pt x="62" y="69"/>
                    <a:pt x="52" y="110"/>
                  </a:cubicBezTo>
                  <a:cubicBezTo>
                    <a:pt x="40" y="157"/>
                    <a:pt x="60" y="202"/>
                    <a:pt x="102" y="223"/>
                  </a:cubicBezTo>
                  <a:cubicBezTo>
                    <a:pt x="120" y="231"/>
                    <a:pt x="129" y="240"/>
                    <a:pt x="126" y="260"/>
                  </a:cubicBezTo>
                  <a:cubicBezTo>
                    <a:pt x="125" y="274"/>
                    <a:pt x="134" y="276"/>
                    <a:pt x="146" y="276"/>
                  </a:cubicBezTo>
                  <a:cubicBezTo>
                    <a:pt x="157" y="276"/>
                    <a:pt x="167" y="274"/>
                    <a:pt x="165" y="260"/>
                  </a:cubicBezTo>
                  <a:cubicBezTo>
                    <a:pt x="162" y="239"/>
                    <a:pt x="173" y="230"/>
                    <a:pt x="190" y="221"/>
                  </a:cubicBezTo>
                  <a:cubicBezTo>
                    <a:pt x="231" y="202"/>
                    <a:pt x="251" y="156"/>
                    <a:pt x="239" y="112"/>
                  </a:cubicBezTo>
                  <a:cubicBezTo>
                    <a:pt x="229" y="69"/>
                    <a:pt x="191" y="40"/>
                    <a:pt x="14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CAFD4B65-703F-4177-80E6-27B239D5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138" y="2636838"/>
              <a:ext cx="195263" cy="61913"/>
            </a:xfrm>
            <a:custGeom>
              <a:avLst/>
              <a:gdLst>
                <a:gd name="T0" fmla="*/ 49 w 101"/>
                <a:gd name="T1" fmla="*/ 32 h 32"/>
                <a:gd name="T2" fmla="*/ 15 w 101"/>
                <a:gd name="T3" fmla="*/ 32 h 32"/>
                <a:gd name="T4" fmla="*/ 0 w 101"/>
                <a:gd name="T5" fmla="*/ 18 h 32"/>
                <a:gd name="T6" fmla="*/ 15 w 101"/>
                <a:gd name="T7" fmla="*/ 0 h 32"/>
                <a:gd name="T8" fmla="*/ 87 w 101"/>
                <a:gd name="T9" fmla="*/ 0 h 32"/>
                <a:gd name="T10" fmla="*/ 101 w 101"/>
                <a:gd name="T11" fmla="*/ 16 h 32"/>
                <a:gd name="T12" fmla="*/ 85 w 101"/>
                <a:gd name="T13" fmla="*/ 32 h 32"/>
                <a:gd name="T14" fmla="*/ 49 w 101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32">
                  <a:moveTo>
                    <a:pt x="49" y="32"/>
                  </a:moveTo>
                  <a:cubicBezTo>
                    <a:pt x="38" y="32"/>
                    <a:pt x="27" y="32"/>
                    <a:pt x="15" y="32"/>
                  </a:cubicBezTo>
                  <a:cubicBezTo>
                    <a:pt x="6" y="32"/>
                    <a:pt x="1" y="28"/>
                    <a:pt x="0" y="18"/>
                  </a:cubicBezTo>
                  <a:cubicBezTo>
                    <a:pt x="0" y="8"/>
                    <a:pt x="4" y="1"/>
                    <a:pt x="15" y="0"/>
                  </a:cubicBezTo>
                  <a:cubicBezTo>
                    <a:pt x="39" y="0"/>
                    <a:pt x="63" y="0"/>
                    <a:pt x="87" y="0"/>
                  </a:cubicBezTo>
                  <a:cubicBezTo>
                    <a:pt x="97" y="1"/>
                    <a:pt x="101" y="6"/>
                    <a:pt x="101" y="16"/>
                  </a:cubicBezTo>
                  <a:cubicBezTo>
                    <a:pt x="101" y="27"/>
                    <a:pt x="96" y="32"/>
                    <a:pt x="85" y="32"/>
                  </a:cubicBezTo>
                  <a:cubicBezTo>
                    <a:pt x="73" y="32"/>
                    <a:pt x="61" y="32"/>
                    <a:pt x="4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859E827F-9AC1-40FD-B6DC-AC6FBFAB9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138" y="2239963"/>
              <a:ext cx="173038" cy="61913"/>
            </a:xfrm>
            <a:custGeom>
              <a:avLst/>
              <a:gdLst>
                <a:gd name="T0" fmla="*/ 46 w 89"/>
                <a:gd name="T1" fmla="*/ 0 h 32"/>
                <a:gd name="T2" fmla="*/ 68 w 89"/>
                <a:gd name="T3" fmla="*/ 0 h 32"/>
                <a:gd name="T4" fmla="*/ 89 w 89"/>
                <a:gd name="T5" fmla="*/ 17 h 32"/>
                <a:gd name="T6" fmla="*/ 67 w 89"/>
                <a:gd name="T7" fmla="*/ 32 h 32"/>
                <a:gd name="T8" fmla="*/ 21 w 89"/>
                <a:gd name="T9" fmla="*/ 32 h 32"/>
                <a:gd name="T10" fmla="*/ 1 w 89"/>
                <a:gd name="T11" fmla="*/ 16 h 32"/>
                <a:gd name="T12" fmla="*/ 20 w 89"/>
                <a:gd name="T13" fmla="*/ 0 h 32"/>
                <a:gd name="T14" fmla="*/ 46 w 89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4" y="0"/>
                    <a:pt x="61" y="0"/>
                    <a:pt x="68" y="0"/>
                  </a:cubicBezTo>
                  <a:cubicBezTo>
                    <a:pt x="80" y="0"/>
                    <a:pt x="89" y="1"/>
                    <a:pt x="89" y="17"/>
                  </a:cubicBezTo>
                  <a:cubicBezTo>
                    <a:pt x="89" y="32"/>
                    <a:pt x="78" y="32"/>
                    <a:pt x="67" y="32"/>
                  </a:cubicBezTo>
                  <a:cubicBezTo>
                    <a:pt x="52" y="32"/>
                    <a:pt x="37" y="32"/>
                    <a:pt x="21" y="32"/>
                  </a:cubicBezTo>
                  <a:cubicBezTo>
                    <a:pt x="10" y="32"/>
                    <a:pt x="0" y="31"/>
                    <a:pt x="1" y="16"/>
                  </a:cubicBezTo>
                  <a:cubicBezTo>
                    <a:pt x="1" y="1"/>
                    <a:pt x="10" y="0"/>
                    <a:pt x="20" y="0"/>
                  </a:cubicBezTo>
                  <a:cubicBezTo>
                    <a:pt x="29" y="0"/>
                    <a:pt x="38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06E4E2F0-9B6D-4381-8FD1-085450B20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125" y="2239963"/>
              <a:ext cx="171450" cy="61913"/>
            </a:xfrm>
            <a:custGeom>
              <a:avLst/>
              <a:gdLst>
                <a:gd name="T0" fmla="*/ 46 w 89"/>
                <a:gd name="T1" fmla="*/ 0 h 32"/>
                <a:gd name="T2" fmla="*/ 72 w 89"/>
                <a:gd name="T3" fmla="*/ 0 h 32"/>
                <a:gd name="T4" fmla="*/ 89 w 89"/>
                <a:gd name="T5" fmla="*/ 17 h 32"/>
                <a:gd name="T6" fmla="*/ 73 w 89"/>
                <a:gd name="T7" fmla="*/ 32 h 32"/>
                <a:gd name="T8" fmla="*/ 15 w 89"/>
                <a:gd name="T9" fmla="*/ 32 h 32"/>
                <a:gd name="T10" fmla="*/ 1 w 89"/>
                <a:gd name="T11" fmla="*/ 16 h 32"/>
                <a:gd name="T12" fmla="*/ 15 w 89"/>
                <a:gd name="T13" fmla="*/ 0 h 32"/>
                <a:gd name="T14" fmla="*/ 46 w 89"/>
                <a:gd name="T15" fmla="*/ 0 h 32"/>
                <a:gd name="T16" fmla="*/ 46 w 8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2">
                  <a:moveTo>
                    <a:pt x="46" y="0"/>
                  </a:moveTo>
                  <a:cubicBezTo>
                    <a:pt x="55" y="0"/>
                    <a:pt x="63" y="0"/>
                    <a:pt x="72" y="0"/>
                  </a:cubicBezTo>
                  <a:cubicBezTo>
                    <a:pt x="84" y="0"/>
                    <a:pt x="89" y="5"/>
                    <a:pt x="89" y="17"/>
                  </a:cubicBezTo>
                  <a:cubicBezTo>
                    <a:pt x="89" y="28"/>
                    <a:pt x="83" y="32"/>
                    <a:pt x="73" y="32"/>
                  </a:cubicBezTo>
                  <a:cubicBezTo>
                    <a:pt x="54" y="32"/>
                    <a:pt x="34" y="32"/>
                    <a:pt x="15" y="32"/>
                  </a:cubicBezTo>
                  <a:cubicBezTo>
                    <a:pt x="4" y="32"/>
                    <a:pt x="0" y="26"/>
                    <a:pt x="1" y="16"/>
                  </a:cubicBezTo>
                  <a:cubicBezTo>
                    <a:pt x="1" y="6"/>
                    <a:pt x="5" y="1"/>
                    <a:pt x="15" y="0"/>
                  </a:cubicBezTo>
                  <a:cubicBezTo>
                    <a:pt x="25" y="0"/>
                    <a:pt x="3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BC3004E6-6155-4B7F-9C05-78E06942F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1774825"/>
              <a:ext cx="61913" cy="173038"/>
            </a:xfrm>
            <a:custGeom>
              <a:avLst/>
              <a:gdLst>
                <a:gd name="T0" fmla="*/ 32 w 32"/>
                <a:gd name="T1" fmla="*/ 46 h 89"/>
                <a:gd name="T2" fmla="*/ 32 w 32"/>
                <a:gd name="T3" fmla="*/ 74 h 89"/>
                <a:gd name="T4" fmla="*/ 15 w 32"/>
                <a:gd name="T5" fmla="*/ 89 h 89"/>
                <a:gd name="T6" fmla="*/ 0 w 32"/>
                <a:gd name="T7" fmla="*/ 73 h 89"/>
                <a:gd name="T8" fmla="*/ 0 w 32"/>
                <a:gd name="T9" fmla="*/ 17 h 89"/>
                <a:gd name="T10" fmla="*/ 15 w 32"/>
                <a:gd name="T11" fmla="*/ 1 h 89"/>
                <a:gd name="T12" fmla="*/ 32 w 32"/>
                <a:gd name="T13" fmla="*/ 18 h 89"/>
                <a:gd name="T14" fmla="*/ 32 w 32"/>
                <a:gd name="T15" fmla="*/ 46 h 89"/>
                <a:gd name="T16" fmla="*/ 32 w 32"/>
                <a:gd name="T1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89">
                  <a:moveTo>
                    <a:pt x="32" y="46"/>
                  </a:moveTo>
                  <a:cubicBezTo>
                    <a:pt x="32" y="55"/>
                    <a:pt x="32" y="65"/>
                    <a:pt x="32" y="74"/>
                  </a:cubicBezTo>
                  <a:cubicBezTo>
                    <a:pt x="32" y="85"/>
                    <a:pt x="26" y="89"/>
                    <a:pt x="15" y="89"/>
                  </a:cubicBezTo>
                  <a:cubicBezTo>
                    <a:pt x="4" y="89"/>
                    <a:pt x="0" y="84"/>
                    <a:pt x="0" y="73"/>
                  </a:cubicBezTo>
                  <a:cubicBezTo>
                    <a:pt x="0" y="55"/>
                    <a:pt x="0" y="36"/>
                    <a:pt x="0" y="17"/>
                  </a:cubicBezTo>
                  <a:cubicBezTo>
                    <a:pt x="0" y="7"/>
                    <a:pt x="4" y="1"/>
                    <a:pt x="15" y="1"/>
                  </a:cubicBezTo>
                  <a:cubicBezTo>
                    <a:pt x="27" y="0"/>
                    <a:pt x="32" y="7"/>
                    <a:pt x="32" y="18"/>
                  </a:cubicBezTo>
                  <a:cubicBezTo>
                    <a:pt x="32" y="27"/>
                    <a:pt x="32" y="37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AC8FF4A2-D156-4EB5-8E67-637EA1846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88" y="1827213"/>
              <a:ext cx="127000" cy="177800"/>
            </a:xfrm>
            <a:custGeom>
              <a:avLst/>
              <a:gdLst>
                <a:gd name="T0" fmla="*/ 65 w 66"/>
                <a:gd name="T1" fmla="*/ 69 h 92"/>
                <a:gd name="T2" fmla="*/ 55 w 66"/>
                <a:gd name="T3" fmla="*/ 85 h 92"/>
                <a:gd name="T4" fmla="*/ 39 w 66"/>
                <a:gd name="T5" fmla="*/ 85 h 92"/>
                <a:gd name="T6" fmla="*/ 3 w 66"/>
                <a:gd name="T7" fmla="*/ 23 h 92"/>
                <a:gd name="T8" fmla="*/ 12 w 66"/>
                <a:gd name="T9" fmla="*/ 9 h 92"/>
                <a:gd name="T10" fmla="*/ 28 w 66"/>
                <a:gd name="T11" fmla="*/ 7 h 92"/>
                <a:gd name="T12" fmla="*/ 65 w 66"/>
                <a:gd name="T13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92">
                  <a:moveTo>
                    <a:pt x="65" y="69"/>
                  </a:moveTo>
                  <a:cubicBezTo>
                    <a:pt x="66" y="80"/>
                    <a:pt x="60" y="82"/>
                    <a:pt x="55" y="85"/>
                  </a:cubicBezTo>
                  <a:cubicBezTo>
                    <a:pt x="50" y="88"/>
                    <a:pt x="43" y="92"/>
                    <a:pt x="39" y="85"/>
                  </a:cubicBezTo>
                  <a:cubicBezTo>
                    <a:pt x="26" y="64"/>
                    <a:pt x="14" y="44"/>
                    <a:pt x="3" y="23"/>
                  </a:cubicBezTo>
                  <a:cubicBezTo>
                    <a:pt x="0" y="16"/>
                    <a:pt x="7" y="12"/>
                    <a:pt x="12" y="9"/>
                  </a:cubicBezTo>
                  <a:cubicBezTo>
                    <a:pt x="17" y="6"/>
                    <a:pt x="23" y="0"/>
                    <a:pt x="28" y="7"/>
                  </a:cubicBezTo>
                  <a:cubicBezTo>
                    <a:pt x="41" y="28"/>
                    <a:pt x="54" y="50"/>
                    <a:pt x="65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3D55B0CD-A0FE-4553-9ABC-D4FC35FF4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075" y="1835150"/>
              <a:ext cx="130175" cy="168275"/>
            </a:xfrm>
            <a:custGeom>
              <a:avLst/>
              <a:gdLst>
                <a:gd name="T0" fmla="*/ 46 w 68"/>
                <a:gd name="T1" fmla="*/ 0 h 87"/>
                <a:gd name="T2" fmla="*/ 62 w 68"/>
                <a:gd name="T3" fmla="*/ 26 h 87"/>
                <a:gd name="T4" fmla="*/ 33 w 68"/>
                <a:gd name="T5" fmla="*/ 76 h 87"/>
                <a:gd name="T6" fmla="*/ 11 w 68"/>
                <a:gd name="T7" fmla="*/ 80 h 87"/>
                <a:gd name="T8" fmla="*/ 5 w 68"/>
                <a:gd name="T9" fmla="*/ 60 h 87"/>
                <a:gd name="T10" fmla="*/ 36 w 68"/>
                <a:gd name="T11" fmla="*/ 9 h 87"/>
                <a:gd name="T12" fmla="*/ 46 w 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87">
                  <a:moveTo>
                    <a:pt x="46" y="0"/>
                  </a:moveTo>
                  <a:cubicBezTo>
                    <a:pt x="59" y="0"/>
                    <a:pt x="68" y="15"/>
                    <a:pt x="62" y="26"/>
                  </a:cubicBezTo>
                  <a:cubicBezTo>
                    <a:pt x="52" y="43"/>
                    <a:pt x="42" y="59"/>
                    <a:pt x="33" y="76"/>
                  </a:cubicBezTo>
                  <a:cubicBezTo>
                    <a:pt x="27" y="87"/>
                    <a:pt x="20" y="85"/>
                    <a:pt x="11" y="80"/>
                  </a:cubicBezTo>
                  <a:cubicBezTo>
                    <a:pt x="3" y="75"/>
                    <a:pt x="0" y="69"/>
                    <a:pt x="5" y="60"/>
                  </a:cubicBezTo>
                  <a:cubicBezTo>
                    <a:pt x="16" y="43"/>
                    <a:pt x="26" y="26"/>
                    <a:pt x="36" y="9"/>
                  </a:cubicBezTo>
                  <a:cubicBezTo>
                    <a:pt x="38" y="5"/>
                    <a:pt x="4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4A7B0B0E-4DB1-4E26-8B44-E686F5216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50" y="2012950"/>
              <a:ext cx="173038" cy="130175"/>
            </a:xfrm>
            <a:custGeom>
              <a:avLst/>
              <a:gdLst>
                <a:gd name="T0" fmla="*/ 16 w 90"/>
                <a:gd name="T1" fmla="*/ 67 h 67"/>
                <a:gd name="T2" fmla="*/ 3 w 90"/>
                <a:gd name="T3" fmla="*/ 52 h 67"/>
                <a:gd name="T4" fmla="*/ 7 w 90"/>
                <a:gd name="T5" fmla="*/ 38 h 67"/>
                <a:gd name="T6" fmla="*/ 64 w 90"/>
                <a:gd name="T7" fmla="*/ 5 h 67"/>
                <a:gd name="T8" fmla="*/ 81 w 90"/>
                <a:gd name="T9" fmla="*/ 13 h 67"/>
                <a:gd name="T10" fmla="*/ 81 w 90"/>
                <a:gd name="T11" fmla="*/ 30 h 67"/>
                <a:gd name="T12" fmla="*/ 21 w 90"/>
                <a:gd name="T13" fmla="*/ 65 h 67"/>
                <a:gd name="T14" fmla="*/ 16 w 90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67">
                  <a:moveTo>
                    <a:pt x="16" y="67"/>
                  </a:moveTo>
                  <a:cubicBezTo>
                    <a:pt x="8" y="64"/>
                    <a:pt x="6" y="57"/>
                    <a:pt x="3" y="52"/>
                  </a:cubicBezTo>
                  <a:cubicBezTo>
                    <a:pt x="0" y="46"/>
                    <a:pt x="2" y="41"/>
                    <a:pt x="7" y="38"/>
                  </a:cubicBezTo>
                  <a:cubicBezTo>
                    <a:pt x="26" y="27"/>
                    <a:pt x="45" y="16"/>
                    <a:pt x="64" y="5"/>
                  </a:cubicBezTo>
                  <a:cubicBezTo>
                    <a:pt x="73" y="0"/>
                    <a:pt x="78" y="6"/>
                    <a:pt x="81" y="13"/>
                  </a:cubicBezTo>
                  <a:cubicBezTo>
                    <a:pt x="85" y="19"/>
                    <a:pt x="90" y="25"/>
                    <a:pt x="81" y="30"/>
                  </a:cubicBezTo>
                  <a:cubicBezTo>
                    <a:pt x="62" y="42"/>
                    <a:pt x="41" y="54"/>
                    <a:pt x="21" y="65"/>
                  </a:cubicBezTo>
                  <a:cubicBezTo>
                    <a:pt x="19" y="66"/>
                    <a:pt x="17" y="66"/>
                    <a:pt x="1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05C393B9-3BA7-484C-ACA1-ED7E8D7CA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2011363"/>
              <a:ext cx="169863" cy="134938"/>
            </a:xfrm>
            <a:custGeom>
              <a:avLst/>
              <a:gdLst>
                <a:gd name="T0" fmla="*/ 87 w 88"/>
                <a:gd name="T1" fmla="*/ 46 h 70"/>
                <a:gd name="T2" fmla="*/ 62 w 88"/>
                <a:gd name="T3" fmla="*/ 63 h 70"/>
                <a:gd name="T4" fmla="*/ 10 w 88"/>
                <a:gd name="T5" fmla="*/ 33 h 70"/>
                <a:gd name="T6" fmla="*/ 7 w 88"/>
                <a:gd name="T7" fmla="*/ 15 h 70"/>
                <a:gd name="T8" fmla="*/ 24 w 88"/>
                <a:gd name="T9" fmla="*/ 6 h 70"/>
                <a:gd name="T10" fmla="*/ 82 w 88"/>
                <a:gd name="T11" fmla="*/ 39 h 70"/>
                <a:gd name="T12" fmla="*/ 87 w 88"/>
                <a:gd name="T13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70">
                  <a:moveTo>
                    <a:pt x="87" y="46"/>
                  </a:moveTo>
                  <a:cubicBezTo>
                    <a:pt x="88" y="61"/>
                    <a:pt x="74" y="70"/>
                    <a:pt x="62" y="63"/>
                  </a:cubicBezTo>
                  <a:cubicBezTo>
                    <a:pt x="44" y="53"/>
                    <a:pt x="27" y="43"/>
                    <a:pt x="10" y="33"/>
                  </a:cubicBezTo>
                  <a:cubicBezTo>
                    <a:pt x="0" y="28"/>
                    <a:pt x="3" y="22"/>
                    <a:pt x="7" y="15"/>
                  </a:cubicBezTo>
                  <a:cubicBezTo>
                    <a:pt x="11" y="8"/>
                    <a:pt x="14" y="0"/>
                    <a:pt x="24" y="6"/>
                  </a:cubicBezTo>
                  <a:cubicBezTo>
                    <a:pt x="43" y="17"/>
                    <a:pt x="63" y="28"/>
                    <a:pt x="82" y="39"/>
                  </a:cubicBezTo>
                  <a:cubicBezTo>
                    <a:pt x="85" y="41"/>
                    <a:pt x="87" y="44"/>
                    <a:pt x="8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E57234CA-100B-4ACA-8A3B-F32D78CAD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2174875"/>
              <a:ext cx="290513" cy="211138"/>
            </a:xfrm>
            <a:custGeom>
              <a:avLst/>
              <a:gdLst>
                <a:gd name="T0" fmla="*/ 60 w 150"/>
                <a:gd name="T1" fmla="*/ 109 h 109"/>
                <a:gd name="T2" fmla="*/ 57 w 150"/>
                <a:gd name="T3" fmla="*/ 109 h 109"/>
                <a:gd name="T4" fmla="*/ 1 w 150"/>
                <a:gd name="T5" fmla="*/ 52 h 109"/>
                <a:gd name="T6" fmla="*/ 11 w 150"/>
                <a:gd name="T7" fmla="*/ 36 h 109"/>
                <a:gd name="T8" fmla="*/ 25 w 150"/>
                <a:gd name="T9" fmla="*/ 37 h 109"/>
                <a:gd name="T10" fmla="*/ 30 w 150"/>
                <a:gd name="T11" fmla="*/ 41 h 109"/>
                <a:gd name="T12" fmla="*/ 87 w 150"/>
                <a:gd name="T13" fmla="*/ 40 h 109"/>
                <a:gd name="T14" fmla="*/ 120 w 150"/>
                <a:gd name="T15" fmla="*/ 7 h 109"/>
                <a:gd name="T16" fmla="*/ 139 w 150"/>
                <a:gd name="T17" fmla="*/ 10 h 109"/>
                <a:gd name="T18" fmla="*/ 142 w 150"/>
                <a:gd name="T19" fmla="*/ 29 h 109"/>
                <a:gd name="T20" fmla="*/ 66 w 150"/>
                <a:gd name="T21" fmla="*/ 105 h 109"/>
                <a:gd name="T22" fmla="*/ 60 w 150"/>
                <a:gd name="T2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09">
                  <a:moveTo>
                    <a:pt x="60" y="109"/>
                  </a:moveTo>
                  <a:cubicBezTo>
                    <a:pt x="58" y="109"/>
                    <a:pt x="58" y="109"/>
                    <a:pt x="57" y="109"/>
                  </a:cubicBezTo>
                  <a:cubicBezTo>
                    <a:pt x="53" y="108"/>
                    <a:pt x="1" y="57"/>
                    <a:pt x="1" y="52"/>
                  </a:cubicBezTo>
                  <a:cubicBezTo>
                    <a:pt x="0" y="45"/>
                    <a:pt x="7" y="41"/>
                    <a:pt x="11" y="36"/>
                  </a:cubicBezTo>
                  <a:cubicBezTo>
                    <a:pt x="16" y="32"/>
                    <a:pt x="21" y="32"/>
                    <a:pt x="25" y="37"/>
                  </a:cubicBezTo>
                  <a:cubicBezTo>
                    <a:pt x="27" y="38"/>
                    <a:pt x="28" y="39"/>
                    <a:pt x="30" y="41"/>
                  </a:cubicBezTo>
                  <a:cubicBezTo>
                    <a:pt x="59" y="68"/>
                    <a:pt x="59" y="68"/>
                    <a:pt x="87" y="40"/>
                  </a:cubicBezTo>
                  <a:cubicBezTo>
                    <a:pt x="98" y="29"/>
                    <a:pt x="109" y="18"/>
                    <a:pt x="120" y="7"/>
                  </a:cubicBezTo>
                  <a:cubicBezTo>
                    <a:pt x="128" y="0"/>
                    <a:pt x="133" y="5"/>
                    <a:pt x="139" y="10"/>
                  </a:cubicBezTo>
                  <a:cubicBezTo>
                    <a:pt x="144" y="16"/>
                    <a:pt x="150" y="21"/>
                    <a:pt x="142" y="29"/>
                  </a:cubicBezTo>
                  <a:cubicBezTo>
                    <a:pt x="117" y="54"/>
                    <a:pt x="91" y="80"/>
                    <a:pt x="66" y="105"/>
                  </a:cubicBezTo>
                  <a:cubicBezTo>
                    <a:pt x="64" y="107"/>
                    <a:pt x="62" y="108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uppieren 215">
            <a:extLst>
              <a:ext uri="{FF2B5EF4-FFF2-40B4-BE49-F238E27FC236}">
                <a16:creationId xmlns:a16="http://schemas.microsoft.com/office/drawing/2014/main" id="{0C14F3EA-29DE-4135-B1CF-DB39D859A514}"/>
              </a:ext>
            </a:extLst>
          </p:cNvPr>
          <p:cNvGrpSpPr/>
          <p:nvPr/>
        </p:nvGrpSpPr>
        <p:grpSpPr bwMode="gray">
          <a:xfrm>
            <a:off x="8209968" y="3637388"/>
            <a:ext cx="362354" cy="372190"/>
            <a:chOff x="-16246475" y="1563688"/>
            <a:chExt cx="701675" cy="720725"/>
          </a:xfrm>
          <a:solidFill>
            <a:schemeClr val="bg1"/>
          </a:solidFill>
        </p:grpSpPr>
        <p:sp>
          <p:nvSpPr>
            <p:cNvPr id="121" name="Freeform 81">
              <a:extLst>
                <a:ext uri="{FF2B5EF4-FFF2-40B4-BE49-F238E27FC236}">
                  <a16:creationId xmlns:a16="http://schemas.microsoft.com/office/drawing/2014/main" id="{7894F3AC-C42B-49C0-94B8-62DF10325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246475" y="2030413"/>
              <a:ext cx="242888" cy="254000"/>
            </a:xfrm>
            <a:custGeom>
              <a:avLst/>
              <a:gdLst>
                <a:gd name="T0" fmla="*/ 0 w 132"/>
                <a:gd name="T1" fmla="*/ 139 h 139"/>
                <a:gd name="T2" fmla="*/ 61 w 132"/>
                <a:gd name="T3" fmla="*/ 98 h 139"/>
                <a:gd name="T4" fmla="*/ 51 w 132"/>
                <a:gd name="T5" fmla="*/ 117 h 139"/>
                <a:gd name="T6" fmla="*/ 132 w 132"/>
                <a:gd name="T7" fmla="*/ 44 h 139"/>
                <a:gd name="T8" fmla="*/ 85 w 132"/>
                <a:gd name="T9" fmla="*/ 0 h 139"/>
                <a:gd name="T10" fmla="*/ 25 w 132"/>
                <a:gd name="T11" fmla="*/ 77 h 139"/>
                <a:gd name="T12" fmla="*/ 52 w 132"/>
                <a:gd name="T13" fmla="*/ 55 h 139"/>
                <a:gd name="T14" fmla="*/ 0 w 13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9">
                  <a:moveTo>
                    <a:pt x="0" y="139"/>
                  </a:moveTo>
                  <a:cubicBezTo>
                    <a:pt x="27" y="123"/>
                    <a:pt x="37" y="115"/>
                    <a:pt x="61" y="98"/>
                  </a:cubicBezTo>
                  <a:cubicBezTo>
                    <a:pt x="60" y="103"/>
                    <a:pt x="53" y="112"/>
                    <a:pt x="51" y="117"/>
                  </a:cubicBezTo>
                  <a:cubicBezTo>
                    <a:pt x="97" y="95"/>
                    <a:pt x="121" y="77"/>
                    <a:pt x="132" y="44"/>
                  </a:cubicBezTo>
                  <a:cubicBezTo>
                    <a:pt x="119" y="44"/>
                    <a:pt x="89" y="15"/>
                    <a:pt x="85" y="0"/>
                  </a:cubicBezTo>
                  <a:cubicBezTo>
                    <a:pt x="61" y="9"/>
                    <a:pt x="42" y="30"/>
                    <a:pt x="25" y="77"/>
                  </a:cubicBezTo>
                  <a:cubicBezTo>
                    <a:pt x="32" y="73"/>
                    <a:pt x="47" y="56"/>
                    <a:pt x="52" y="55"/>
                  </a:cubicBezTo>
                  <a:cubicBezTo>
                    <a:pt x="34" y="84"/>
                    <a:pt x="17" y="111"/>
                    <a:pt x="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2">
              <a:extLst>
                <a:ext uri="{FF2B5EF4-FFF2-40B4-BE49-F238E27FC236}">
                  <a16:creationId xmlns:a16="http://schemas.microsoft.com/office/drawing/2014/main" id="{0A170C37-853C-4A5D-A421-35A0B97A75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194088" y="1563688"/>
              <a:ext cx="649288" cy="647700"/>
            </a:xfrm>
            <a:custGeom>
              <a:avLst/>
              <a:gdLst>
                <a:gd name="T0" fmla="*/ 354 w 354"/>
                <a:gd name="T1" fmla="*/ 0 h 353"/>
                <a:gd name="T2" fmla="*/ 192 w 354"/>
                <a:gd name="T3" fmla="*/ 74 h 353"/>
                <a:gd name="T4" fmla="*/ 71 w 354"/>
                <a:gd name="T5" fmla="*/ 219 h 353"/>
                <a:gd name="T6" fmla="*/ 94 w 354"/>
                <a:gd name="T7" fmla="*/ 260 h 353"/>
                <a:gd name="T8" fmla="*/ 135 w 354"/>
                <a:gd name="T9" fmla="*/ 283 h 353"/>
                <a:gd name="T10" fmla="*/ 279 w 354"/>
                <a:gd name="T11" fmla="*/ 162 h 353"/>
                <a:gd name="T12" fmla="*/ 354 w 354"/>
                <a:gd name="T13" fmla="*/ 0 h 353"/>
                <a:gd name="T14" fmla="*/ 219 w 354"/>
                <a:gd name="T15" fmla="*/ 135 h 353"/>
                <a:gd name="T16" fmla="*/ 219 w 354"/>
                <a:gd name="T17" fmla="*/ 84 h 353"/>
                <a:gd name="T18" fmla="*/ 270 w 354"/>
                <a:gd name="T19" fmla="*/ 84 h 353"/>
                <a:gd name="T20" fmla="*/ 270 w 354"/>
                <a:gd name="T21" fmla="*/ 135 h 353"/>
                <a:gd name="T22" fmla="*/ 219 w 354"/>
                <a:gd name="T23" fmla="*/ 135 h 353"/>
                <a:gd name="T24" fmla="*/ 216 w 354"/>
                <a:gd name="T25" fmla="*/ 241 h 353"/>
                <a:gd name="T26" fmla="*/ 147 w 354"/>
                <a:gd name="T27" fmla="*/ 294 h 353"/>
                <a:gd name="T28" fmla="*/ 155 w 354"/>
                <a:gd name="T29" fmla="*/ 353 h 353"/>
                <a:gd name="T30" fmla="*/ 186 w 354"/>
                <a:gd name="T31" fmla="*/ 331 h 353"/>
                <a:gd name="T32" fmla="*/ 216 w 354"/>
                <a:gd name="T33" fmla="*/ 241 h 353"/>
                <a:gd name="T34" fmla="*/ 22 w 354"/>
                <a:gd name="T35" fmla="*/ 168 h 353"/>
                <a:gd name="T36" fmla="*/ 0 w 354"/>
                <a:gd name="T37" fmla="*/ 199 h 353"/>
                <a:gd name="T38" fmla="*/ 59 w 354"/>
                <a:gd name="T39" fmla="*/ 207 h 353"/>
                <a:gd name="T40" fmla="*/ 113 w 354"/>
                <a:gd name="T41" fmla="*/ 138 h 353"/>
                <a:gd name="T42" fmla="*/ 22 w 354"/>
                <a:gd name="T4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4" h="353">
                  <a:moveTo>
                    <a:pt x="354" y="0"/>
                  </a:moveTo>
                  <a:cubicBezTo>
                    <a:pt x="306" y="11"/>
                    <a:pt x="241" y="26"/>
                    <a:pt x="192" y="74"/>
                  </a:cubicBezTo>
                  <a:cubicBezTo>
                    <a:pt x="144" y="123"/>
                    <a:pt x="117" y="156"/>
                    <a:pt x="71" y="219"/>
                  </a:cubicBezTo>
                  <a:cubicBezTo>
                    <a:pt x="71" y="228"/>
                    <a:pt x="80" y="246"/>
                    <a:pt x="94" y="260"/>
                  </a:cubicBezTo>
                  <a:cubicBezTo>
                    <a:pt x="108" y="274"/>
                    <a:pt x="126" y="283"/>
                    <a:pt x="135" y="283"/>
                  </a:cubicBezTo>
                  <a:cubicBezTo>
                    <a:pt x="197" y="237"/>
                    <a:pt x="231" y="210"/>
                    <a:pt x="279" y="162"/>
                  </a:cubicBezTo>
                  <a:cubicBezTo>
                    <a:pt x="328" y="113"/>
                    <a:pt x="343" y="48"/>
                    <a:pt x="354" y="0"/>
                  </a:cubicBezTo>
                  <a:close/>
                  <a:moveTo>
                    <a:pt x="219" y="135"/>
                  </a:moveTo>
                  <a:cubicBezTo>
                    <a:pt x="205" y="121"/>
                    <a:pt x="205" y="98"/>
                    <a:pt x="219" y="84"/>
                  </a:cubicBezTo>
                  <a:cubicBezTo>
                    <a:pt x="233" y="70"/>
                    <a:pt x="256" y="70"/>
                    <a:pt x="270" y="84"/>
                  </a:cubicBezTo>
                  <a:cubicBezTo>
                    <a:pt x="284" y="98"/>
                    <a:pt x="284" y="121"/>
                    <a:pt x="270" y="135"/>
                  </a:cubicBezTo>
                  <a:cubicBezTo>
                    <a:pt x="256" y="149"/>
                    <a:pt x="233" y="149"/>
                    <a:pt x="219" y="135"/>
                  </a:cubicBezTo>
                  <a:close/>
                  <a:moveTo>
                    <a:pt x="216" y="241"/>
                  </a:moveTo>
                  <a:cubicBezTo>
                    <a:pt x="189" y="264"/>
                    <a:pt x="173" y="276"/>
                    <a:pt x="147" y="294"/>
                  </a:cubicBezTo>
                  <a:cubicBezTo>
                    <a:pt x="153" y="325"/>
                    <a:pt x="155" y="353"/>
                    <a:pt x="155" y="353"/>
                  </a:cubicBezTo>
                  <a:cubicBezTo>
                    <a:pt x="155" y="353"/>
                    <a:pt x="166" y="347"/>
                    <a:pt x="186" y="331"/>
                  </a:cubicBezTo>
                  <a:cubicBezTo>
                    <a:pt x="203" y="298"/>
                    <a:pt x="209" y="272"/>
                    <a:pt x="216" y="241"/>
                  </a:cubicBezTo>
                  <a:close/>
                  <a:moveTo>
                    <a:pt x="22" y="168"/>
                  </a:moveTo>
                  <a:cubicBezTo>
                    <a:pt x="7" y="188"/>
                    <a:pt x="0" y="199"/>
                    <a:pt x="0" y="199"/>
                  </a:cubicBezTo>
                  <a:cubicBezTo>
                    <a:pt x="0" y="199"/>
                    <a:pt x="29" y="201"/>
                    <a:pt x="59" y="207"/>
                  </a:cubicBezTo>
                  <a:cubicBezTo>
                    <a:pt x="78" y="181"/>
                    <a:pt x="90" y="165"/>
                    <a:pt x="113" y="138"/>
                  </a:cubicBezTo>
                  <a:cubicBezTo>
                    <a:pt x="81" y="145"/>
                    <a:pt x="56" y="151"/>
                    <a:pt x="2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3" name="Freeform 47">
            <a:extLst>
              <a:ext uri="{FF2B5EF4-FFF2-40B4-BE49-F238E27FC236}">
                <a16:creationId xmlns:a16="http://schemas.microsoft.com/office/drawing/2014/main" id="{DA1FD08E-1B8F-4D25-96F9-987E35946207}"/>
              </a:ext>
            </a:extLst>
          </p:cNvPr>
          <p:cNvSpPr>
            <a:spLocks noEditPoints="1"/>
          </p:cNvSpPr>
          <p:nvPr/>
        </p:nvSpPr>
        <p:spPr bwMode="gray">
          <a:xfrm>
            <a:off x="6974523" y="2993212"/>
            <a:ext cx="263146" cy="331754"/>
          </a:xfrm>
          <a:custGeom>
            <a:avLst/>
            <a:gdLst>
              <a:gd name="T0" fmla="*/ 16 w 128"/>
              <a:gd name="T1" fmla="*/ 132 h 162"/>
              <a:gd name="T2" fmla="*/ 20 w 128"/>
              <a:gd name="T3" fmla="*/ 140 h 162"/>
              <a:gd name="T4" fmla="*/ 19 w 128"/>
              <a:gd name="T5" fmla="*/ 137 h 162"/>
              <a:gd name="T6" fmla="*/ 94 w 128"/>
              <a:gd name="T7" fmla="*/ 46 h 162"/>
              <a:gd name="T8" fmla="*/ 83 w 128"/>
              <a:gd name="T9" fmla="*/ 0 h 162"/>
              <a:gd name="T10" fmla="*/ 0 w 128"/>
              <a:gd name="T11" fmla="*/ 9 h 162"/>
              <a:gd name="T12" fmla="*/ 7 w 128"/>
              <a:gd name="T13" fmla="*/ 162 h 162"/>
              <a:gd name="T14" fmla="*/ 128 w 128"/>
              <a:gd name="T15" fmla="*/ 153 h 162"/>
              <a:gd name="T16" fmla="*/ 94 w 128"/>
              <a:gd name="T17" fmla="*/ 46 h 162"/>
              <a:gd name="T18" fmla="*/ 20 w 128"/>
              <a:gd name="T19" fmla="*/ 59 h 162"/>
              <a:gd name="T20" fmla="*/ 43 w 128"/>
              <a:gd name="T21" fmla="*/ 65 h 162"/>
              <a:gd name="T22" fmla="*/ 37 w 128"/>
              <a:gd name="T23" fmla="*/ 89 h 162"/>
              <a:gd name="T24" fmla="*/ 14 w 128"/>
              <a:gd name="T25" fmla="*/ 83 h 162"/>
              <a:gd name="T26" fmla="*/ 42 w 128"/>
              <a:gd name="T27" fmla="*/ 115 h 162"/>
              <a:gd name="T28" fmla="*/ 43 w 128"/>
              <a:gd name="T29" fmla="*/ 137 h 162"/>
              <a:gd name="T30" fmla="*/ 20 w 128"/>
              <a:gd name="T31" fmla="*/ 143 h 162"/>
              <a:gd name="T32" fmla="*/ 14 w 128"/>
              <a:gd name="T33" fmla="*/ 128 h 162"/>
              <a:gd name="T34" fmla="*/ 14 w 128"/>
              <a:gd name="T35" fmla="*/ 126 h 162"/>
              <a:gd name="T36" fmla="*/ 20 w 128"/>
              <a:gd name="T37" fmla="*/ 113 h 162"/>
              <a:gd name="T38" fmla="*/ 39 w 128"/>
              <a:gd name="T39" fmla="*/ 114 h 162"/>
              <a:gd name="T40" fmla="*/ 52 w 128"/>
              <a:gd name="T41" fmla="*/ 106 h 162"/>
              <a:gd name="T42" fmla="*/ 109 w 128"/>
              <a:gd name="T43" fmla="*/ 139 h 162"/>
              <a:gd name="T44" fmla="*/ 58 w 128"/>
              <a:gd name="T45" fmla="*/ 118 h 162"/>
              <a:gd name="T46" fmla="*/ 109 w 128"/>
              <a:gd name="T47" fmla="*/ 139 h 162"/>
              <a:gd name="T48" fmla="*/ 58 w 128"/>
              <a:gd name="T49" fmla="*/ 85 h 162"/>
              <a:gd name="T50" fmla="*/ 109 w 128"/>
              <a:gd name="T51" fmla="*/ 63 h 162"/>
              <a:gd name="T52" fmla="*/ 94 w 128"/>
              <a:gd name="T53" fmla="*/ 41 h 162"/>
              <a:gd name="T54" fmla="*/ 88 w 128"/>
              <a:gd name="T55" fmla="*/ 5 h 162"/>
              <a:gd name="T56" fmla="*/ 94 w 128"/>
              <a:gd name="T57" fmla="*/ 41 h 162"/>
              <a:gd name="T58" fmla="*/ 37 w 128"/>
              <a:gd name="T59" fmla="*/ 86 h 162"/>
              <a:gd name="T60" fmla="*/ 40 w 128"/>
              <a:gd name="T61" fmla="*/ 65 h 162"/>
              <a:gd name="T62" fmla="*/ 20 w 128"/>
              <a:gd name="T63" fmla="*/ 62 h 162"/>
              <a:gd name="T64" fmla="*/ 16 w 128"/>
              <a:gd name="T65" fmla="*/ 83 h 162"/>
              <a:gd name="T66" fmla="*/ 38 w 128"/>
              <a:gd name="T67" fmla="*/ 120 h 162"/>
              <a:gd name="T68" fmla="*/ 24 w 128"/>
              <a:gd name="T69" fmla="*/ 139 h 162"/>
              <a:gd name="T70" fmla="*/ 37 w 128"/>
              <a:gd name="T71" fmla="*/ 140 h 162"/>
              <a:gd name="T72" fmla="*/ 40 w 128"/>
              <a:gd name="T73" fmla="*/ 119 h 162"/>
              <a:gd name="T74" fmla="*/ 38 w 128"/>
              <a:gd name="T75" fmla="*/ 120 h 162"/>
              <a:gd name="T76" fmla="*/ 20 w 128"/>
              <a:gd name="T77" fmla="*/ 116 h 162"/>
              <a:gd name="T78" fmla="*/ 16 w 128"/>
              <a:gd name="T79" fmla="*/ 124 h 162"/>
              <a:gd name="T80" fmla="*/ 22 w 128"/>
              <a:gd name="T81" fmla="*/ 130 h 162"/>
              <a:gd name="T82" fmla="*/ 36 w 128"/>
              <a:gd name="T83" fmla="*/ 11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8" h="162">
                <a:moveTo>
                  <a:pt x="18" y="136"/>
                </a:moveTo>
                <a:cubicBezTo>
                  <a:pt x="18" y="134"/>
                  <a:pt x="17" y="133"/>
                  <a:pt x="16" y="132"/>
                </a:cubicBezTo>
                <a:cubicBezTo>
                  <a:pt x="16" y="137"/>
                  <a:pt x="16" y="137"/>
                  <a:pt x="16" y="137"/>
                </a:cubicBezTo>
                <a:cubicBezTo>
                  <a:pt x="16" y="139"/>
                  <a:pt x="18" y="140"/>
                  <a:pt x="20" y="140"/>
                </a:cubicBezTo>
                <a:cubicBezTo>
                  <a:pt x="20" y="140"/>
                  <a:pt x="20" y="140"/>
                  <a:pt x="20" y="140"/>
                </a:cubicBezTo>
                <a:cubicBezTo>
                  <a:pt x="20" y="140"/>
                  <a:pt x="19" y="139"/>
                  <a:pt x="19" y="137"/>
                </a:cubicBezTo>
                <a:cubicBezTo>
                  <a:pt x="18" y="136"/>
                  <a:pt x="18" y="136"/>
                  <a:pt x="18" y="136"/>
                </a:cubicBezTo>
                <a:close/>
                <a:moveTo>
                  <a:pt x="94" y="46"/>
                </a:moveTo>
                <a:cubicBezTo>
                  <a:pt x="88" y="46"/>
                  <a:pt x="83" y="41"/>
                  <a:pt x="83" y="33"/>
                </a:cubicBezTo>
                <a:cubicBezTo>
                  <a:pt x="83" y="33"/>
                  <a:pt x="83" y="3"/>
                  <a:pt x="83" y="0"/>
                </a:cubicBezTo>
                <a:cubicBezTo>
                  <a:pt x="81" y="0"/>
                  <a:pt x="7" y="0"/>
                  <a:pt x="7" y="0"/>
                </a:cubicBezTo>
                <a:cubicBezTo>
                  <a:pt x="2" y="0"/>
                  <a:pt x="0" y="4"/>
                  <a:pt x="0" y="9"/>
                </a:cubicBezTo>
                <a:cubicBezTo>
                  <a:pt x="0" y="9"/>
                  <a:pt x="0" y="9"/>
                  <a:pt x="0" y="153"/>
                </a:cubicBezTo>
                <a:cubicBezTo>
                  <a:pt x="0" y="158"/>
                  <a:pt x="2" y="162"/>
                  <a:pt x="7" y="162"/>
                </a:cubicBezTo>
                <a:cubicBezTo>
                  <a:pt x="7" y="162"/>
                  <a:pt x="7" y="162"/>
                  <a:pt x="121" y="162"/>
                </a:cubicBezTo>
                <a:cubicBezTo>
                  <a:pt x="125" y="162"/>
                  <a:pt x="128" y="158"/>
                  <a:pt x="128" y="153"/>
                </a:cubicBezTo>
                <a:cubicBezTo>
                  <a:pt x="128" y="153"/>
                  <a:pt x="128" y="48"/>
                  <a:pt x="128" y="46"/>
                </a:cubicBezTo>
                <a:cubicBezTo>
                  <a:pt x="126" y="46"/>
                  <a:pt x="94" y="46"/>
                  <a:pt x="94" y="46"/>
                </a:cubicBezTo>
                <a:close/>
                <a:moveTo>
                  <a:pt x="14" y="65"/>
                </a:moveTo>
                <a:cubicBezTo>
                  <a:pt x="14" y="62"/>
                  <a:pt x="16" y="59"/>
                  <a:pt x="20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41" y="59"/>
                  <a:pt x="43" y="62"/>
                  <a:pt x="43" y="65"/>
                </a:cubicBezTo>
                <a:cubicBezTo>
                  <a:pt x="43" y="83"/>
                  <a:pt x="43" y="83"/>
                  <a:pt x="43" y="83"/>
                </a:cubicBezTo>
                <a:cubicBezTo>
                  <a:pt x="43" y="86"/>
                  <a:pt x="41" y="89"/>
                  <a:pt x="37" y="89"/>
                </a:cubicBezTo>
                <a:cubicBezTo>
                  <a:pt x="20" y="89"/>
                  <a:pt x="20" y="89"/>
                  <a:pt x="20" y="89"/>
                </a:cubicBezTo>
                <a:cubicBezTo>
                  <a:pt x="16" y="89"/>
                  <a:pt x="14" y="86"/>
                  <a:pt x="14" y="83"/>
                </a:cubicBezTo>
                <a:lnTo>
                  <a:pt x="14" y="65"/>
                </a:lnTo>
                <a:close/>
                <a:moveTo>
                  <a:pt x="42" y="115"/>
                </a:moveTo>
                <a:cubicBezTo>
                  <a:pt x="43" y="116"/>
                  <a:pt x="43" y="118"/>
                  <a:pt x="43" y="119"/>
                </a:cubicBezTo>
                <a:cubicBezTo>
                  <a:pt x="43" y="137"/>
                  <a:pt x="43" y="137"/>
                  <a:pt x="43" y="137"/>
                </a:cubicBezTo>
                <a:cubicBezTo>
                  <a:pt x="43" y="141"/>
                  <a:pt x="41" y="143"/>
                  <a:pt x="37" y="143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16" y="143"/>
                  <a:pt x="14" y="141"/>
                  <a:pt x="14" y="137"/>
                </a:cubicBezTo>
                <a:cubicBezTo>
                  <a:pt x="14" y="128"/>
                  <a:pt x="14" y="128"/>
                  <a:pt x="14" y="128"/>
                </a:cubicBezTo>
                <a:cubicBezTo>
                  <a:pt x="13" y="128"/>
                  <a:pt x="12" y="127"/>
                  <a:pt x="12" y="127"/>
                </a:cubicBezTo>
                <a:cubicBezTo>
                  <a:pt x="12" y="127"/>
                  <a:pt x="13" y="126"/>
                  <a:pt x="14" y="126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14" y="116"/>
                  <a:pt x="16" y="113"/>
                  <a:pt x="20" y="113"/>
                </a:cubicBezTo>
                <a:cubicBezTo>
                  <a:pt x="37" y="113"/>
                  <a:pt x="37" y="113"/>
                  <a:pt x="37" y="113"/>
                </a:cubicBezTo>
                <a:cubicBezTo>
                  <a:pt x="38" y="113"/>
                  <a:pt x="38" y="113"/>
                  <a:pt x="39" y="114"/>
                </a:cubicBezTo>
                <a:cubicBezTo>
                  <a:pt x="43" y="110"/>
                  <a:pt x="47" y="106"/>
                  <a:pt x="50" y="104"/>
                </a:cubicBezTo>
                <a:cubicBezTo>
                  <a:pt x="52" y="106"/>
                  <a:pt x="52" y="106"/>
                  <a:pt x="52" y="106"/>
                </a:cubicBezTo>
                <a:cubicBezTo>
                  <a:pt x="49" y="108"/>
                  <a:pt x="45" y="111"/>
                  <a:pt x="42" y="115"/>
                </a:cubicBezTo>
                <a:close/>
                <a:moveTo>
                  <a:pt x="109" y="139"/>
                </a:moveTo>
                <a:cubicBezTo>
                  <a:pt x="58" y="139"/>
                  <a:pt x="58" y="139"/>
                  <a:pt x="58" y="139"/>
                </a:cubicBezTo>
                <a:cubicBezTo>
                  <a:pt x="58" y="118"/>
                  <a:pt x="58" y="118"/>
                  <a:pt x="58" y="118"/>
                </a:cubicBezTo>
                <a:cubicBezTo>
                  <a:pt x="109" y="118"/>
                  <a:pt x="109" y="118"/>
                  <a:pt x="109" y="118"/>
                </a:cubicBezTo>
                <a:lnTo>
                  <a:pt x="109" y="139"/>
                </a:lnTo>
                <a:close/>
                <a:moveTo>
                  <a:pt x="109" y="85"/>
                </a:moveTo>
                <a:cubicBezTo>
                  <a:pt x="58" y="85"/>
                  <a:pt x="58" y="85"/>
                  <a:pt x="58" y="85"/>
                </a:cubicBezTo>
                <a:cubicBezTo>
                  <a:pt x="58" y="63"/>
                  <a:pt x="58" y="63"/>
                  <a:pt x="58" y="63"/>
                </a:cubicBezTo>
                <a:cubicBezTo>
                  <a:pt x="109" y="63"/>
                  <a:pt x="109" y="63"/>
                  <a:pt x="109" y="63"/>
                </a:cubicBezTo>
                <a:lnTo>
                  <a:pt x="109" y="85"/>
                </a:lnTo>
                <a:close/>
                <a:moveTo>
                  <a:pt x="94" y="41"/>
                </a:moveTo>
                <a:cubicBezTo>
                  <a:pt x="94" y="41"/>
                  <a:pt x="119" y="41"/>
                  <a:pt x="124" y="41"/>
                </a:cubicBezTo>
                <a:cubicBezTo>
                  <a:pt x="88" y="5"/>
                  <a:pt x="88" y="5"/>
                  <a:pt x="88" y="5"/>
                </a:cubicBezTo>
                <a:cubicBezTo>
                  <a:pt x="88" y="10"/>
                  <a:pt x="88" y="33"/>
                  <a:pt x="88" y="33"/>
                </a:cubicBezTo>
                <a:cubicBezTo>
                  <a:pt x="88" y="38"/>
                  <a:pt x="91" y="41"/>
                  <a:pt x="94" y="41"/>
                </a:cubicBezTo>
                <a:close/>
                <a:moveTo>
                  <a:pt x="2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39" y="86"/>
                  <a:pt x="40" y="85"/>
                  <a:pt x="40" y="83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3"/>
                  <a:pt x="39" y="62"/>
                  <a:pt x="37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18" y="62"/>
                  <a:pt x="16" y="63"/>
                  <a:pt x="16" y="65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5"/>
                  <a:pt x="18" y="86"/>
                  <a:pt x="20" y="86"/>
                </a:cubicBezTo>
                <a:close/>
                <a:moveTo>
                  <a:pt x="38" y="120"/>
                </a:moveTo>
                <a:cubicBezTo>
                  <a:pt x="33" y="126"/>
                  <a:pt x="29" y="132"/>
                  <a:pt x="26" y="138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4" y="140"/>
                  <a:pt x="23" y="140"/>
                  <a:pt x="23" y="140"/>
                </a:cubicBezTo>
                <a:cubicBezTo>
                  <a:pt x="37" y="140"/>
                  <a:pt x="37" y="140"/>
                  <a:pt x="37" y="140"/>
                </a:cubicBezTo>
                <a:cubicBezTo>
                  <a:pt x="39" y="140"/>
                  <a:pt x="40" y="139"/>
                  <a:pt x="40" y="137"/>
                </a:cubicBezTo>
                <a:cubicBezTo>
                  <a:pt x="40" y="119"/>
                  <a:pt x="40" y="119"/>
                  <a:pt x="40" y="119"/>
                </a:cubicBezTo>
                <a:cubicBezTo>
                  <a:pt x="40" y="119"/>
                  <a:pt x="40" y="118"/>
                  <a:pt x="40" y="118"/>
                </a:cubicBezTo>
                <a:cubicBezTo>
                  <a:pt x="39" y="118"/>
                  <a:pt x="39" y="119"/>
                  <a:pt x="38" y="120"/>
                </a:cubicBezTo>
                <a:close/>
                <a:moveTo>
                  <a:pt x="36" y="116"/>
                </a:moveTo>
                <a:cubicBezTo>
                  <a:pt x="20" y="116"/>
                  <a:pt x="20" y="116"/>
                  <a:pt x="20" y="116"/>
                </a:cubicBezTo>
                <a:cubicBezTo>
                  <a:pt x="18" y="116"/>
                  <a:pt x="16" y="118"/>
                  <a:pt x="16" y="119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9" y="124"/>
                  <a:pt x="21" y="126"/>
                  <a:pt x="22" y="130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6" y="126"/>
                  <a:pt x="31" y="121"/>
                  <a:pt x="36" y="1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myP_Data tool">
            <a:extLst>
              <a:ext uri="{FF2B5EF4-FFF2-40B4-BE49-F238E27FC236}">
                <a16:creationId xmlns:a16="http://schemas.microsoft.com/office/drawing/2014/main" id="{D21FA75F-E9AC-4F20-83E0-A8AE4E36331F}"/>
              </a:ext>
            </a:extLst>
          </p:cNvPr>
          <p:cNvSpPr>
            <a:spLocks noEditPoints="1"/>
          </p:cNvSpPr>
          <p:nvPr/>
        </p:nvSpPr>
        <p:spPr bwMode="auto">
          <a:xfrm>
            <a:off x="5632183" y="3640298"/>
            <a:ext cx="343292" cy="353844"/>
          </a:xfrm>
          <a:custGeom>
            <a:avLst/>
            <a:gdLst>
              <a:gd name="T0" fmla="*/ 770 w 891"/>
              <a:gd name="T1" fmla="*/ 485 h 914"/>
              <a:gd name="T2" fmla="*/ 799 w 891"/>
              <a:gd name="T3" fmla="*/ 675 h 914"/>
              <a:gd name="T4" fmla="*/ 883 w 891"/>
              <a:gd name="T5" fmla="*/ 817 h 914"/>
              <a:gd name="T6" fmla="*/ 683 w 891"/>
              <a:gd name="T7" fmla="*/ 828 h 914"/>
              <a:gd name="T8" fmla="*/ 766 w 891"/>
              <a:gd name="T9" fmla="*/ 661 h 914"/>
              <a:gd name="T10" fmla="*/ 744 w 891"/>
              <a:gd name="T11" fmla="*/ 519 h 914"/>
              <a:gd name="T12" fmla="*/ 576 w 891"/>
              <a:gd name="T13" fmla="*/ 540 h 914"/>
              <a:gd name="T14" fmla="*/ 542 w 891"/>
              <a:gd name="T15" fmla="*/ 635 h 914"/>
              <a:gd name="T16" fmla="*/ 460 w 891"/>
              <a:gd name="T17" fmla="*/ 654 h 914"/>
              <a:gd name="T18" fmla="*/ 486 w 891"/>
              <a:gd name="T19" fmla="*/ 708 h 914"/>
              <a:gd name="T20" fmla="*/ 438 w 891"/>
              <a:gd name="T21" fmla="*/ 903 h 914"/>
              <a:gd name="T22" fmla="*/ 407 w 891"/>
              <a:gd name="T23" fmla="*/ 705 h 914"/>
              <a:gd name="T24" fmla="*/ 426 w 891"/>
              <a:gd name="T25" fmla="*/ 658 h 914"/>
              <a:gd name="T26" fmla="*/ 342 w 891"/>
              <a:gd name="T27" fmla="*/ 635 h 914"/>
              <a:gd name="T28" fmla="*/ 310 w 891"/>
              <a:gd name="T29" fmla="*/ 537 h 914"/>
              <a:gd name="T30" fmla="*/ 148 w 891"/>
              <a:gd name="T31" fmla="*/ 519 h 914"/>
              <a:gd name="T32" fmla="*/ 132 w 891"/>
              <a:gd name="T33" fmla="*/ 683 h 914"/>
              <a:gd name="T34" fmla="*/ 219 w 891"/>
              <a:gd name="T35" fmla="*/ 805 h 914"/>
              <a:gd name="T36" fmla="*/ 18 w 891"/>
              <a:gd name="T37" fmla="*/ 834 h 914"/>
              <a:gd name="T38" fmla="*/ 98 w 891"/>
              <a:gd name="T39" fmla="*/ 674 h 914"/>
              <a:gd name="T40" fmla="*/ 132 w 891"/>
              <a:gd name="T41" fmla="*/ 485 h 914"/>
              <a:gd name="T42" fmla="*/ 310 w 891"/>
              <a:gd name="T43" fmla="*/ 463 h 914"/>
              <a:gd name="T44" fmla="*/ 351 w 891"/>
              <a:gd name="T45" fmla="*/ 369 h 914"/>
              <a:gd name="T46" fmla="*/ 426 w 891"/>
              <a:gd name="T47" fmla="*/ 352 h 914"/>
              <a:gd name="T48" fmla="*/ 276 w 891"/>
              <a:gd name="T49" fmla="*/ 303 h 914"/>
              <a:gd name="T50" fmla="*/ 284 w 891"/>
              <a:gd name="T51" fmla="*/ 113 h 914"/>
              <a:gd name="T52" fmla="*/ 502 w 891"/>
              <a:gd name="T53" fmla="*/ 59 h 914"/>
              <a:gd name="T54" fmla="*/ 635 w 891"/>
              <a:gd name="T55" fmla="*/ 126 h 914"/>
              <a:gd name="T56" fmla="*/ 694 w 891"/>
              <a:gd name="T57" fmla="*/ 240 h 914"/>
              <a:gd name="T58" fmla="*/ 480 w 891"/>
              <a:gd name="T59" fmla="*/ 303 h 914"/>
              <a:gd name="T60" fmla="*/ 504 w 891"/>
              <a:gd name="T61" fmla="*/ 369 h 914"/>
              <a:gd name="T62" fmla="*/ 576 w 891"/>
              <a:gd name="T63" fmla="*/ 398 h 914"/>
              <a:gd name="T64" fmla="*/ 598 w 891"/>
              <a:gd name="T65" fmla="*/ 485 h 914"/>
              <a:gd name="T66" fmla="*/ 440 w 891"/>
              <a:gd name="T67" fmla="*/ 261 h 914"/>
              <a:gd name="T68" fmla="*/ 633 w 891"/>
              <a:gd name="T69" fmla="*/ 254 h 914"/>
              <a:gd name="T70" fmla="*/ 622 w 891"/>
              <a:gd name="T71" fmla="*/ 182 h 914"/>
              <a:gd name="T72" fmla="*/ 576 w 891"/>
              <a:gd name="T73" fmla="*/ 112 h 914"/>
              <a:gd name="T74" fmla="*/ 534 w 891"/>
              <a:gd name="T75" fmla="*/ 135 h 914"/>
              <a:gd name="T76" fmla="*/ 511 w 891"/>
              <a:gd name="T77" fmla="*/ 170 h 914"/>
              <a:gd name="T78" fmla="*/ 489 w 891"/>
              <a:gd name="T79" fmla="*/ 130 h 914"/>
              <a:gd name="T80" fmla="*/ 339 w 891"/>
              <a:gd name="T81" fmla="*/ 140 h 914"/>
              <a:gd name="T82" fmla="*/ 285 w 891"/>
              <a:gd name="T83" fmla="*/ 159 h 914"/>
              <a:gd name="T84" fmla="*/ 282 w 891"/>
              <a:gd name="T85" fmla="*/ 260 h 914"/>
              <a:gd name="T86" fmla="*/ 354 w 891"/>
              <a:gd name="T87" fmla="*/ 500 h 914"/>
              <a:gd name="T88" fmla="*/ 373 w 891"/>
              <a:gd name="T89" fmla="*/ 593 h 914"/>
              <a:gd name="T90" fmla="*/ 533 w 891"/>
              <a:gd name="T91" fmla="*/ 577 h 914"/>
              <a:gd name="T92" fmla="*/ 517 w 891"/>
              <a:gd name="T93" fmla="*/ 411 h 914"/>
              <a:gd name="T94" fmla="*/ 354 w 891"/>
              <a:gd name="T95" fmla="*/ 428 h 914"/>
              <a:gd name="T96" fmla="*/ 444 w 891"/>
              <a:gd name="T97" fmla="*/ 742 h 914"/>
              <a:gd name="T98" fmla="*/ 443 w 891"/>
              <a:gd name="T99" fmla="*/ 860 h 914"/>
              <a:gd name="T100" fmla="*/ 444 w 891"/>
              <a:gd name="T101" fmla="*/ 742 h 914"/>
              <a:gd name="T102" fmla="*/ 56 w 891"/>
              <a:gd name="T103" fmla="*/ 800 h 914"/>
              <a:gd name="T104" fmla="*/ 174 w 891"/>
              <a:gd name="T105" fmla="*/ 799 h 914"/>
              <a:gd name="T106" fmla="*/ 723 w 891"/>
              <a:gd name="T107" fmla="*/ 801 h 914"/>
              <a:gd name="T108" fmla="*/ 841 w 891"/>
              <a:gd name="T109" fmla="*/ 800 h 914"/>
              <a:gd name="T110" fmla="*/ 723 w 891"/>
              <a:gd name="T111" fmla="*/ 801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91" h="914">
                <a:moveTo>
                  <a:pt x="684" y="485"/>
                </a:moveTo>
                <a:cubicBezTo>
                  <a:pt x="712" y="485"/>
                  <a:pt x="741" y="485"/>
                  <a:pt x="770" y="485"/>
                </a:cubicBezTo>
                <a:cubicBezTo>
                  <a:pt x="794" y="485"/>
                  <a:pt x="799" y="490"/>
                  <a:pt x="799" y="515"/>
                </a:cubicBezTo>
                <a:cubicBezTo>
                  <a:pt x="799" y="568"/>
                  <a:pt x="799" y="621"/>
                  <a:pt x="799" y="675"/>
                </a:cubicBezTo>
                <a:cubicBezTo>
                  <a:pt x="798" y="691"/>
                  <a:pt x="802" y="699"/>
                  <a:pt x="819" y="705"/>
                </a:cubicBezTo>
                <a:cubicBezTo>
                  <a:pt x="865" y="721"/>
                  <a:pt x="891" y="768"/>
                  <a:pt x="883" y="817"/>
                </a:cubicBezTo>
                <a:cubicBezTo>
                  <a:pt x="876" y="863"/>
                  <a:pt x="835" y="901"/>
                  <a:pt x="788" y="903"/>
                </a:cubicBezTo>
                <a:cubicBezTo>
                  <a:pt x="740" y="906"/>
                  <a:pt x="695" y="874"/>
                  <a:pt x="683" y="828"/>
                </a:cubicBezTo>
                <a:cubicBezTo>
                  <a:pt x="670" y="780"/>
                  <a:pt x="690" y="728"/>
                  <a:pt x="736" y="710"/>
                </a:cubicBezTo>
                <a:cubicBezTo>
                  <a:pt x="762" y="699"/>
                  <a:pt x="767" y="685"/>
                  <a:pt x="766" y="661"/>
                </a:cubicBezTo>
                <a:cubicBezTo>
                  <a:pt x="764" y="621"/>
                  <a:pt x="765" y="581"/>
                  <a:pt x="765" y="541"/>
                </a:cubicBezTo>
                <a:cubicBezTo>
                  <a:pt x="766" y="525"/>
                  <a:pt x="761" y="518"/>
                  <a:pt x="744" y="519"/>
                </a:cubicBezTo>
                <a:cubicBezTo>
                  <a:pt x="695" y="520"/>
                  <a:pt x="646" y="520"/>
                  <a:pt x="596" y="519"/>
                </a:cubicBezTo>
                <a:cubicBezTo>
                  <a:pt x="579" y="518"/>
                  <a:pt x="576" y="525"/>
                  <a:pt x="576" y="540"/>
                </a:cubicBezTo>
                <a:cubicBezTo>
                  <a:pt x="577" y="560"/>
                  <a:pt x="577" y="581"/>
                  <a:pt x="577" y="602"/>
                </a:cubicBezTo>
                <a:cubicBezTo>
                  <a:pt x="576" y="631"/>
                  <a:pt x="571" y="635"/>
                  <a:pt x="542" y="635"/>
                </a:cubicBezTo>
                <a:cubicBezTo>
                  <a:pt x="521" y="635"/>
                  <a:pt x="500" y="636"/>
                  <a:pt x="478" y="635"/>
                </a:cubicBezTo>
                <a:cubicBezTo>
                  <a:pt x="464" y="635"/>
                  <a:pt x="458" y="640"/>
                  <a:pt x="460" y="654"/>
                </a:cubicBezTo>
                <a:cubicBezTo>
                  <a:pt x="460" y="658"/>
                  <a:pt x="460" y="662"/>
                  <a:pt x="460" y="666"/>
                </a:cubicBezTo>
                <a:cubicBezTo>
                  <a:pt x="456" y="688"/>
                  <a:pt x="464" y="699"/>
                  <a:pt x="486" y="708"/>
                </a:cubicBezTo>
                <a:cubicBezTo>
                  <a:pt x="533" y="727"/>
                  <a:pt x="555" y="778"/>
                  <a:pt x="543" y="827"/>
                </a:cubicBezTo>
                <a:cubicBezTo>
                  <a:pt x="531" y="873"/>
                  <a:pt x="486" y="905"/>
                  <a:pt x="438" y="903"/>
                </a:cubicBezTo>
                <a:cubicBezTo>
                  <a:pt x="391" y="901"/>
                  <a:pt x="350" y="864"/>
                  <a:pt x="342" y="818"/>
                </a:cubicBezTo>
                <a:cubicBezTo>
                  <a:pt x="334" y="770"/>
                  <a:pt x="360" y="721"/>
                  <a:pt x="407" y="705"/>
                </a:cubicBezTo>
                <a:cubicBezTo>
                  <a:pt x="421" y="700"/>
                  <a:pt x="428" y="693"/>
                  <a:pt x="426" y="678"/>
                </a:cubicBezTo>
                <a:cubicBezTo>
                  <a:pt x="425" y="671"/>
                  <a:pt x="425" y="665"/>
                  <a:pt x="426" y="658"/>
                </a:cubicBezTo>
                <a:cubicBezTo>
                  <a:pt x="428" y="641"/>
                  <a:pt x="421" y="634"/>
                  <a:pt x="403" y="635"/>
                </a:cubicBezTo>
                <a:cubicBezTo>
                  <a:pt x="383" y="636"/>
                  <a:pt x="362" y="636"/>
                  <a:pt x="342" y="635"/>
                </a:cubicBezTo>
                <a:cubicBezTo>
                  <a:pt x="317" y="635"/>
                  <a:pt x="310" y="628"/>
                  <a:pt x="310" y="603"/>
                </a:cubicBezTo>
                <a:cubicBezTo>
                  <a:pt x="309" y="581"/>
                  <a:pt x="309" y="559"/>
                  <a:pt x="310" y="537"/>
                </a:cubicBezTo>
                <a:cubicBezTo>
                  <a:pt x="310" y="524"/>
                  <a:pt x="305" y="519"/>
                  <a:pt x="292" y="519"/>
                </a:cubicBezTo>
                <a:cubicBezTo>
                  <a:pt x="244" y="519"/>
                  <a:pt x="196" y="519"/>
                  <a:pt x="148" y="519"/>
                </a:cubicBezTo>
                <a:cubicBezTo>
                  <a:pt x="136" y="519"/>
                  <a:pt x="132" y="523"/>
                  <a:pt x="132" y="535"/>
                </a:cubicBezTo>
                <a:cubicBezTo>
                  <a:pt x="132" y="585"/>
                  <a:pt x="132" y="634"/>
                  <a:pt x="132" y="683"/>
                </a:cubicBezTo>
                <a:cubicBezTo>
                  <a:pt x="131" y="698"/>
                  <a:pt x="141" y="700"/>
                  <a:pt x="151" y="704"/>
                </a:cubicBezTo>
                <a:cubicBezTo>
                  <a:pt x="193" y="721"/>
                  <a:pt x="221" y="762"/>
                  <a:pt x="219" y="805"/>
                </a:cubicBezTo>
                <a:cubicBezTo>
                  <a:pt x="216" y="849"/>
                  <a:pt x="186" y="887"/>
                  <a:pt x="143" y="899"/>
                </a:cubicBezTo>
                <a:cubicBezTo>
                  <a:pt x="91" y="914"/>
                  <a:pt x="36" y="886"/>
                  <a:pt x="18" y="834"/>
                </a:cubicBezTo>
                <a:cubicBezTo>
                  <a:pt x="0" y="782"/>
                  <a:pt x="26" y="724"/>
                  <a:pt x="77" y="706"/>
                </a:cubicBezTo>
                <a:cubicBezTo>
                  <a:pt x="94" y="699"/>
                  <a:pt x="99" y="691"/>
                  <a:pt x="98" y="674"/>
                </a:cubicBezTo>
                <a:cubicBezTo>
                  <a:pt x="97" y="622"/>
                  <a:pt x="98" y="570"/>
                  <a:pt x="98" y="518"/>
                </a:cubicBezTo>
                <a:cubicBezTo>
                  <a:pt x="98" y="489"/>
                  <a:pt x="103" y="485"/>
                  <a:pt x="132" y="485"/>
                </a:cubicBezTo>
                <a:cubicBezTo>
                  <a:pt x="184" y="485"/>
                  <a:pt x="236" y="484"/>
                  <a:pt x="288" y="485"/>
                </a:cubicBezTo>
                <a:cubicBezTo>
                  <a:pt x="305" y="486"/>
                  <a:pt x="311" y="480"/>
                  <a:pt x="310" y="463"/>
                </a:cubicBezTo>
                <a:cubicBezTo>
                  <a:pt x="309" y="446"/>
                  <a:pt x="309" y="428"/>
                  <a:pt x="310" y="410"/>
                </a:cubicBezTo>
                <a:cubicBezTo>
                  <a:pt x="310" y="373"/>
                  <a:pt x="314" y="369"/>
                  <a:pt x="351" y="369"/>
                </a:cubicBezTo>
                <a:cubicBezTo>
                  <a:pt x="371" y="369"/>
                  <a:pt x="390" y="368"/>
                  <a:pt x="409" y="369"/>
                </a:cubicBezTo>
                <a:cubicBezTo>
                  <a:pt x="421" y="369"/>
                  <a:pt x="426" y="364"/>
                  <a:pt x="426" y="352"/>
                </a:cubicBezTo>
                <a:cubicBezTo>
                  <a:pt x="426" y="292"/>
                  <a:pt x="432" y="304"/>
                  <a:pt x="380" y="303"/>
                </a:cubicBezTo>
                <a:cubicBezTo>
                  <a:pt x="345" y="303"/>
                  <a:pt x="311" y="303"/>
                  <a:pt x="276" y="303"/>
                </a:cubicBezTo>
                <a:cubicBezTo>
                  <a:pt x="223" y="303"/>
                  <a:pt x="189" y="270"/>
                  <a:pt x="190" y="217"/>
                </a:cubicBezTo>
                <a:cubicBezTo>
                  <a:pt x="191" y="158"/>
                  <a:pt x="229" y="113"/>
                  <a:pt x="284" y="113"/>
                </a:cubicBezTo>
                <a:cubicBezTo>
                  <a:pt x="295" y="113"/>
                  <a:pt x="299" y="108"/>
                  <a:pt x="302" y="99"/>
                </a:cubicBezTo>
                <a:cubicBezTo>
                  <a:pt x="330" y="19"/>
                  <a:pt x="443" y="0"/>
                  <a:pt x="502" y="59"/>
                </a:cubicBezTo>
                <a:cubicBezTo>
                  <a:pt x="510" y="68"/>
                  <a:pt x="516" y="70"/>
                  <a:pt x="529" y="66"/>
                </a:cubicBezTo>
                <a:cubicBezTo>
                  <a:pt x="576" y="50"/>
                  <a:pt x="623" y="77"/>
                  <a:pt x="635" y="126"/>
                </a:cubicBezTo>
                <a:cubicBezTo>
                  <a:pt x="637" y="135"/>
                  <a:pt x="641" y="139"/>
                  <a:pt x="649" y="143"/>
                </a:cubicBezTo>
                <a:cubicBezTo>
                  <a:pt x="686" y="162"/>
                  <a:pt x="703" y="200"/>
                  <a:pt x="694" y="240"/>
                </a:cubicBezTo>
                <a:cubicBezTo>
                  <a:pt x="686" y="278"/>
                  <a:pt x="654" y="302"/>
                  <a:pt x="612" y="303"/>
                </a:cubicBezTo>
                <a:cubicBezTo>
                  <a:pt x="568" y="304"/>
                  <a:pt x="524" y="304"/>
                  <a:pt x="480" y="303"/>
                </a:cubicBezTo>
                <a:cubicBezTo>
                  <a:pt x="464" y="303"/>
                  <a:pt x="459" y="308"/>
                  <a:pt x="460" y="324"/>
                </a:cubicBezTo>
                <a:cubicBezTo>
                  <a:pt x="461" y="378"/>
                  <a:pt x="454" y="367"/>
                  <a:pt x="504" y="369"/>
                </a:cubicBezTo>
                <a:cubicBezTo>
                  <a:pt x="518" y="369"/>
                  <a:pt x="532" y="369"/>
                  <a:pt x="546" y="369"/>
                </a:cubicBezTo>
                <a:cubicBezTo>
                  <a:pt x="570" y="369"/>
                  <a:pt x="576" y="374"/>
                  <a:pt x="576" y="398"/>
                </a:cubicBezTo>
                <a:cubicBezTo>
                  <a:pt x="576" y="420"/>
                  <a:pt x="577" y="442"/>
                  <a:pt x="576" y="464"/>
                </a:cubicBezTo>
                <a:cubicBezTo>
                  <a:pt x="575" y="481"/>
                  <a:pt x="581" y="486"/>
                  <a:pt x="598" y="485"/>
                </a:cubicBezTo>
                <a:cubicBezTo>
                  <a:pt x="626" y="484"/>
                  <a:pt x="655" y="485"/>
                  <a:pt x="684" y="485"/>
                </a:cubicBezTo>
                <a:close/>
                <a:moveTo>
                  <a:pt x="440" y="261"/>
                </a:moveTo>
                <a:cubicBezTo>
                  <a:pt x="493" y="261"/>
                  <a:pt x="547" y="260"/>
                  <a:pt x="600" y="261"/>
                </a:cubicBezTo>
                <a:cubicBezTo>
                  <a:pt x="612" y="261"/>
                  <a:pt x="623" y="260"/>
                  <a:pt x="633" y="254"/>
                </a:cubicBezTo>
                <a:cubicBezTo>
                  <a:pt x="650" y="245"/>
                  <a:pt x="656" y="230"/>
                  <a:pt x="652" y="212"/>
                </a:cubicBezTo>
                <a:cubicBezTo>
                  <a:pt x="649" y="196"/>
                  <a:pt x="641" y="184"/>
                  <a:pt x="622" y="182"/>
                </a:cubicBezTo>
                <a:cubicBezTo>
                  <a:pt x="585" y="178"/>
                  <a:pt x="585" y="177"/>
                  <a:pt x="591" y="141"/>
                </a:cubicBezTo>
                <a:cubicBezTo>
                  <a:pt x="593" y="128"/>
                  <a:pt x="587" y="119"/>
                  <a:pt x="576" y="112"/>
                </a:cubicBezTo>
                <a:cubicBezTo>
                  <a:pt x="565" y="105"/>
                  <a:pt x="552" y="104"/>
                  <a:pt x="540" y="109"/>
                </a:cubicBezTo>
                <a:cubicBezTo>
                  <a:pt x="527" y="114"/>
                  <a:pt x="533" y="126"/>
                  <a:pt x="534" y="135"/>
                </a:cubicBezTo>
                <a:cubicBezTo>
                  <a:pt x="534" y="140"/>
                  <a:pt x="534" y="145"/>
                  <a:pt x="533" y="149"/>
                </a:cubicBezTo>
                <a:cubicBezTo>
                  <a:pt x="531" y="162"/>
                  <a:pt x="525" y="171"/>
                  <a:pt x="511" y="170"/>
                </a:cubicBezTo>
                <a:cubicBezTo>
                  <a:pt x="498" y="170"/>
                  <a:pt x="491" y="160"/>
                  <a:pt x="490" y="148"/>
                </a:cubicBezTo>
                <a:cubicBezTo>
                  <a:pt x="489" y="142"/>
                  <a:pt x="490" y="136"/>
                  <a:pt x="489" y="130"/>
                </a:cubicBezTo>
                <a:cubicBezTo>
                  <a:pt x="486" y="103"/>
                  <a:pt x="472" y="84"/>
                  <a:pt x="447" y="74"/>
                </a:cubicBezTo>
                <a:cubicBezTo>
                  <a:pt x="402" y="56"/>
                  <a:pt x="336" y="80"/>
                  <a:pt x="339" y="140"/>
                </a:cubicBezTo>
                <a:cubicBezTo>
                  <a:pt x="340" y="158"/>
                  <a:pt x="329" y="165"/>
                  <a:pt x="310" y="163"/>
                </a:cubicBezTo>
                <a:cubicBezTo>
                  <a:pt x="302" y="161"/>
                  <a:pt x="293" y="159"/>
                  <a:pt x="285" y="159"/>
                </a:cubicBezTo>
                <a:cubicBezTo>
                  <a:pt x="254" y="159"/>
                  <a:pt x="232" y="185"/>
                  <a:pt x="233" y="218"/>
                </a:cubicBezTo>
                <a:cubicBezTo>
                  <a:pt x="234" y="246"/>
                  <a:pt x="250" y="260"/>
                  <a:pt x="282" y="260"/>
                </a:cubicBezTo>
                <a:cubicBezTo>
                  <a:pt x="335" y="261"/>
                  <a:pt x="387" y="261"/>
                  <a:pt x="440" y="261"/>
                </a:cubicBezTo>
                <a:close/>
                <a:moveTo>
                  <a:pt x="354" y="500"/>
                </a:moveTo>
                <a:cubicBezTo>
                  <a:pt x="354" y="525"/>
                  <a:pt x="355" y="549"/>
                  <a:pt x="354" y="574"/>
                </a:cubicBezTo>
                <a:cubicBezTo>
                  <a:pt x="354" y="587"/>
                  <a:pt x="359" y="593"/>
                  <a:pt x="373" y="593"/>
                </a:cubicBezTo>
                <a:cubicBezTo>
                  <a:pt x="421" y="592"/>
                  <a:pt x="468" y="592"/>
                  <a:pt x="516" y="593"/>
                </a:cubicBezTo>
                <a:cubicBezTo>
                  <a:pt x="528" y="593"/>
                  <a:pt x="534" y="589"/>
                  <a:pt x="533" y="577"/>
                </a:cubicBezTo>
                <a:cubicBezTo>
                  <a:pt x="533" y="527"/>
                  <a:pt x="533" y="477"/>
                  <a:pt x="533" y="427"/>
                </a:cubicBezTo>
                <a:cubicBezTo>
                  <a:pt x="534" y="415"/>
                  <a:pt x="528" y="411"/>
                  <a:pt x="517" y="411"/>
                </a:cubicBezTo>
                <a:cubicBezTo>
                  <a:pt x="468" y="412"/>
                  <a:pt x="419" y="412"/>
                  <a:pt x="371" y="411"/>
                </a:cubicBezTo>
                <a:cubicBezTo>
                  <a:pt x="359" y="411"/>
                  <a:pt x="354" y="417"/>
                  <a:pt x="354" y="428"/>
                </a:cubicBezTo>
                <a:cubicBezTo>
                  <a:pt x="355" y="452"/>
                  <a:pt x="354" y="476"/>
                  <a:pt x="354" y="500"/>
                </a:cubicBezTo>
                <a:close/>
                <a:moveTo>
                  <a:pt x="444" y="742"/>
                </a:moveTo>
                <a:cubicBezTo>
                  <a:pt x="410" y="742"/>
                  <a:pt x="384" y="768"/>
                  <a:pt x="384" y="801"/>
                </a:cubicBezTo>
                <a:cubicBezTo>
                  <a:pt x="384" y="832"/>
                  <a:pt x="412" y="860"/>
                  <a:pt x="443" y="860"/>
                </a:cubicBezTo>
                <a:cubicBezTo>
                  <a:pt x="476" y="860"/>
                  <a:pt x="502" y="833"/>
                  <a:pt x="502" y="800"/>
                </a:cubicBezTo>
                <a:cubicBezTo>
                  <a:pt x="502" y="766"/>
                  <a:pt x="477" y="742"/>
                  <a:pt x="444" y="742"/>
                </a:cubicBezTo>
                <a:close/>
                <a:moveTo>
                  <a:pt x="114" y="742"/>
                </a:moveTo>
                <a:cubicBezTo>
                  <a:pt x="81" y="742"/>
                  <a:pt x="56" y="768"/>
                  <a:pt x="56" y="800"/>
                </a:cubicBezTo>
                <a:cubicBezTo>
                  <a:pt x="56" y="833"/>
                  <a:pt x="84" y="861"/>
                  <a:pt x="116" y="860"/>
                </a:cubicBezTo>
                <a:cubicBezTo>
                  <a:pt x="149" y="860"/>
                  <a:pt x="175" y="832"/>
                  <a:pt x="174" y="799"/>
                </a:cubicBezTo>
                <a:cubicBezTo>
                  <a:pt x="173" y="766"/>
                  <a:pt x="148" y="742"/>
                  <a:pt x="114" y="742"/>
                </a:cubicBezTo>
                <a:close/>
                <a:moveTo>
                  <a:pt x="723" y="801"/>
                </a:moveTo>
                <a:cubicBezTo>
                  <a:pt x="723" y="834"/>
                  <a:pt x="750" y="861"/>
                  <a:pt x="783" y="860"/>
                </a:cubicBezTo>
                <a:cubicBezTo>
                  <a:pt x="814" y="860"/>
                  <a:pt x="842" y="831"/>
                  <a:pt x="841" y="800"/>
                </a:cubicBezTo>
                <a:cubicBezTo>
                  <a:pt x="840" y="766"/>
                  <a:pt x="815" y="742"/>
                  <a:pt x="780" y="742"/>
                </a:cubicBezTo>
                <a:cubicBezTo>
                  <a:pt x="747" y="743"/>
                  <a:pt x="723" y="767"/>
                  <a:pt x="723" y="80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5" name="myP_Gear">
            <a:extLst>
              <a:ext uri="{FF2B5EF4-FFF2-40B4-BE49-F238E27FC236}">
                <a16:creationId xmlns:a16="http://schemas.microsoft.com/office/drawing/2014/main" id="{A311A645-0F3A-49A7-B8F0-A3134A32483B}"/>
              </a:ext>
            </a:extLst>
          </p:cNvPr>
          <p:cNvGrpSpPr>
            <a:grpSpLocks/>
          </p:cNvGrpSpPr>
          <p:nvPr/>
        </p:nvGrpSpPr>
        <p:grpSpPr>
          <a:xfrm>
            <a:off x="4285452" y="2940137"/>
            <a:ext cx="338082" cy="437902"/>
            <a:chOff x="6074146" y="4571873"/>
            <a:chExt cx="680014" cy="880788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CDC4544E-680A-4FA2-A92E-1AE6E69C5E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11921" y="4897821"/>
              <a:ext cx="633823" cy="475858"/>
            </a:xfrm>
            <a:custGeom>
              <a:avLst/>
              <a:gdLst>
                <a:gd name="T0" fmla="*/ 1 w 743"/>
                <a:gd name="T1" fmla="*/ 392 h 558"/>
                <a:gd name="T2" fmla="*/ 20 w 743"/>
                <a:gd name="T3" fmla="*/ 379 h 558"/>
                <a:gd name="T4" fmla="*/ 92 w 743"/>
                <a:gd name="T5" fmla="*/ 377 h 558"/>
                <a:gd name="T6" fmla="*/ 118 w 743"/>
                <a:gd name="T7" fmla="*/ 397 h 558"/>
                <a:gd name="T8" fmla="*/ 91 w 743"/>
                <a:gd name="T9" fmla="*/ 416 h 558"/>
                <a:gd name="T10" fmla="*/ 71 w 743"/>
                <a:gd name="T11" fmla="*/ 416 h 558"/>
                <a:gd name="T12" fmla="*/ 79 w 743"/>
                <a:gd name="T13" fmla="*/ 428 h 558"/>
                <a:gd name="T14" fmla="*/ 254 w 743"/>
                <a:gd name="T15" fmla="*/ 508 h 558"/>
                <a:gd name="T16" fmla="*/ 668 w 743"/>
                <a:gd name="T17" fmla="*/ 201 h 558"/>
                <a:gd name="T18" fmla="*/ 672 w 743"/>
                <a:gd name="T19" fmla="*/ 184 h 558"/>
                <a:gd name="T20" fmla="*/ 672 w 743"/>
                <a:gd name="T21" fmla="*/ 168 h 558"/>
                <a:gd name="T22" fmla="*/ 672 w 743"/>
                <a:gd name="T23" fmla="*/ 136 h 558"/>
                <a:gd name="T24" fmla="*/ 672 w 743"/>
                <a:gd name="T25" fmla="*/ 120 h 558"/>
                <a:gd name="T26" fmla="*/ 652 w 743"/>
                <a:gd name="T27" fmla="*/ 33 h 558"/>
                <a:gd name="T28" fmla="*/ 662 w 743"/>
                <a:gd name="T29" fmla="*/ 5 h 558"/>
                <a:gd name="T30" fmla="*/ 689 w 743"/>
                <a:gd name="T31" fmla="*/ 21 h 558"/>
                <a:gd name="T32" fmla="*/ 578 w 743"/>
                <a:gd name="T33" fmla="*/ 451 h 558"/>
                <a:gd name="T34" fmla="*/ 284 w 743"/>
                <a:gd name="T35" fmla="*/ 551 h 558"/>
                <a:gd name="T36" fmla="*/ 62 w 743"/>
                <a:gd name="T37" fmla="*/ 464 h 558"/>
                <a:gd name="T38" fmla="*/ 40 w 743"/>
                <a:gd name="T39" fmla="*/ 447 h 558"/>
                <a:gd name="T40" fmla="*/ 21 w 743"/>
                <a:gd name="T41" fmla="*/ 495 h 558"/>
                <a:gd name="T42" fmla="*/ 0 w 743"/>
                <a:gd name="T43" fmla="*/ 479 h 558"/>
                <a:gd name="T44" fmla="*/ 1 w 743"/>
                <a:gd name="T45" fmla="*/ 39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3" h="558">
                  <a:moveTo>
                    <a:pt x="1" y="392"/>
                  </a:moveTo>
                  <a:cubicBezTo>
                    <a:pt x="3" y="382"/>
                    <a:pt x="10" y="379"/>
                    <a:pt x="20" y="379"/>
                  </a:cubicBezTo>
                  <a:cubicBezTo>
                    <a:pt x="44" y="378"/>
                    <a:pt x="68" y="378"/>
                    <a:pt x="92" y="377"/>
                  </a:cubicBezTo>
                  <a:cubicBezTo>
                    <a:pt x="106" y="376"/>
                    <a:pt x="118" y="381"/>
                    <a:pt x="118" y="397"/>
                  </a:cubicBezTo>
                  <a:cubicBezTo>
                    <a:pt x="118" y="413"/>
                    <a:pt x="106" y="417"/>
                    <a:pt x="91" y="416"/>
                  </a:cubicBezTo>
                  <a:cubicBezTo>
                    <a:pt x="85" y="415"/>
                    <a:pt x="78" y="416"/>
                    <a:pt x="71" y="416"/>
                  </a:cubicBezTo>
                  <a:cubicBezTo>
                    <a:pt x="69" y="423"/>
                    <a:pt x="76" y="425"/>
                    <a:pt x="79" y="428"/>
                  </a:cubicBezTo>
                  <a:cubicBezTo>
                    <a:pt x="130" y="470"/>
                    <a:pt x="189" y="497"/>
                    <a:pt x="254" y="508"/>
                  </a:cubicBezTo>
                  <a:cubicBezTo>
                    <a:pt x="461" y="540"/>
                    <a:pt x="643" y="394"/>
                    <a:pt x="668" y="201"/>
                  </a:cubicBezTo>
                  <a:cubicBezTo>
                    <a:pt x="669" y="195"/>
                    <a:pt x="671" y="189"/>
                    <a:pt x="672" y="184"/>
                  </a:cubicBezTo>
                  <a:cubicBezTo>
                    <a:pt x="677" y="178"/>
                    <a:pt x="677" y="173"/>
                    <a:pt x="672" y="168"/>
                  </a:cubicBezTo>
                  <a:cubicBezTo>
                    <a:pt x="672" y="157"/>
                    <a:pt x="672" y="146"/>
                    <a:pt x="672" y="136"/>
                  </a:cubicBezTo>
                  <a:cubicBezTo>
                    <a:pt x="677" y="130"/>
                    <a:pt x="677" y="125"/>
                    <a:pt x="672" y="120"/>
                  </a:cubicBezTo>
                  <a:cubicBezTo>
                    <a:pt x="666" y="91"/>
                    <a:pt x="662" y="61"/>
                    <a:pt x="652" y="33"/>
                  </a:cubicBezTo>
                  <a:cubicBezTo>
                    <a:pt x="647" y="21"/>
                    <a:pt x="650" y="9"/>
                    <a:pt x="662" y="5"/>
                  </a:cubicBezTo>
                  <a:cubicBezTo>
                    <a:pt x="676" y="0"/>
                    <a:pt x="684" y="8"/>
                    <a:pt x="689" y="21"/>
                  </a:cubicBezTo>
                  <a:cubicBezTo>
                    <a:pt x="743" y="166"/>
                    <a:pt x="696" y="348"/>
                    <a:pt x="578" y="451"/>
                  </a:cubicBezTo>
                  <a:cubicBezTo>
                    <a:pt x="493" y="524"/>
                    <a:pt x="396" y="558"/>
                    <a:pt x="284" y="551"/>
                  </a:cubicBezTo>
                  <a:cubicBezTo>
                    <a:pt x="201" y="546"/>
                    <a:pt x="127" y="516"/>
                    <a:pt x="62" y="464"/>
                  </a:cubicBezTo>
                  <a:cubicBezTo>
                    <a:pt x="55" y="459"/>
                    <a:pt x="48" y="453"/>
                    <a:pt x="40" y="447"/>
                  </a:cubicBezTo>
                  <a:cubicBezTo>
                    <a:pt x="35" y="465"/>
                    <a:pt x="48" y="489"/>
                    <a:pt x="21" y="495"/>
                  </a:cubicBezTo>
                  <a:cubicBezTo>
                    <a:pt x="10" y="498"/>
                    <a:pt x="2" y="491"/>
                    <a:pt x="0" y="479"/>
                  </a:cubicBezTo>
                  <a:cubicBezTo>
                    <a:pt x="6" y="450"/>
                    <a:pt x="6" y="421"/>
                    <a:pt x="1" y="3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0E1D4BA0-8CB6-4A4B-BD19-8F4D20092285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75769" y="4658705"/>
              <a:ext cx="657371" cy="483707"/>
            </a:xfrm>
            <a:custGeom>
              <a:avLst/>
              <a:gdLst>
                <a:gd name="T0" fmla="*/ 730 w 770"/>
                <a:gd name="T1" fmla="*/ 122 h 567"/>
                <a:gd name="T2" fmla="*/ 730 w 770"/>
                <a:gd name="T3" fmla="*/ 89 h 567"/>
                <a:gd name="T4" fmla="*/ 748 w 770"/>
                <a:gd name="T5" fmla="*/ 69 h 567"/>
                <a:gd name="T6" fmla="*/ 769 w 770"/>
                <a:gd name="T7" fmla="*/ 87 h 567"/>
                <a:gd name="T8" fmla="*/ 768 w 770"/>
                <a:gd name="T9" fmla="*/ 175 h 567"/>
                <a:gd name="T10" fmla="*/ 747 w 770"/>
                <a:gd name="T11" fmla="*/ 190 h 567"/>
                <a:gd name="T12" fmla="*/ 673 w 770"/>
                <a:gd name="T13" fmla="*/ 190 h 567"/>
                <a:gd name="T14" fmla="*/ 653 w 770"/>
                <a:gd name="T15" fmla="*/ 172 h 567"/>
                <a:gd name="T16" fmla="*/ 671 w 770"/>
                <a:gd name="T17" fmla="*/ 151 h 567"/>
                <a:gd name="T18" fmla="*/ 701 w 770"/>
                <a:gd name="T19" fmla="*/ 150 h 567"/>
                <a:gd name="T20" fmla="*/ 576 w 770"/>
                <a:gd name="T21" fmla="*/ 74 h 567"/>
                <a:gd name="T22" fmla="*/ 101 w 770"/>
                <a:gd name="T23" fmla="*/ 359 h 567"/>
                <a:gd name="T24" fmla="*/ 115 w 770"/>
                <a:gd name="T25" fmla="*/ 528 h 567"/>
                <a:gd name="T26" fmla="*/ 105 w 770"/>
                <a:gd name="T27" fmla="*/ 561 h 567"/>
                <a:gd name="T28" fmla="*/ 78 w 770"/>
                <a:gd name="T29" fmla="*/ 540 h 567"/>
                <a:gd name="T30" fmla="*/ 399 w 770"/>
                <a:gd name="T31" fmla="*/ 19 h 567"/>
                <a:gd name="T32" fmla="*/ 574 w 770"/>
                <a:gd name="T33" fmla="*/ 32 h 567"/>
                <a:gd name="T34" fmla="*/ 730 w 770"/>
                <a:gd name="T35" fmla="*/ 12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567">
                  <a:moveTo>
                    <a:pt x="730" y="122"/>
                  </a:moveTo>
                  <a:cubicBezTo>
                    <a:pt x="730" y="108"/>
                    <a:pt x="729" y="99"/>
                    <a:pt x="730" y="89"/>
                  </a:cubicBezTo>
                  <a:cubicBezTo>
                    <a:pt x="730" y="77"/>
                    <a:pt x="737" y="70"/>
                    <a:pt x="748" y="69"/>
                  </a:cubicBezTo>
                  <a:cubicBezTo>
                    <a:pt x="760" y="69"/>
                    <a:pt x="768" y="76"/>
                    <a:pt x="769" y="87"/>
                  </a:cubicBezTo>
                  <a:cubicBezTo>
                    <a:pt x="770" y="116"/>
                    <a:pt x="770" y="146"/>
                    <a:pt x="768" y="175"/>
                  </a:cubicBezTo>
                  <a:cubicBezTo>
                    <a:pt x="768" y="184"/>
                    <a:pt x="757" y="190"/>
                    <a:pt x="747" y="190"/>
                  </a:cubicBezTo>
                  <a:cubicBezTo>
                    <a:pt x="722" y="190"/>
                    <a:pt x="698" y="190"/>
                    <a:pt x="673" y="190"/>
                  </a:cubicBezTo>
                  <a:cubicBezTo>
                    <a:pt x="661" y="190"/>
                    <a:pt x="654" y="185"/>
                    <a:pt x="653" y="172"/>
                  </a:cubicBezTo>
                  <a:cubicBezTo>
                    <a:pt x="652" y="159"/>
                    <a:pt x="659" y="152"/>
                    <a:pt x="671" y="151"/>
                  </a:cubicBezTo>
                  <a:cubicBezTo>
                    <a:pt x="679" y="150"/>
                    <a:pt x="688" y="150"/>
                    <a:pt x="701" y="150"/>
                  </a:cubicBezTo>
                  <a:cubicBezTo>
                    <a:pt x="663" y="114"/>
                    <a:pt x="621" y="90"/>
                    <a:pt x="576" y="74"/>
                  </a:cubicBezTo>
                  <a:cubicBezTo>
                    <a:pt x="364" y="0"/>
                    <a:pt x="136" y="136"/>
                    <a:pt x="101" y="359"/>
                  </a:cubicBezTo>
                  <a:cubicBezTo>
                    <a:pt x="92" y="416"/>
                    <a:pt x="97" y="473"/>
                    <a:pt x="115" y="528"/>
                  </a:cubicBezTo>
                  <a:cubicBezTo>
                    <a:pt x="119" y="542"/>
                    <a:pt x="122" y="556"/>
                    <a:pt x="105" y="561"/>
                  </a:cubicBezTo>
                  <a:cubicBezTo>
                    <a:pt x="89" y="567"/>
                    <a:pt x="82" y="554"/>
                    <a:pt x="78" y="540"/>
                  </a:cubicBezTo>
                  <a:cubicBezTo>
                    <a:pt x="0" y="305"/>
                    <a:pt x="154" y="55"/>
                    <a:pt x="399" y="19"/>
                  </a:cubicBezTo>
                  <a:cubicBezTo>
                    <a:pt x="457" y="11"/>
                    <a:pt x="516" y="14"/>
                    <a:pt x="574" y="32"/>
                  </a:cubicBezTo>
                  <a:cubicBezTo>
                    <a:pt x="631" y="50"/>
                    <a:pt x="682" y="79"/>
                    <a:pt x="730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BC737843-F28D-4D68-9778-8CBCF40EC792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87176" y="5148005"/>
              <a:ext cx="31397" cy="32378"/>
            </a:xfrm>
            <a:custGeom>
              <a:avLst/>
              <a:gdLst>
                <a:gd name="T0" fmla="*/ 37 w 37"/>
                <a:gd name="T1" fmla="*/ 19 h 37"/>
                <a:gd name="T2" fmla="*/ 16 w 37"/>
                <a:gd name="T3" fmla="*/ 36 h 37"/>
                <a:gd name="T4" fmla="*/ 0 w 37"/>
                <a:gd name="T5" fmla="*/ 18 h 37"/>
                <a:gd name="T6" fmla="*/ 20 w 37"/>
                <a:gd name="T7" fmla="*/ 1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5" y="30"/>
                    <a:pt x="28" y="37"/>
                    <a:pt x="16" y="36"/>
                  </a:cubicBezTo>
                  <a:cubicBezTo>
                    <a:pt x="6" y="35"/>
                    <a:pt x="0" y="28"/>
                    <a:pt x="0" y="18"/>
                  </a:cubicBezTo>
                  <a:cubicBezTo>
                    <a:pt x="0" y="7"/>
                    <a:pt x="8" y="0"/>
                    <a:pt x="20" y="1"/>
                  </a:cubicBezTo>
                  <a:cubicBezTo>
                    <a:pt x="30" y="1"/>
                    <a:pt x="36" y="8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EE622237-4419-4553-B2CF-F06A7A59E15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00849" y="5275457"/>
              <a:ext cx="32379" cy="31397"/>
            </a:xfrm>
            <a:custGeom>
              <a:avLst/>
              <a:gdLst>
                <a:gd name="T0" fmla="*/ 19 w 37"/>
                <a:gd name="T1" fmla="*/ 37 h 37"/>
                <a:gd name="T2" fmla="*/ 1 w 37"/>
                <a:gd name="T3" fmla="*/ 17 h 37"/>
                <a:gd name="T4" fmla="*/ 19 w 37"/>
                <a:gd name="T5" fmla="*/ 0 h 37"/>
                <a:gd name="T6" fmla="*/ 36 w 37"/>
                <a:gd name="T7" fmla="*/ 20 h 37"/>
                <a:gd name="T8" fmla="*/ 19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8" y="34"/>
                    <a:pt x="0" y="28"/>
                    <a:pt x="1" y="17"/>
                  </a:cubicBezTo>
                  <a:cubicBezTo>
                    <a:pt x="2" y="7"/>
                    <a:pt x="8" y="0"/>
                    <a:pt x="19" y="0"/>
                  </a:cubicBezTo>
                  <a:cubicBezTo>
                    <a:pt x="31" y="1"/>
                    <a:pt x="37" y="7"/>
                    <a:pt x="36" y="20"/>
                  </a:cubicBezTo>
                  <a:cubicBezTo>
                    <a:pt x="36" y="31"/>
                    <a:pt x="27" y="34"/>
                    <a:pt x="1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">
              <a:extLst>
                <a:ext uri="{FF2B5EF4-FFF2-40B4-BE49-F238E27FC236}">
                  <a16:creationId xmlns:a16="http://schemas.microsoft.com/office/drawing/2014/main" id="{934307B0-F7FA-445D-8518-647AA940526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77452" y="4735004"/>
              <a:ext cx="30416" cy="31397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5 h 36"/>
                <a:gd name="T4" fmla="*/ 1 w 36"/>
                <a:gd name="T5" fmla="*/ 16 h 36"/>
                <a:gd name="T6" fmla="*/ 20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6" y="29"/>
                    <a:pt x="29" y="36"/>
                    <a:pt x="19" y="35"/>
                  </a:cubicBezTo>
                  <a:cubicBezTo>
                    <a:pt x="8" y="35"/>
                    <a:pt x="0" y="28"/>
                    <a:pt x="1" y="16"/>
                  </a:cubicBezTo>
                  <a:cubicBezTo>
                    <a:pt x="2" y="6"/>
                    <a:pt x="9" y="0"/>
                    <a:pt x="20" y="0"/>
                  </a:cubicBezTo>
                  <a:cubicBezTo>
                    <a:pt x="31" y="1"/>
                    <a:pt x="36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">
              <a:extLst>
                <a:ext uri="{FF2B5EF4-FFF2-40B4-BE49-F238E27FC236}">
                  <a16:creationId xmlns:a16="http://schemas.microsoft.com/office/drawing/2014/main" id="{BB4C88FB-4770-416A-B6FA-7C63BB40D3A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73829" y="4803138"/>
              <a:ext cx="30416" cy="30416"/>
            </a:xfrm>
            <a:custGeom>
              <a:avLst/>
              <a:gdLst>
                <a:gd name="T0" fmla="*/ 17 w 36"/>
                <a:gd name="T1" fmla="*/ 36 h 36"/>
                <a:gd name="T2" fmla="*/ 1 w 36"/>
                <a:gd name="T3" fmla="*/ 20 h 36"/>
                <a:gd name="T4" fmla="*/ 16 w 36"/>
                <a:gd name="T5" fmla="*/ 1 h 36"/>
                <a:gd name="T6" fmla="*/ 36 w 36"/>
                <a:gd name="T7" fmla="*/ 18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9" y="35"/>
                    <a:pt x="1" y="31"/>
                    <a:pt x="1" y="20"/>
                  </a:cubicBezTo>
                  <a:cubicBezTo>
                    <a:pt x="0" y="9"/>
                    <a:pt x="4" y="2"/>
                    <a:pt x="16" y="1"/>
                  </a:cubicBezTo>
                  <a:cubicBezTo>
                    <a:pt x="28" y="0"/>
                    <a:pt x="35" y="7"/>
                    <a:pt x="36" y="18"/>
                  </a:cubicBezTo>
                  <a:cubicBezTo>
                    <a:pt x="36" y="28"/>
                    <a:pt x="29" y="34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C54D7C56-8FB2-4F0B-B427-4235F5F9BFA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99008" y="5232790"/>
              <a:ext cx="31397" cy="31397"/>
            </a:xfrm>
            <a:custGeom>
              <a:avLst/>
              <a:gdLst>
                <a:gd name="T0" fmla="*/ 37 w 37"/>
                <a:gd name="T1" fmla="*/ 20 h 37"/>
                <a:gd name="T2" fmla="*/ 20 w 37"/>
                <a:gd name="T3" fmla="*/ 36 h 37"/>
                <a:gd name="T4" fmla="*/ 2 w 37"/>
                <a:gd name="T5" fmla="*/ 17 h 37"/>
                <a:gd name="T6" fmla="*/ 21 w 37"/>
                <a:gd name="T7" fmla="*/ 1 h 37"/>
                <a:gd name="T8" fmla="*/ 37 w 3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20"/>
                  </a:moveTo>
                  <a:cubicBezTo>
                    <a:pt x="36" y="30"/>
                    <a:pt x="30" y="37"/>
                    <a:pt x="20" y="36"/>
                  </a:cubicBezTo>
                  <a:cubicBezTo>
                    <a:pt x="8" y="36"/>
                    <a:pt x="0" y="29"/>
                    <a:pt x="2" y="17"/>
                  </a:cubicBezTo>
                  <a:cubicBezTo>
                    <a:pt x="3" y="7"/>
                    <a:pt x="9" y="0"/>
                    <a:pt x="21" y="1"/>
                  </a:cubicBezTo>
                  <a:cubicBezTo>
                    <a:pt x="31" y="2"/>
                    <a:pt x="37" y="9"/>
                    <a:pt x="3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63DDD46D-0A4D-4AC4-B817-B7C39F998B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58075" y="5198795"/>
              <a:ext cx="31397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17 w 36"/>
                <a:gd name="T5" fmla="*/ 1 h 37"/>
                <a:gd name="T6" fmla="*/ 35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30"/>
                    <a:pt x="0" y="19"/>
                  </a:cubicBezTo>
                  <a:cubicBezTo>
                    <a:pt x="0" y="8"/>
                    <a:pt x="6" y="2"/>
                    <a:pt x="17" y="1"/>
                  </a:cubicBezTo>
                  <a:cubicBezTo>
                    <a:pt x="29" y="0"/>
                    <a:pt x="36" y="8"/>
                    <a:pt x="35" y="19"/>
                  </a:cubicBezTo>
                  <a:cubicBezTo>
                    <a:pt x="35" y="29"/>
                    <a:pt x="27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">
              <a:extLst>
                <a:ext uri="{FF2B5EF4-FFF2-40B4-BE49-F238E27FC236}">
                  <a16:creationId xmlns:a16="http://schemas.microsoft.com/office/drawing/2014/main" id="{520609D8-200B-4B69-9425-B80B531FD104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12487" y="5273519"/>
              <a:ext cx="30416" cy="30416"/>
            </a:xfrm>
            <a:custGeom>
              <a:avLst/>
              <a:gdLst>
                <a:gd name="T0" fmla="*/ 36 w 36"/>
                <a:gd name="T1" fmla="*/ 17 h 36"/>
                <a:gd name="T2" fmla="*/ 20 w 36"/>
                <a:gd name="T3" fmla="*/ 36 h 36"/>
                <a:gd name="T4" fmla="*/ 0 w 36"/>
                <a:gd name="T5" fmla="*/ 16 h 36"/>
                <a:gd name="T6" fmla="*/ 17 w 36"/>
                <a:gd name="T7" fmla="*/ 0 h 36"/>
                <a:gd name="T8" fmla="*/ 36 w 36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7"/>
                  </a:moveTo>
                  <a:cubicBezTo>
                    <a:pt x="36" y="29"/>
                    <a:pt x="31" y="35"/>
                    <a:pt x="20" y="36"/>
                  </a:cubicBezTo>
                  <a:cubicBezTo>
                    <a:pt x="8" y="36"/>
                    <a:pt x="0" y="29"/>
                    <a:pt x="0" y="16"/>
                  </a:cubicBezTo>
                  <a:cubicBezTo>
                    <a:pt x="0" y="5"/>
                    <a:pt x="6" y="0"/>
                    <a:pt x="17" y="0"/>
                  </a:cubicBezTo>
                  <a:cubicBezTo>
                    <a:pt x="29" y="0"/>
                    <a:pt x="35" y="6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6">
              <a:extLst>
                <a:ext uri="{FF2B5EF4-FFF2-40B4-BE49-F238E27FC236}">
                  <a16:creationId xmlns:a16="http://schemas.microsoft.com/office/drawing/2014/main" id="{AD25E4D3-9ED5-4619-A08B-8877F07E27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82907" y="4766918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7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2"/>
                    <a:pt x="36" y="6"/>
                    <a:pt x="36" y="17"/>
                  </a:cubicBezTo>
                  <a:cubicBezTo>
                    <a:pt x="36" y="30"/>
                    <a:pt x="28" y="36"/>
                    <a:pt x="17" y="35"/>
                  </a:cubicBezTo>
                  <a:cubicBezTo>
                    <a:pt x="7" y="35"/>
                    <a:pt x="0" y="29"/>
                    <a:pt x="0" y="17"/>
                  </a:cubicBezTo>
                  <a:cubicBezTo>
                    <a:pt x="1" y="6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5E4D2F3A-22B5-47A5-9AC6-BCF2454F1F6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23253" y="5044919"/>
              <a:ext cx="31397" cy="30416"/>
            </a:xfrm>
            <a:custGeom>
              <a:avLst/>
              <a:gdLst>
                <a:gd name="T0" fmla="*/ 36 w 36"/>
                <a:gd name="T1" fmla="*/ 19 h 36"/>
                <a:gd name="T2" fmla="*/ 19 w 36"/>
                <a:gd name="T3" fmla="*/ 36 h 36"/>
                <a:gd name="T4" fmla="*/ 0 w 36"/>
                <a:gd name="T5" fmla="*/ 17 h 36"/>
                <a:gd name="T6" fmla="*/ 18 w 36"/>
                <a:gd name="T7" fmla="*/ 0 h 36"/>
                <a:gd name="T8" fmla="*/ 36 w 36"/>
                <a:gd name="T9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9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5"/>
                    <a:pt x="0" y="28"/>
                    <a:pt x="0" y="17"/>
                  </a:cubicBezTo>
                  <a:cubicBezTo>
                    <a:pt x="0" y="8"/>
                    <a:pt x="7" y="0"/>
                    <a:pt x="18" y="0"/>
                  </a:cubicBezTo>
                  <a:cubicBezTo>
                    <a:pt x="30" y="0"/>
                    <a:pt x="36" y="7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8">
              <a:extLst>
                <a:ext uri="{FF2B5EF4-FFF2-40B4-BE49-F238E27FC236}">
                  <a16:creationId xmlns:a16="http://schemas.microsoft.com/office/drawing/2014/main" id="{DDE55C0A-20D7-4C08-ADD6-B9A769A73AA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35383" y="4843377"/>
              <a:ext cx="32379" cy="30416"/>
            </a:xfrm>
            <a:custGeom>
              <a:avLst/>
              <a:gdLst>
                <a:gd name="T0" fmla="*/ 18 w 37"/>
                <a:gd name="T1" fmla="*/ 0 h 36"/>
                <a:gd name="T2" fmla="*/ 36 w 37"/>
                <a:gd name="T3" fmla="*/ 16 h 36"/>
                <a:gd name="T4" fmla="*/ 19 w 37"/>
                <a:gd name="T5" fmla="*/ 36 h 36"/>
                <a:gd name="T6" fmla="*/ 0 w 37"/>
                <a:gd name="T7" fmla="*/ 18 h 36"/>
                <a:gd name="T8" fmla="*/ 18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18" y="0"/>
                  </a:moveTo>
                  <a:cubicBezTo>
                    <a:pt x="27" y="2"/>
                    <a:pt x="35" y="5"/>
                    <a:pt x="36" y="16"/>
                  </a:cubicBezTo>
                  <a:cubicBezTo>
                    <a:pt x="37" y="28"/>
                    <a:pt x="31" y="36"/>
                    <a:pt x="19" y="36"/>
                  </a:cubicBezTo>
                  <a:cubicBezTo>
                    <a:pt x="9" y="36"/>
                    <a:pt x="0" y="30"/>
                    <a:pt x="0" y="18"/>
                  </a:cubicBezTo>
                  <a:cubicBezTo>
                    <a:pt x="0" y="7"/>
                    <a:pt x="8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809F5F54-DECD-4EB7-8495-8DEF1A46718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12045" y="5228974"/>
              <a:ext cx="30416" cy="31397"/>
            </a:xfrm>
            <a:custGeom>
              <a:avLst/>
              <a:gdLst>
                <a:gd name="T0" fmla="*/ 36 w 36"/>
                <a:gd name="T1" fmla="*/ 18 h 37"/>
                <a:gd name="T2" fmla="*/ 20 w 36"/>
                <a:gd name="T3" fmla="*/ 36 h 37"/>
                <a:gd name="T4" fmla="*/ 1 w 36"/>
                <a:gd name="T5" fmla="*/ 20 h 37"/>
                <a:gd name="T6" fmla="*/ 18 w 36"/>
                <a:gd name="T7" fmla="*/ 0 h 37"/>
                <a:gd name="T8" fmla="*/ 36 w 36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8"/>
                  </a:moveTo>
                  <a:cubicBezTo>
                    <a:pt x="36" y="28"/>
                    <a:pt x="32" y="35"/>
                    <a:pt x="20" y="36"/>
                  </a:cubicBezTo>
                  <a:cubicBezTo>
                    <a:pt x="9" y="37"/>
                    <a:pt x="3" y="30"/>
                    <a:pt x="1" y="20"/>
                  </a:cubicBezTo>
                  <a:cubicBezTo>
                    <a:pt x="0" y="9"/>
                    <a:pt x="6" y="1"/>
                    <a:pt x="18" y="0"/>
                  </a:cubicBezTo>
                  <a:cubicBezTo>
                    <a:pt x="29" y="0"/>
                    <a:pt x="35" y="7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57C38BF1-0CAF-4B7E-88AA-B81F0B99D87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64869" y="5256725"/>
              <a:ext cx="30416" cy="31397"/>
            </a:xfrm>
            <a:custGeom>
              <a:avLst/>
              <a:gdLst>
                <a:gd name="T0" fmla="*/ 18 w 36"/>
                <a:gd name="T1" fmla="*/ 0 h 36"/>
                <a:gd name="T2" fmla="*/ 36 w 36"/>
                <a:gd name="T3" fmla="*/ 17 h 36"/>
                <a:gd name="T4" fmla="*/ 19 w 36"/>
                <a:gd name="T5" fmla="*/ 35 h 36"/>
                <a:gd name="T6" fmla="*/ 0 w 36"/>
                <a:gd name="T7" fmla="*/ 17 h 36"/>
                <a:gd name="T8" fmla="*/ 18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0"/>
                  </a:moveTo>
                  <a:cubicBezTo>
                    <a:pt x="28" y="1"/>
                    <a:pt x="35" y="6"/>
                    <a:pt x="36" y="17"/>
                  </a:cubicBezTo>
                  <a:cubicBezTo>
                    <a:pt x="36" y="29"/>
                    <a:pt x="29" y="35"/>
                    <a:pt x="19" y="35"/>
                  </a:cubicBezTo>
                  <a:cubicBezTo>
                    <a:pt x="8" y="36"/>
                    <a:pt x="0" y="29"/>
                    <a:pt x="0" y="17"/>
                  </a:cubicBezTo>
                  <a:cubicBezTo>
                    <a:pt x="0" y="5"/>
                    <a:pt x="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1">
              <a:extLst>
                <a:ext uri="{FF2B5EF4-FFF2-40B4-BE49-F238E27FC236}">
                  <a16:creationId xmlns:a16="http://schemas.microsoft.com/office/drawing/2014/main" id="{FBDCEBBD-9318-43E2-9CA3-5A364431443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67894" y="4837827"/>
              <a:ext cx="30416" cy="30416"/>
            </a:xfrm>
            <a:custGeom>
              <a:avLst/>
              <a:gdLst>
                <a:gd name="T0" fmla="*/ 36 w 36"/>
                <a:gd name="T1" fmla="*/ 18 h 36"/>
                <a:gd name="T2" fmla="*/ 19 w 36"/>
                <a:gd name="T3" fmla="*/ 36 h 36"/>
                <a:gd name="T4" fmla="*/ 0 w 36"/>
                <a:gd name="T5" fmla="*/ 20 h 36"/>
                <a:gd name="T6" fmla="*/ 18 w 36"/>
                <a:gd name="T7" fmla="*/ 0 h 36"/>
                <a:gd name="T8" fmla="*/ 36 w 3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18"/>
                  </a:moveTo>
                  <a:cubicBezTo>
                    <a:pt x="34" y="27"/>
                    <a:pt x="30" y="35"/>
                    <a:pt x="19" y="36"/>
                  </a:cubicBezTo>
                  <a:cubicBezTo>
                    <a:pt x="8" y="36"/>
                    <a:pt x="1" y="31"/>
                    <a:pt x="0" y="20"/>
                  </a:cubicBezTo>
                  <a:cubicBezTo>
                    <a:pt x="0" y="8"/>
                    <a:pt x="6" y="1"/>
                    <a:pt x="18" y="0"/>
                  </a:cubicBezTo>
                  <a:cubicBezTo>
                    <a:pt x="28" y="0"/>
                    <a:pt x="34" y="8"/>
                    <a:pt x="3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">
              <a:extLst>
                <a:ext uri="{FF2B5EF4-FFF2-40B4-BE49-F238E27FC236}">
                  <a16:creationId xmlns:a16="http://schemas.microsoft.com/office/drawing/2014/main" id="{A45538CC-C35B-4D8B-95B6-5BA015D5AC0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531914" y="474624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20 w 36"/>
                <a:gd name="T3" fmla="*/ 35 h 35"/>
                <a:gd name="T4" fmla="*/ 1 w 36"/>
                <a:gd name="T5" fmla="*/ 17 h 35"/>
                <a:gd name="T6" fmla="*/ 18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6" y="28"/>
                    <a:pt x="30" y="35"/>
                    <a:pt x="20" y="35"/>
                  </a:cubicBezTo>
                  <a:cubicBezTo>
                    <a:pt x="8" y="35"/>
                    <a:pt x="1" y="29"/>
                    <a:pt x="1" y="17"/>
                  </a:cubicBezTo>
                  <a:cubicBezTo>
                    <a:pt x="0" y="5"/>
                    <a:pt x="9" y="0"/>
                    <a:pt x="18" y="0"/>
                  </a:cubicBezTo>
                  <a:cubicBezTo>
                    <a:pt x="28" y="0"/>
                    <a:pt x="36" y="5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FF026748-B477-4FA3-BE4A-8D7F60A2738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07082" y="4890900"/>
              <a:ext cx="31397" cy="30416"/>
            </a:xfrm>
            <a:custGeom>
              <a:avLst/>
              <a:gdLst>
                <a:gd name="T0" fmla="*/ 17 w 36"/>
                <a:gd name="T1" fmla="*/ 0 h 36"/>
                <a:gd name="T2" fmla="*/ 35 w 36"/>
                <a:gd name="T3" fmla="*/ 20 h 36"/>
                <a:gd name="T4" fmla="*/ 17 w 36"/>
                <a:gd name="T5" fmla="*/ 36 h 36"/>
                <a:gd name="T6" fmla="*/ 0 w 36"/>
                <a:gd name="T7" fmla="*/ 18 h 36"/>
                <a:gd name="T8" fmla="*/ 17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0"/>
                  </a:moveTo>
                  <a:cubicBezTo>
                    <a:pt x="30" y="2"/>
                    <a:pt x="36" y="8"/>
                    <a:pt x="35" y="20"/>
                  </a:cubicBezTo>
                  <a:cubicBezTo>
                    <a:pt x="34" y="31"/>
                    <a:pt x="27" y="36"/>
                    <a:pt x="17" y="36"/>
                  </a:cubicBezTo>
                  <a:cubicBezTo>
                    <a:pt x="6" y="35"/>
                    <a:pt x="0" y="29"/>
                    <a:pt x="0" y="18"/>
                  </a:cubicBezTo>
                  <a:cubicBezTo>
                    <a:pt x="0" y="7"/>
                    <a:pt x="8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03EE2E95-504D-4CBB-8E23-06DCC778A1C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99248" y="5104788"/>
              <a:ext cx="30416" cy="31397"/>
            </a:xfrm>
            <a:custGeom>
              <a:avLst/>
              <a:gdLst>
                <a:gd name="T0" fmla="*/ 36 w 36"/>
                <a:gd name="T1" fmla="*/ 20 h 36"/>
                <a:gd name="T2" fmla="*/ 19 w 36"/>
                <a:gd name="T3" fmla="*/ 36 h 36"/>
                <a:gd name="T4" fmla="*/ 1 w 36"/>
                <a:gd name="T5" fmla="*/ 20 h 36"/>
                <a:gd name="T6" fmla="*/ 19 w 36"/>
                <a:gd name="T7" fmla="*/ 1 h 36"/>
                <a:gd name="T8" fmla="*/ 36 w 36"/>
                <a:gd name="T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6" y="20"/>
                  </a:moveTo>
                  <a:cubicBezTo>
                    <a:pt x="35" y="30"/>
                    <a:pt x="30" y="36"/>
                    <a:pt x="19" y="36"/>
                  </a:cubicBezTo>
                  <a:cubicBezTo>
                    <a:pt x="7" y="36"/>
                    <a:pt x="1" y="29"/>
                    <a:pt x="1" y="20"/>
                  </a:cubicBezTo>
                  <a:cubicBezTo>
                    <a:pt x="0" y="8"/>
                    <a:pt x="7" y="0"/>
                    <a:pt x="19" y="1"/>
                  </a:cubicBezTo>
                  <a:cubicBezTo>
                    <a:pt x="30" y="1"/>
                    <a:pt x="35" y="8"/>
                    <a:pt x="3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F25F7060-7D67-40A5-8A17-39A46BBD492D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29736" y="4798282"/>
              <a:ext cx="30416" cy="30416"/>
            </a:xfrm>
            <a:custGeom>
              <a:avLst/>
              <a:gdLst>
                <a:gd name="T0" fmla="*/ 15 w 36"/>
                <a:gd name="T1" fmla="*/ 1 h 36"/>
                <a:gd name="T2" fmla="*/ 35 w 36"/>
                <a:gd name="T3" fmla="*/ 17 h 36"/>
                <a:gd name="T4" fmla="*/ 17 w 36"/>
                <a:gd name="T5" fmla="*/ 36 h 36"/>
                <a:gd name="T6" fmla="*/ 1 w 36"/>
                <a:gd name="T7" fmla="*/ 18 h 36"/>
                <a:gd name="T8" fmla="*/ 15 w 36"/>
                <a:gd name="T9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5" y="1"/>
                  </a:moveTo>
                  <a:cubicBezTo>
                    <a:pt x="28" y="0"/>
                    <a:pt x="35" y="8"/>
                    <a:pt x="35" y="17"/>
                  </a:cubicBezTo>
                  <a:cubicBezTo>
                    <a:pt x="36" y="28"/>
                    <a:pt x="30" y="36"/>
                    <a:pt x="17" y="36"/>
                  </a:cubicBezTo>
                  <a:cubicBezTo>
                    <a:pt x="6" y="36"/>
                    <a:pt x="1" y="29"/>
                    <a:pt x="1" y="18"/>
                  </a:cubicBezTo>
                  <a:cubicBezTo>
                    <a:pt x="0" y="7"/>
                    <a:pt x="7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6">
              <a:extLst>
                <a:ext uri="{FF2B5EF4-FFF2-40B4-BE49-F238E27FC236}">
                  <a16:creationId xmlns:a16="http://schemas.microsoft.com/office/drawing/2014/main" id="{1E2E266B-007B-4726-8077-D2E0C42F403F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7500" y="4934812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0 w 36"/>
                <a:gd name="T3" fmla="*/ 19 h 37"/>
                <a:gd name="T4" fmla="*/ 20 w 36"/>
                <a:gd name="T5" fmla="*/ 2 h 37"/>
                <a:gd name="T6" fmla="*/ 35 w 36"/>
                <a:gd name="T7" fmla="*/ 20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6"/>
                    <a:pt x="0" y="30"/>
                    <a:pt x="0" y="19"/>
                  </a:cubicBezTo>
                  <a:cubicBezTo>
                    <a:pt x="0" y="7"/>
                    <a:pt x="8" y="0"/>
                    <a:pt x="20" y="2"/>
                  </a:cubicBezTo>
                  <a:cubicBezTo>
                    <a:pt x="29" y="2"/>
                    <a:pt x="36" y="9"/>
                    <a:pt x="35" y="20"/>
                  </a:cubicBezTo>
                  <a:cubicBezTo>
                    <a:pt x="34" y="31"/>
                    <a:pt x="28" y="37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7">
              <a:extLst>
                <a:ext uri="{FF2B5EF4-FFF2-40B4-BE49-F238E27FC236}">
                  <a16:creationId xmlns:a16="http://schemas.microsoft.com/office/drawing/2014/main" id="{A1B2628B-35FE-4D4B-8853-B93D6B10E56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21950" y="4736391"/>
              <a:ext cx="30416" cy="31397"/>
            </a:xfrm>
            <a:custGeom>
              <a:avLst/>
              <a:gdLst>
                <a:gd name="T0" fmla="*/ 16 w 36"/>
                <a:gd name="T1" fmla="*/ 0 h 36"/>
                <a:gd name="T2" fmla="*/ 36 w 36"/>
                <a:gd name="T3" fmla="*/ 15 h 36"/>
                <a:gd name="T4" fmla="*/ 19 w 36"/>
                <a:gd name="T5" fmla="*/ 35 h 36"/>
                <a:gd name="T6" fmla="*/ 1 w 36"/>
                <a:gd name="T7" fmla="*/ 19 h 36"/>
                <a:gd name="T8" fmla="*/ 16 w 3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6" y="0"/>
                  </a:moveTo>
                  <a:cubicBezTo>
                    <a:pt x="29" y="0"/>
                    <a:pt x="35" y="4"/>
                    <a:pt x="36" y="15"/>
                  </a:cubicBezTo>
                  <a:cubicBezTo>
                    <a:pt x="36" y="27"/>
                    <a:pt x="31" y="34"/>
                    <a:pt x="19" y="35"/>
                  </a:cubicBezTo>
                  <a:cubicBezTo>
                    <a:pt x="8" y="36"/>
                    <a:pt x="2" y="28"/>
                    <a:pt x="1" y="19"/>
                  </a:cubicBezTo>
                  <a:cubicBezTo>
                    <a:pt x="0" y="8"/>
                    <a:pt x="6" y="1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8">
              <a:extLst>
                <a:ext uri="{FF2B5EF4-FFF2-40B4-BE49-F238E27FC236}">
                  <a16:creationId xmlns:a16="http://schemas.microsoft.com/office/drawing/2014/main" id="{4B58A34E-5EBE-4BED-87F1-8354C2983A2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67692" y="4747839"/>
              <a:ext cx="31397" cy="31397"/>
            </a:xfrm>
            <a:custGeom>
              <a:avLst/>
              <a:gdLst>
                <a:gd name="T0" fmla="*/ 36 w 36"/>
                <a:gd name="T1" fmla="*/ 19 h 37"/>
                <a:gd name="T2" fmla="*/ 20 w 36"/>
                <a:gd name="T3" fmla="*/ 36 h 37"/>
                <a:gd name="T4" fmla="*/ 1 w 36"/>
                <a:gd name="T5" fmla="*/ 18 h 37"/>
                <a:gd name="T6" fmla="*/ 20 w 36"/>
                <a:gd name="T7" fmla="*/ 1 h 37"/>
                <a:gd name="T8" fmla="*/ 36 w 36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6" y="19"/>
                  </a:moveTo>
                  <a:cubicBezTo>
                    <a:pt x="36" y="29"/>
                    <a:pt x="30" y="35"/>
                    <a:pt x="20" y="36"/>
                  </a:cubicBezTo>
                  <a:cubicBezTo>
                    <a:pt x="8" y="37"/>
                    <a:pt x="0" y="28"/>
                    <a:pt x="1" y="18"/>
                  </a:cubicBezTo>
                  <a:cubicBezTo>
                    <a:pt x="1" y="8"/>
                    <a:pt x="8" y="0"/>
                    <a:pt x="20" y="1"/>
                  </a:cubicBezTo>
                  <a:cubicBezTo>
                    <a:pt x="31" y="1"/>
                    <a:pt x="36" y="8"/>
                    <a:pt x="3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9">
              <a:extLst>
                <a:ext uri="{FF2B5EF4-FFF2-40B4-BE49-F238E27FC236}">
                  <a16:creationId xmlns:a16="http://schemas.microsoft.com/office/drawing/2014/main" id="{76AA2C74-612A-4044-AB9C-783F84866AF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10908" y="5098688"/>
              <a:ext cx="30416" cy="30416"/>
            </a:xfrm>
            <a:custGeom>
              <a:avLst/>
              <a:gdLst>
                <a:gd name="T0" fmla="*/ 36 w 36"/>
                <a:gd name="T1" fmla="*/ 17 h 35"/>
                <a:gd name="T2" fmla="*/ 19 w 36"/>
                <a:gd name="T3" fmla="*/ 35 h 35"/>
                <a:gd name="T4" fmla="*/ 0 w 36"/>
                <a:gd name="T5" fmla="*/ 19 h 35"/>
                <a:gd name="T6" fmla="*/ 19 w 36"/>
                <a:gd name="T7" fmla="*/ 0 h 35"/>
                <a:gd name="T8" fmla="*/ 36 w 3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36" y="17"/>
                  </a:moveTo>
                  <a:cubicBezTo>
                    <a:pt x="35" y="28"/>
                    <a:pt x="30" y="35"/>
                    <a:pt x="19" y="35"/>
                  </a:cubicBezTo>
                  <a:cubicBezTo>
                    <a:pt x="8" y="35"/>
                    <a:pt x="1" y="30"/>
                    <a:pt x="0" y="19"/>
                  </a:cubicBezTo>
                  <a:cubicBezTo>
                    <a:pt x="0" y="7"/>
                    <a:pt x="8" y="0"/>
                    <a:pt x="19" y="0"/>
                  </a:cubicBezTo>
                  <a:cubicBezTo>
                    <a:pt x="28" y="0"/>
                    <a:pt x="35" y="7"/>
                    <a:pt x="3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>
              <a:extLst>
                <a:ext uri="{FF2B5EF4-FFF2-40B4-BE49-F238E27FC236}">
                  <a16:creationId xmlns:a16="http://schemas.microsoft.com/office/drawing/2014/main" id="{C0C79051-D4E2-4123-A263-0A9F81B9C79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88841" y="4943137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17 w 36"/>
                <a:gd name="T5" fmla="*/ 1 h 37"/>
                <a:gd name="T6" fmla="*/ 36 w 36"/>
                <a:gd name="T7" fmla="*/ 19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8" y="35"/>
                    <a:pt x="1" y="30"/>
                    <a:pt x="1" y="19"/>
                  </a:cubicBezTo>
                  <a:cubicBezTo>
                    <a:pt x="0" y="8"/>
                    <a:pt x="5" y="1"/>
                    <a:pt x="17" y="1"/>
                  </a:cubicBezTo>
                  <a:cubicBezTo>
                    <a:pt x="29" y="0"/>
                    <a:pt x="36" y="8"/>
                    <a:pt x="36" y="19"/>
                  </a:cubicBezTo>
                  <a:cubicBezTo>
                    <a:pt x="36" y="29"/>
                    <a:pt x="28" y="35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E610433-2567-4A52-89AE-D0DCF087D77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18433" y="4770733"/>
              <a:ext cx="31397" cy="31397"/>
            </a:xfrm>
            <a:custGeom>
              <a:avLst/>
              <a:gdLst>
                <a:gd name="T0" fmla="*/ 17 w 36"/>
                <a:gd name="T1" fmla="*/ 36 h 36"/>
                <a:gd name="T2" fmla="*/ 0 w 36"/>
                <a:gd name="T3" fmla="*/ 18 h 36"/>
                <a:gd name="T4" fmla="*/ 17 w 36"/>
                <a:gd name="T5" fmla="*/ 1 h 36"/>
                <a:gd name="T6" fmla="*/ 35 w 36"/>
                <a:gd name="T7" fmla="*/ 20 h 36"/>
                <a:gd name="T8" fmla="*/ 17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7" y="36"/>
                  </a:moveTo>
                  <a:cubicBezTo>
                    <a:pt x="6" y="34"/>
                    <a:pt x="0" y="29"/>
                    <a:pt x="0" y="18"/>
                  </a:cubicBezTo>
                  <a:cubicBezTo>
                    <a:pt x="0" y="7"/>
                    <a:pt x="6" y="0"/>
                    <a:pt x="17" y="1"/>
                  </a:cubicBezTo>
                  <a:cubicBezTo>
                    <a:pt x="29" y="1"/>
                    <a:pt x="36" y="9"/>
                    <a:pt x="35" y="20"/>
                  </a:cubicBezTo>
                  <a:cubicBezTo>
                    <a:pt x="35" y="30"/>
                    <a:pt x="27" y="35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>
              <a:extLst>
                <a:ext uri="{FF2B5EF4-FFF2-40B4-BE49-F238E27FC236}">
                  <a16:creationId xmlns:a16="http://schemas.microsoft.com/office/drawing/2014/main" id="{6295CD15-E7DE-40F0-A1CD-898BB820878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349103" y="5261175"/>
              <a:ext cx="30416" cy="29435"/>
            </a:xfrm>
            <a:custGeom>
              <a:avLst/>
              <a:gdLst>
                <a:gd name="T0" fmla="*/ 17 w 36"/>
                <a:gd name="T1" fmla="*/ 0 h 35"/>
                <a:gd name="T2" fmla="*/ 35 w 36"/>
                <a:gd name="T3" fmla="*/ 16 h 35"/>
                <a:gd name="T4" fmla="*/ 17 w 36"/>
                <a:gd name="T5" fmla="*/ 35 h 35"/>
                <a:gd name="T6" fmla="*/ 0 w 36"/>
                <a:gd name="T7" fmla="*/ 16 h 35"/>
                <a:gd name="T8" fmla="*/ 17 w 36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17" y="0"/>
                  </a:moveTo>
                  <a:cubicBezTo>
                    <a:pt x="28" y="0"/>
                    <a:pt x="35" y="6"/>
                    <a:pt x="35" y="16"/>
                  </a:cubicBezTo>
                  <a:cubicBezTo>
                    <a:pt x="36" y="28"/>
                    <a:pt x="28" y="35"/>
                    <a:pt x="17" y="35"/>
                  </a:cubicBezTo>
                  <a:cubicBezTo>
                    <a:pt x="7" y="34"/>
                    <a:pt x="0" y="28"/>
                    <a:pt x="0" y="16"/>
                  </a:cubicBezTo>
                  <a:cubicBezTo>
                    <a:pt x="1" y="5"/>
                    <a:pt x="7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3">
              <a:extLst>
                <a:ext uri="{FF2B5EF4-FFF2-40B4-BE49-F238E27FC236}">
                  <a16:creationId xmlns:a16="http://schemas.microsoft.com/office/drawing/2014/main" id="{9158D4C7-EF4F-4243-A292-CFFE0468769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97379" y="4882778"/>
              <a:ext cx="30416" cy="31397"/>
            </a:xfrm>
            <a:custGeom>
              <a:avLst/>
              <a:gdLst>
                <a:gd name="T0" fmla="*/ 17 w 36"/>
                <a:gd name="T1" fmla="*/ 37 h 37"/>
                <a:gd name="T2" fmla="*/ 1 w 36"/>
                <a:gd name="T3" fmla="*/ 19 h 37"/>
                <a:gd name="T4" fmla="*/ 20 w 36"/>
                <a:gd name="T5" fmla="*/ 2 h 37"/>
                <a:gd name="T6" fmla="*/ 35 w 36"/>
                <a:gd name="T7" fmla="*/ 21 h 37"/>
                <a:gd name="T8" fmla="*/ 17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37"/>
                  </a:moveTo>
                  <a:cubicBezTo>
                    <a:pt x="7" y="35"/>
                    <a:pt x="0" y="29"/>
                    <a:pt x="1" y="19"/>
                  </a:cubicBezTo>
                  <a:cubicBezTo>
                    <a:pt x="1" y="8"/>
                    <a:pt x="8" y="0"/>
                    <a:pt x="20" y="2"/>
                  </a:cubicBezTo>
                  <a:cubicBezTo>
                    <a:pt x="31" y="3"/>
                    <a:pt x="36" y="10"/>
                    <a:pt x="35" y="21"/>
                  </a:cubicBezTo>
                  <a:cubicBezTo>
                    <a:pt x="34" y="31"/>
                    <a:pt x="28" y="36"/>
                    <a:pt x="1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4">
              <a:extLst>
                <a:ext uri="{FF2B5EF4-FFF2-40B4-BE49-F238E27FC236}">
                  <a16:creationId xmlns:a16="http://schemas.microsoft.com/office/drawing/2014/main" id="{99C2AD2C-3DE1-426F-9397-8E264A637528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457333" y="5279620"/>
              <a:ext cx="30416" cy="31397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9 h 36"/>
                <a:gd name="T4" fmla="*/ 20 w 36"/>
                <a:gd name="T5" fmla="*/ 1 h 36"/>
                <a:gd name="T6" fmla="*/ 36 w 36"/>
                <a:gd name="T7" fmla="*/ 20 h 36"/>
                <a:gd name="T8" fmla="*/ 18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7" y="35"/>
                    <a:pt x="0" y="29"/>
                    <a:pt x="0" y="19"/>
                  </a:cubicBezTo>
                  <a:cubicBezTo>
                    <a:pt x="0" y="7"/>
                    <a:pt x="9" y="0"/>
                    <a:pt x="20" y="1"/>
                  </a:cubicBezTo>
                  <a:cubicBezTo>
                    <a:pt x="29" y="2"/>
                    <a:pt x="36" y="8"/>
                    <a:pt x="36" y="20"/>
                  </a:cubicBezTo>
                  <a:cubicBezTo>
                    <a:pt x="35" y="31"/>
                    <a:pt x="29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5">
              <a:extLst>
                <a:ext uri="{FF2B5EF4-FFF2-40B4-BE49-F238E27FC236}">
                  <a16:creationId xmlns:a16="http://schemas.microsoft.com/office/drawing/2014/main" id="{48B7473C-B0F3-4DBE-9C86-0B374D264FDE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225408" y="5155229"/>
              <a:ext cx="29435" cy="30416"/>
            </a:xfrm>
            <a:custGeom>
              <a:avLst/>
              <a:gdLst>
                <a:gd name="T0" fmla="*/ 35 w 35"/>
                <a:gd name="T1" fmla="*/ 18 h 36"/>
                <a:gd name="T2" fmla="*/ 17 w 35"/>
                <a:gd name="T3" fmla="*/ 36 h 36"/>
                <a:gd name="T4" fmla="*/ 0 w 35"/>
                <a:gd name="T5" fmla="*/ 19 h 36"/>
                <a:gd name="T6" fmla="*/ 17 w 35"/>
                <a:gd name="T7" fmla="*/ 1 h 36"/>
                <a:gd name="T8" fmla="*/ 35 w 35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5" y="18"/>
                  </a:moveTo>
                  <a:cubicBezTo>
                    <a:pt x="32" y="27"/>
                    <a:pt x="29" y="36"/>
                    <a:pt x="17" y="36"/>
                  </a:cubicBezTo>
                  <a:cubicBezTo>
                    <a:pt x="6" y="36"/>
                    <a:pt x="0" y="30"/>
                    <a:pt x="0" y="19"/>
                  </a:cubicBezTo>
                  <a:cubicBezTo>
                    <a:pt x="0" y="8"/>
                    <a:pt x="7" y="2"/>
                    <a:pt x="17" y="1"/>
                  </a:cubicBezTo>
                  <a:cubicBezTo>
                    <a:pt x="27" y="0"/>
                    <a:pt x="32" y="9"/>
                    <a:pt x="3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6">
              <a:extLst>
                <a:ext uri="{FF2B5EF4-FFF2-40B4-BE49-F238E27FC236}">
                  <a16:creationId xmlns:a16="http://schemas.microsoft.com/office/drawing/2014/main" id="{89327A56-809D-4FD0-BCAA-20C0C0D3D4CA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54509" y="5191857"/>
              <a:ext cx="29435" cy="31397"/>
            </a:xfrm>
            <a:custGeom>
              <a:avLst/>
              <a:gdLst>
                <a:gd name="T0" fmla="*/ 17 w 35"/>
                <a:gd name="T1" fmla="*/ 0 h 37"/>
                <a:gd name="T2" fmla="*/ 34 w 35"/>
                <a:gd name="T3" fmla="*/ 17 h 37"/>
                <a:gd name="T4" fmla="*/ 19 w 35"/>
                <a:gd name="T5" fmla="*/ 36 h 37"/>
                <a:gd name="T6" fmla="*/ 1 w 35"/>
                <a:gd name="T7" fmla="*/ 20 h 37"/>
                <a:gd name="T8" fmla="*/ 17 w 35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7">
                  <a:moveTo>
                    <a:pt x="17" y="0"/>
                  </a:moveTo>
                  <a:cubicBezTo>
                    <a:pt x="26" y="2"/>
                    <a:pt x="34" y="7"/>
                    <a:pt x="34" y="17"/>
                  </a:cubicBezTo>
                  <a:cubicBezTo>
                    <a:pt x="35" y="28"/>
                    <a:pt x="30" y="35"/>
                    <a:pt x="19" y="36"/>
                  </a:cubicBezTo>
                  <a:cubicBezTo>
                    <a:pt x="8" y="37"/>
                    <a:pt x="2" y="29"/>
                    <a:pt x="1" y="20"/>
                  </a:cubicBezTo>
                  <a:cubicBezTo>
                    <a:pt x="0" y="10"/>
                    <a:pt x="7" y="3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">
              <a:extLst>
                <a:ext uri="{FF2B5EF4-FFF2-40B4-BE49-F238E27FC236}">
                  <a16:creationId xmlns:a16="http://schemas.microsoft.com/office/drawing/2014/main" id="{698D99F6-2F34-4019-B9A2-867DFCBFCFF6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108486" y="4970463"/>
              <a:ext cx="5887" cy="74567"/>
            </a:xfrm>
            <a:custGeom>
              <a:avLst/>
              <a:gdLst>
                <a:gd name="T0" fmla="*/ 3 w 8"/>
                <a:gd name="T1" fmla="*/ 0 h 87"/>
                <a:gd name="T2" fmla="*/ 2 w 8"/>
                <a:gd name="T3" fmla="*/ 87 h 87"/>
                <a:gd name="T4" fmla="*/ 3 w 8"/>
                <a:gd name="T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7">
                  <a:moveTo>
                    <a:pt x="3" y="0"/>
                  </a:moveTo>
                  <a:cubicBezTo>
                    <a:pt x="8" y="29"/>
                    <a:pt x="8" y="58"/>
                    <a:pt x="2" y="87"/>
                  </a:cubicBezTo>
                  <a:cubicBezTo>
                    <a:pt x="1" y="58"/>
                    <a:pt x="0" y="29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8">
              <a:extLst>
                <a:ext uri="{FF2B5EF4-FFF2-40B4-BE49-F238E27FC236}">
                  <a16:creationId xmlns:a16="http://schemas.microsoft.com/office/drawing/2014/main" id="{20D76BFA-045A-4E43-8D2A-A07E6C15F687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671283" y="5249599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9">
              <a:extLst>
                <a:ext uri="{FF2B5EF4-FFF2-40B4-BE49-F238E27FC236}">
                  <a16:creationId xmlns:a16="http://schemas.microsoft.com/office/drawing/2014/main" id="{9631E4F8-08EB-4ABF-A5F9-0250223FF2E0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6700422" y="5220460"/>
              <a:ext cx="4906" cy="13736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16 h 16"/>
                <a:gd name="T4" fmla="*/ 0 w 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5" y="5"/>
                    <a:pt x="5" y="10"/>
                    <a:pt x="0" y="16"/>
                  </a:cubicBezTo>
                  <a:cubicBezTo>
                    <a:pt x="0" y="10"/>
                    <a:pt x="0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0">
              <a:extLst>
                <a:ext uri="{FF2B5EF4-FFF2-40B4-BE49-F238E27FC236}">
                  <a16:creationId xmlns:a16="http://schemas.microsoft.com/office/drawing/2014/main" id="{9AB0F6CA-7A3B-4C66-AB23-523830D9D2E8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241754" y="4894971"/>
              <a:ext cx="262948" cy="266873"/>
            </a:xfrm>
            <a:custGeom>
              <a:avLst/>
              <a:gdLst>
                <a:gd name="T0" fmla="*/ 281 w 309"/>
                <a:gd name="T1" fmla="*/ 244 h 313"/>
                <a:gd name="T2" fmla="*/ 261 w 309"/>
                <a:gd name="T3" fmla="*/ 266 h 313"/>
                <a:gd name="T4" fmla="*/ 221 w 309"/>
                <a:gd name="T5" fmla="*/ 270 h 313"/>
                <a:gd name="T6" fmla="*/ 186 w 309"/>
                <a:gd name="T7" fmla="*/ 285 h 313"/>
                <a:gd name="T8" fmla="*/ 155 w 309"/>
                <a:gd name="T9" fmla="*/ 310 h 313"/>
                <a:gd name="T10" fmla="*/ 122 w 309"/>
                <a:gd name="T11" fmla="*/ 286 h 313"/>
                <a:gd name="T12" fmla="*/ 93 w 309"/>
                <a:gd name="T13" fmla="*/ 265 h 313"/>
                <a:gd name="T14" fmla="*/ 36 w 309"/>
                <a:gd name="T15" fmla="*/ 254 h 313"/>
                <a:gd name="T16" fmla="*/ 29 w 309"/>
                <a:gd name="T17" fmla="*/ 244 h 313"/>
                <a:gd name="T18" fmla="*/ 3 w 309"/>
                <a:gd name="T19" fmla="*/ 181 h 313"/>
                <a:gd name="T20" fmla="*/ 1 w 309"/>
                <a:gd name="T21" fmla="*/ 166 h 313"/>
                <a:gd name="T22" fmla="*/ 1 w 309"/>
                <a:gd name="T23" fmla="*/ 129 h 313"/>
                <a:gd name="T24" fmla="*/ 15 w 309"/>
                <a:gd name="T25" fmla="*/ 126 h 313"/>
                <a:gd name="T26" fmla="*/ 34 w 309"/>
                <a:gd name="T27" fmla="*/ 81 h 313"/>
                <a:gd name="T28" fmla="*/ 44 w 309"/>
                <a:gd name="T29" fmla="*/ 49 h 313"/>
                <a:gd name="T30" fmla="*/ 79 w 309"/>
                <a:gd name="T31" fmla="*/ 36 h 313"/>
                <a:gd name="T32" fmla="*/ 124 w 309"/>
                <a:gd name="T33" fmla="*/ 20 h 313"/>
                <a:gd name="T34" fmla="*/ 143 w 309"/>
                <a:gd name="T35" fmla="*/ 3 h 313"/>
                <a:gd name="T36" fmla="*/ 179 w 309"/>
                <a:gd name="T37" fmla="*/ 2 h 313"/>
                <a:gd name="T38" fmla="*/ 183 w 309"/>
                <a:gd name="T39" fmla="*/ 14 h 313"/>
                <a:gd name="T40" fmla="*/ 230 w 309"/>
                <a:gd name="T41" fmla="*/ 35 h 313"/>
                <a:gd name="T42" fmla="*/ 264 w 309"/>
                <a:gd name="T43" fmla="*/ 51 h 313"/>
                <a:gd name="T44" fmla="*/ 272 w 309"/>
                <a:gd name="T45" fmla="*/ 82 h 313"/>
                <a:gd name="T46" fmla="*/ 291 w 309"/>
                <a:gd name="T47" fmla="*/ 127 h 313"/>
                <a:gd name="T48" fmla="*/ 307 w 309"/>
                <a:gd name="T49" fmla="*/ 144 h 313"/>
                <a:gd name="T50" fmla="*/ 307 w 309"/>
                <a:gd name="T51" fmla="*/ 180 h 313"/>
                <a:gd name="T52" fmla="*/ 281 w 309"/>
                <a:gd name="T53" fmla="*/ 244 h 313"/>
                <a:gd name="T54" fmla="*/ 153 w 309"/>
                <a:gd name="T55" fmla="*/ 94 h 313"/>
                <a:gd name="T56" fmla="*/ 91 w 309"/>
                <a:gd name="T57" fmla="*/ 155 h 313"/>
                <a:gd name="T58" fmla="*/ 154 w 309"/>
                <a:gd name="T59" fmla="*/ 218 h 313"/>
                <a:gd name="T60" fmla="*/ 217 w 309"/>
                <a:gd name="T61" fmla="*/ 156 h 313"/>
                <a:gd name="T62" fmla="*/ 153 w 309"/>
                <a:gd name="T63" fmla="*/ 9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9" h="313">
                  <a:moveTo>
                    <a:pt x="281" y="244"/>
                  </a:moveTo>
                  <a:cubicBezTo>
                    <a:pt x="273" y="252"/>
                    <a:pt x="267" y="259"/>
                    <a:pt x="261" y="266"/>
                  </a:cubicBezTo>
                  <a:cubicBezTo>
                    <a:pt x="249" y="281"/>
                    <a:pt x="237" y="284"/>
                    <a:pt x="221" y="270"/>
                  </a:cubicBezTo>
                  <a:cubicBezTo>
                    <a:pt x="202" y="253"/>
                    <a:pt x="190" y="258"/>
                    <a:pt x="186" y="285"/>
                  </a:cubicBezTo>
                  <a:cubicBezTo>
                    <a:pt x="184" y="305"/>
                    <a:pt x="175" y="311"/>
                    <a:pt x="155" y="310"/>
                  </a:cubicBezTo>
                  <a:cubicBezTo>
                    <a:pt x="138" y="309"/>
                    <a:pt x="123" y="313"/>
                    <a:pt x="122" y="286"/>
                  </a:cubicBezTo>
                  <a:cubicBezTo>
                    <a:pt x="121" y="263"/>
                    <a:pt x="106" y="253"/>
                    <a:pt x="93" y="265"/>
                  </a:cubicBezTo>
                  <a:cubicBezTo>
                    <a:pt x="67" y="290"/>
                    <a:pt x="52" y="273"/>
                    <a:pt x="36" y="254"/>
                  </a:cubicBezTo>
                  <a:cubicBezTo>
                    <a:pt x="34" y="251"/>
                    <a:pt x="31" y="247"/>
                    <a:pt x="29" y="244"/>
                  </a:cubicBezTo>
                  <a:cubicBezTo>
                    <a:pt x="56" y="195"/>
                    <a:pt x="56" y="195"/>
                    <a:pt x="3" y="181"/>
                  </a:cubicBezTo>
                  <a:cubicBezTo>
                    <a:pt x="2" y="177"/>
                    <a:pt x="1" y="172"/>
                    <a:pt x="1" y="166"/>
                  </a:cubicBezTo>
                  <a:cubicBezTo>
                    <a:pt x="0" y="154"/>
                    <a:pt x="1" y="142"/>
                    <a:pt x="1" y="129"/>
                  </a:cubicBezTo>
                  <a:cubicBezTo>
                    <a:pt x="7" y="127"/>
                    <a:pt x="11" y="127"/>
                    <a:pt x="15" y="126"/>
                  </a:cubicBezTo>
                  <a:cubicBezTo>
                    <a:pt x="54" y="118"/>
                    <a:pt x="57" y="113"/>
                    <a:pt x="34" y="81"/>
                  </a:cubicBezTo>
                  <a:cubicBezTo>
                    <a:pt x="22" y="64"/>
                    <a:pt x="36" y="57"/>
                    <a:pt x="44" y="49"/>
                  </a:cubicBezTo>
                  <a:cubicBezTo>
                    <a:pt x="53" y="40"/>
                    <a:pt x="60" y="24"/>
                    <a:pt x="79" y="36"/>
                  </a:cubicBezTo>
                  <a:cubicBezTo>
                    <a:pt x="112" y="59"/>
                    <a:pt x="114" y="57"/>
                    <a:pt x="124" y="20"/>
                  </a:cubicBezTo>
                  <a:cubicBezTo>
                    <a:pt x="125" y="13"/>
                    <a:pt x="135" y="5"/>
                    <a:pt x="143" y="3"/>
                  </a:cubicBezTo>
                  <a:cubicBezTo>
                    <a:pt x="154" y="0"/>
                    <a:pt x="167" y="2"/>
                    <a:pt x="179" y="2"/>
                  </a:cubicBezTo>
                  <a:cubicBezTo>
                    <a:pt x="181" y="8"/>
                    <a:pt x="182" y="11"/>
                    <a:pt x="183" y="14"/>
                  </a:cubicBezTo>
                  <a:cubicBezTo>
                    <a:pt x="192" y="55"/>
                    <a:pt x="193" y="55"/>
                    <a:pt x="230" y="35"/>
                  </a:cubicBezTo>
                  <a:cubicBezTo>
                    <a:pt x="249" y="25"/>
                    <a:pt x="255" y="43"/>
                    <a:pt x="264" y="51"/>
                  </a:cubicBezTo>
                  <a:cubicBezTo>
                    <a:pt x="273" y="58"/>
                    <a:pt x="282" y="67"/>
                    <a:pt x="272" y="82"/>
                  </a:cubicBezTo>
                  <a:cubicBezTo>
                    <a:pt x="250" y="112"/>
                    <a:pt x="254" y="118"/>
                    <a:pt x="291" y="127"/>
                  </a:cubicBezTo>
                  <a:cubicBezTo>
                    <a:pt x="297" y="129"/>
                    <a:pt x="305" y="138"/>
                    <a:pt x="307" y="144"/>
                  </a:cubicBezTo>
                  <a:cubicBezTo>
                    <a:pt x="309" y="156"/>
                    <a:pt x="307" y="169"/>
                    <a:pt x="307" y="180"/>
                  </a:cubicBezTo>
                  <a:cubicBezTo>
                    <a:pt x="252" y="201"/>
                    <a:pt x="252" y="201"/>
                    <a:pt x="281" y="244"/>
                  </a:cubicBezTo>
                  <a:close/>
                  <a:moveTo>
                    <a:pt x="153" y="94"/>
                  </a:moveTo>
                  <a:cubicBezTo>
                    <a:pt x="118" y="94"/>
                    <a:pt x="92" y="121"/>
                    <a:pt x="91" y="155"/>
                  </a:cubicBezTo>
                  <a:cubicBezTo>
                    <a:pt x="91" y="191"/>
                    <a:pt x="119" y="218"/>
                    <a:pt x="154" y="218"/>
                  </a:cubicBezTo>
                  <a:cubicBezTo>
                    <a:pt x="188" y="217"/>
                    <a:pt x="216" y="190"/>
                    <a:pt x="217" y="156"/>
                  </a:cubicBezTo>
                  <a:cubicBezTo>
                    <a:pt x="217" y="122"/>
                    <a:pt x="188" y="93"/>
                    <a:pt x="153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1">
              <a:extLst>
                <a:ext uri="{FF2B5EF4-FFF2-40B4-BE49-F238E27FC236}">
                  <a16:creationId xmlns:a16="http://schemas.microsoft.com/office/drawing/2014/main" id="{E51ACE7D-4CFB-4CF6-A6CC-82FBA2A864E1}"/>
                </a:ext>
              </a:extLst>
            </p:cNvPr>
            <p:cNvSpPr>
              <a:spLocks noEditPoints="1"/>
            </p:cNvSpPr>
            <p:nvPr/>
          </p:nvSpPr>
          <p:spPr bwMode="auto">
            <a:xfrm rot="18900000">
              <a:off x="6500239" y="4894185"/>
              <a:ext cx="156003" cy="160908"/>
            </a:xfrm>
            <a:custGeom>
              <a:avLst/>
              <a:gdLst>
                <a:gd name="T0" fmla="*/ 31 w 183"/>
                <a:gd name="T1" fmla="*/ 23 h 189"/>
                <a:gd name="T2" fmla="*/ 80 w 183"/>
                <a:gd name="T3" fmla="*/ 24 h 189"/>
                <a:gd name="T4" fmla="*/ 105 w 183"/>
                <a:gd name="T5" fmla="*/ 23 h 189"/>
                <a:gd name="T6" fmla="*/ 122 w 183"/>
                <a:gd name="T7" fmla="*/ 5 h 189"/>
                <a:gd name="T8" fmla="*/ 151 w 183"/>
                <a:gd name="T9" fmla="*/ 21 h 189"/>
                <a:gd name="T10" fmla="*/ 147 w 183"/>
                <a:gd name="T11" fmla="*/ 38 h 189"/>
                <a:gd name="T12" fmla="*/ 166 w 183"/>
                <a:gd name="T13" fmla="*/ 72 h 189"/>
                <a:gd name="T14" fmla="*/ 182 w 183"/>
                <a:gd name="T15" fmla="*/ 91 h 189"/>
                <a:gd name="T16" fmla="*/ 170 w 183"/>
                <a:gd name="T17" fmla="*/ 112 h 189"/>
                <a:gd name="T18" fmla="*/ 149 w 183"/>
                <a:gd name="T19" fmla="*/ 152 h 189"/>
                <a:gd name="T20" fmla="*/ 151 w 183"/>
                <a:gd name="T21" fmla="*/ 163 h 189"/>
                <a:gd name="T22" fmla="*/ 119 w 183"/>
                <a:gd name="T23" fmla="*/ 183 h 189"/>
                <a:gd name="T24" fmla="*/ 110 w 183"/>
                <a:gd name="T25" fmla="*/ 167 h 189"/>
                <a:gd name="T26" fmla="*/ 74 w 183"/>
                <a:gd name="T27" fmla="*/ 166 h 189"/>
                <a:gd name="T28" fmla="*/ 32 w 183"/>
                <a:gd name="T29" fmla="*/ 163 h 189"/>
                <a:gd name="T30" fmla="*/ 35 w 183"/>
                <a:gd name="T31" fmla="*/ 149 h 189"/>
                <a:gd name="T32" fmla="*/ 15 w 183"/>
                <a:gd name="T33" fmla="*/ 112 h 189"/>
                <a:gd name="T34" fmla="*/ 1 w 183"/>
                <a:gd name="T35" fmla="*/ 91 h 189"/>
                <a:gd name="T36" fmla="*/ 14 w 183"/>
                <a:gd name="T37" fmla="*/ 72 h 189"/>
                <a:gd name="T38" fmla="*/ 35 w 183"/>
                <a:gd name="T39" fmla="*/ 34 h 189"/>
                <a:gd name="T40" fmla="*/ 31 w 183"/>
                <a:gd name="T41" fmla="*/ 23 h 189"/>
                <a:gd name="T42" fmla="*/ 90 w 183"/>
                <a:gd name="T43" fmla="*/ 124 h 189"/>
                <a:gd name="T44" fmla="*/ 123 w 183"/>
                <a:gd name="T45" fmla="*/ 93 h 189"/>
                <a:gd name="T46" fmla="*/ 92 w 183"/>
                <a:gd name="T47" fmla="*/ 61 h 189"/>
                <a:gd name="T48" fmla="*/ 61 w 183"/>
                <a:gd name="T49" fmla="*/ 92 h 189"/>
                <a:gd name="T50" fmla="*/ 90 w 183"/>
                <a:gd name="T51" fmla="*/ 12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89">
                  <a:moveTo>
                    <a:pt x="31" y="23"/>
                  </a:moveTo>
                  <a:cubicBezTo>
                    <a:pt x="49" y="7"/>
                    <a:pt x="64" y="0"/>
                    <a:pt x="80" y="24"/>
                  </a:cubicBezTo>
                  <a:cubicBezTo>
                    <a:pt x="82" y="28"/>
                    <a:pt x="98" y="26"/>
                    <a:pt x="105" y="23"/>
                  </a:cubicBezTo>
                  <a:cubicBezTo>
                    <a:pt x="112" y="20"/>
                    <a:pt x="116" y="12"/>
                    <a:pt x="122" y="5"/>
                  </a:cubicBezTo>
                  <a:cubicBezTo>
                    <a:pt x="132" y="10"/>
                    <a:pt x="141" y="15"/>
                    <a:pt x="151" y="21"/>
                  </a:cubicBezTo>
                  <a:cubicBezTo>
                    <a:pt x="150" y="27"/>
                    <a:pt x="149" y="33"/>
                    <a:pt x="147" y="38"/>
                  </a:cubicBezTo>
                  <a:cubicBezTo>
                    <a:pt x="138" y="58"/>
                    <a:pt x="142" y="69"/>
                    <a:pt x="166" y="72"/>
                  </a:cubicBezTo>
                  <a:cubicBezTo>
                    <a:pt x="172" y="73"/>
                    <a:pt x="181" y="84"/>
                    <a:pt x="182" y="91"/>
                  </a:cubicBezTo>
                  <a:cubicBezTo>
                    <a:pt x="183" y="98"/>
                    <a:pt x="175" y="111"/>
                    <a:pt x="170" y="112"/>
                  </a:cubicBezTo>
                  <a:cubicBezTo>
                    <a:pt x="140" y="114"/>
                    <a:pt x="137" y="128"/>
                    <a:pt x="149" y="152"/>
                  </a:cubicBezTo>
                  <a:cubicBezTo>
                    <a:pt x="151" y="155"/>
                    <a:pt x="150" y="158"/>
                    <a:pt x="151" y="163"/>
                  </a:cubicBezTo>
                  <a:cubicBezTo>
                    <a:pt x="142" y="168"/>
                    <a:pt x="133" y="174"/>
                    <a:pt x="119" y="183"/>
                  </a:cubicBezTo>
                  <a:cubicBezTo>
                    <a:pt x="116" y="178"/>
                    <a:pt x="113" y="172"/>
                    <a:pt x="110" y="167"/>
                  </a:cubicBezTo>
                  <a:cubicBezTo>
                    <a:pt x="99" y="150"/>
                    <a:pt x="87" y="146"/>
                    <a:pt x="74" y="166"/>
                  </a:cubicBezTo>
                  <a:cubicBezTo>
                    <a:pt x="59" y="189"/>
                    <a:pt x="47" y="171"/>
                    <a:pt x="32" y="163"/>
                  </a:cubicBezTo>
                  <a:cubicBezTo>
                    <a:pt x="33" y="158"/>
                    <a:pt x="33" y="153"/>
                    <a:pt x="35" y="149"/>
                  </a:cubicBezTo>
                  <a:cubicBezTo>
                    <a:pt x="46" y="127"/>
                    <a:pt x="42" y="115"/>
                    <a:pt x="15" y="112"/>
                  </a:cubicBezTo>
                  <a:cubicBezTo>
                    <a:pt x="9" y="111"/>
                    <a:pt x="1" y="99"/>
                    <a:pt x="1" y="91"/>
                  </a:cubicBezTo>
                  <a:cubicBezTo>
                    <a:pt x="0" y="85"/>
                    <a:pt x="8" y="74"/>
                    <a:pt x="14" y="72"/>
                  </a:cubicBezTo>
                  <a:cubicBezTo>
                    <a:pt x="45" y="63"/>
                    <a:pt x="45" y="63"/>
                    <a:pt x="35" y="34"/>
                  </a:cubicBezTo>
                  <a:cubicBezTo>
                    <a:pt x="34" y="31"/>
                    <a:pt x="32" y="27"/>
                    <a:pt x="31" y="23"/>
                  </a:cubicBezTo>
                  <a:close/>
                  <a:moveTo>
                    <a:pt x="90" y="124"/>
                  </a:moveTo>
                  <a:cubicBezTo>
                    <a:pt x="111" y="123"/>
                    <a:pt x="123" y="111"/>
                    <a:pt x="123" y="93"/>
                  </a:cubicBezTo>
                  <a:cubicBezTo>
                    <a:pt x="123" y="75"/>
                    <a:pt x="112" y="61"/>
                    <a:pt x="92" y="61"/>
                  </a:cubicBezTo>
                  <a:cubicBezTo>
                    <a:pt x="73" y="61"/>
                    <a:pt x="61" y="72"/>
                    <a:pt x="61" y="92"/>
                  </a:cubicBezTo>
                  <a:cubicBezTo>
                    <a:pt x="60" y="112"/>
                    <a:pt x="73" y="121"/>
                    <a:pt x="90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E7777AE0-2FD1-43B3-9BD9-6E79BDA9178D}"/>
              </a:ext>
            </a:extLst>
          </p:cNvPr>
          <p:cNvGrpSpPr>
            <a:grpSpLocks/>
          </p:cNvGrpSpPr>
          <p:nvPr/>
        </p:nvGrpSpPr>
        <p:grpSpPr>
          <a:xfrm rot="5400000">
            <a:off x="5069696" y="4561595"/>
            <a:ext cx="144000" cy="1332000"/>
            <a:chOff x="5688912" y="2372505"/>
            <a:chExt cx="712725" cy="1671702"/>
          </a:xfrm>
        </p:grpSpPr>
        <p:sp>
          <p:nvSpPr>
            <p:cNvPr id="219" name="Raute 132">
              <a:extLst>
                <a:ext uri="{FF2B5EF4-FFF2-40B4-BE49-F238E27FC236}">
                  <a16:creationId xmlns:a16="http://schemas.microsoft.com/office/drawing/2014/main" id="{FDE79BAC-940D-4C28-A904-F46BF6E67B06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  <p:sp>
          <p:nvSpPr>
            <p:cNvPr id="220" name="Raute 132">
              <a:extLst>
                <a:ext uri="{FF2B5EF4-FFF2-40B4-BE49-F238E27FC236}">
                  <a16:creationId xmlns:a16="http://schemas.microsoft.com/office/drawing/2014/main" id="{4D31699B-FF7F-462E-BE4A-AC34229E2099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4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</p:grpSp>
      <p:sp>
        <p:nvSpPr>
          <p:cNvPr id="221" name="Rectangle 220">
            <a:extLst>
              <a:ext uri="{FF2B5EF4-FFF2-40B4-BE49-F238E27FC236}">
                <a16:creationId xmlns:a16="http://schemas.microsoft.com/office/drawing/2014/main" id="{CC575047-23B0-4426-82CA-BD0AC0262A43}"/>
              </a:ext>
            </a:extLst>
          </p:cNvPr>
          <p:cNvSpPr>
            <a:spLocks/>
          </p:cNvSpPr>
          <p:nvPr/>
        </p:nvSpPr>
        <p:spPr>
          <a:xfrm>
            <a:off x="1233402" y="5491846"/>
            <a:ext cx="7816589" cy="969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Currently, with last engineering activities still ongoing, the project is mainly validation driven. We are preparing for the Go-Live for one of the first in-house AI applications under </a:t>
            </a:r>
            <a:r>
              <a:rPr lang="en-GB" sz="1400" b="1" err="1">
                <a:solidFill>
                  <a:srgbClr val="000000"/>
                </a:solidFill>
                <a:latin typeface="+mj-lt"/>
              </a:rPr>
              <a:t>GxP</a:t>
            </a:r>
            <a:r>
              <a:rPr lang="en-GB" sz="1400" b="1">
                <a:solidFill>
                  <a:srgbClr val="000000"/>
                </a:solidFill>
                <a:latin typeface="+mj-lt"/>
              </a:rPr>
              <a:t> requirements at Bayer.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F7A1C2-8B50-4483-AA85-E524268CCBB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63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FFDB7B1-07E9-4C32-858A-FDCFF71FCD4E}"/>
              </a:ext>
            </a:extLst>
          </p:cNvPr>
          <p:cNvGrpSpPr/>
          <p:nvPr/>
        </p:nvGrpSpPr>
        <p:grpSpPr>
          <a:xfrm>
            <a:off x="11010042" y="6113200"/>
            <a:ext cx="724264" cy="282116"/>
            <a:chOff x="11010042" y="6113200"/>
            <a:chExt cx="724264" cy="282116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C9BF5538-6FF6-4674-9E06-7835329CFD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10042" y="6304784"/>
              <a:ext cx="724264" cy="905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40D739DE-4AB5-4E3A-9482-F381C6B613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23368" y="6113200"/>
              <a:ext cx="473764" cy="862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11DE42B-0EE9-44F0-9AE0-B7DA38CF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181938"/>
            <a:ext cx="8553500" cy="864000"/>
          </a:xfrm>
        </p:spPr>
        <p:txBody>
          <a:bodyPr vert="horz"/>
          <a:lstStyle/>
          <a:p>
            <a:r>
              <a:rPr lang="de-DE"/>
              <a:t>The Holmes Development Lifecycle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 bwMode="gray">
          <a:xfrm rot="5400000">
            <a:off x="10709839" y="29738"/>
            <a:ext cx="144847" cy="2645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E91575A-3185-DE4E-BF38-E185B82E0FCB}"/>
              </a:ext>
            </a:extLst>
          </p:cNvPr>
          <p:cNvSpPr>
            <a:spLocks/>
          </p:cNvSpPr>
          <p:nvPr/>
        </p:nvSpPr>
        <p:spPr>
          <a:xfrm rot="5400000">
            <a:off x="10396278" y="343301"/>
            <a:ext cx="722890" cy="21544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imel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342880" y="6437606"/>
            <a:ext cx="1847533" cy="420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10594923" y="-4616"/>
            <a:ext cx="0" cy="6862616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40" name="Straight Connector 139"/>
          <p:cNvCxnSpPr/>
          <p:nvPr/>
        </p:nvCxnSpPr>
        <p:spPr>
          <a:xfrm>
            <a:off x="10605565" y="1900460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2" name="Rectangle 141"/>
          <p:cNvSpPr>
            <a:spLocks/>
          </p:cNvSpPr>
          <p:nvPr/>
        </p:nvSpPr>
        <p:spPr bwMode="gray">
          <a:xfrm>
            <a:off x="9395701" y="1754846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Feb 21</a:t>
            </a:r>
          </a:p>
        </p:txBody>
      </p:sp>
      <p:sp>
        <p:nvSpPr>
          <p:cNvPr id="143" name="Rectangle 142"/>
          <p:cNvSpPr/>
          <p:nvPr/>
        </p:nvSpPr>
        <p:spPr bwMode="gray">
          <a:xfrm>
            <a:off x="10940635" y="175307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Kick-Off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10579456" y="6205638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47" name="Rectangle 146"/>
          <p:cNvSpPr>
            <a:spLocks/>
          </p:cNvSpPr>
          <p:nvPr/>
        </p:nvSpPr>
        <p:spPr bwMode="gray">
          <a:xfrm>
            <a:off x="9395701" y="601107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Mar 22</a:t>
            </a:r>
          </a:p>
        </p:txBody>
      </p:sp>
      <p:sp>
        <p:nvSpPr>
          <p:cNvPr id="148" name="Rectangle 147"/>
          <p:cNvSpPr/>
          <p:nvPr/>
        </p:nvSpPr>
        <p:spPr bwMode="gray">
          <a:xfrm>
            <a:off x="10914526" y="6058251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End of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yper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Arial"/>
            </a:endParaRPr>
          </a:p>
        </p:txBody>
      </p:sp>
      <p:sp>
        <p:nvSpPr>
          <p:cNvPr id="156" name="Rectangle 155"/>
          <p:cNvSpPr>
            <a:spLocks/>
          </p:cNvSpPr>
          <p:nvPr/>
        </p:nvSpPr>
        <p:spPr bwMode="gray">
          <a:xfrm>
            <a:off x="9395701" y="473420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Dec 21</a:t>
            </a:r>
          </a:p>
        </p:txBody>
      </p:sp>
      <p:sp>
        <p:nvSpPr>
          <p:cNvPr id="161" name="Oval 160"/>
          <p:cNvSpPr/>
          <p:nvPr/>
        </p:nvSpPr>
        <p:spPr>
          <a:xfrm>
            <a:off x="10535793" y="614423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10531739" y="1837123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598451" y="4881596"/>
            <a:ext cx="324000" cy="0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5" name="Rectangle 194"/>
          <p:cNvSpPr>
            <a:spLocks/>
          </p:cNvSpPr>
          <p:nvPr/>
        </p:nvSpPr>
        <p:spPr bwMode="gray">
          <a:xfrm>
            <a:off x="10933521" y="4734209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Holmes 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Go-Live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0554788" y="4822466"/>
            <a:ext cx="118260" cy="11826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C57EA3E-85CE-4D5E-A634-A5972252D8CF}"/>
              </a:ext>
            </a:extLst>
          </p:cNvPr>
          <p:cNvSpPr>
            <a:spLocks/>
          </p:cNvSpPr>
          <p:nvPr/>
        </p:nvSpPr>
        <p:spPr bwMode="gray">
          <a:xfrm>
            <a:off x="9395701" y="3768639"/>
            <a:ext cx="1089265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Aug 21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13E85F0-8D5F-4D5D-8CE1-892E465819FA}"/>
              </a:ext>
            </a:extLst>
          </p:cNvPr>
          <p:cNvCxnSpPr/>
          <p:nvPr/>
        </p:nvCxnSpPr>
        <p:spPr>
          <a:xfrm>
            <a:off x="10683599" y="3929330"/>
            <a:ext cx="290402" cy="6194"/>
          </a:xfrm>
          <a:prstGeom prst="line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miter lim="800000"/>
            <a:headEnd type="arrow" w="med" len="med"/>
            <a:tailEnd type="none" w="med" len="med"/>
          </a:ln>
          <a:effectLst/>
        </p:spPr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D6AE5CCB-8313-432D-A342-41DD081CB5C9}"/>
              </a:ext>
            </a:extLst>
          </p:cNvPr>
          <p:cNvSpPr/>
          <p:nvPr/>
        </p:nvSpPr>
        <p:spPr bwMode="gray">
          <a:xfrm>
            <a:off x="10962895" y="3781943"/>
            <a:ext cx="1264051" cy="294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Arial"/>
              </a:rPr>
              <a:t>We are here</a:t>
            </a:r>
          </a:p>
        </p:txBody>
      </p:sp>
      <p:sp>
        <p:nvSpPr>
          <p:cNvPr id="90" name="Freeform 8">
            <a:extLst>
              <a:ext uri="{FF2B5EF4-FFF2-40B4-BE49-F238E27FC236}">
                <a16:creationId xmlns:a16="http://schemas.microsoft.com/office/drawing/2014/main" id="{5528DDFD-7443-4D6F-8EA5-F06D17B686C9}"/>
              </a:ext>
            </a:extLst>
          </p:cNvPr>
          <p:cNvSpPr>
            <a:spLocks/>
          </p:cNvSpPr>
          <p:nvPr/>
        </p:nvSpPr>
        <p:spPr bwMode="gray">
          <a:xfrm>
            <a:off x="10968019" y="3754432"/>
            <a:ext cx="946967" cy="333925"/>
          </a:xfrm>
          <a:custGeom>
            <a:avLst/>
            <a:gdLst>
              <a:gd name="T0" fmla="*/ 1580 w 1898"/>
              <a:gd name="T1" fmla="*/ 49 h 295"/>
              <a:gd name="T2" fmla="*/ 1067 w 1898"/>
              <a:gd name="T3" fmla="*/ 9 h 295"/>
              <a:gd name="T4" fmla="*/ 284 w 1898"/>
              <a:gd name="T5" fmla="*/ 41 h 295"/>
              <a:gd name="T6" fmla="*/ 60 w 1898"/>
              <a:gd name="T7" fmla="*/ 102 h 295"/>
              <a:gd name="T8" fmla="*/ 15 w 1898"/>
              <a:gd name="T9" fmla="*/ 139 h 295"/>
              <a:gd name="T10" fmla="*/ 24 w 1898"/>
              <a:gd name="T11" fmla="*/ 198 h 295"/>
              <a:gd name="T12" fmla="*/ 110 w 1898"/>
              <a:gd name="T13" fmla="*/ 238 h 295"/>
              <a:gd name="T14" fmla="*/ 295 w 1898"/>
              <a:gd name="T15" fmla="*/ 269 h 295"/>
              <a:gd name="T16" fmla="*/ 904 w 1898"/>
              <a:gd name="T17" fmla="*/ 292 h 295"/>
              <a:gd name="T18" fmla="*/ 1687 w 1898"/>
              <a:gd name="T19" fmla="*/ 256 h 295"/>
              <a:gd name="T20" fmla="*/ 1830 w 1898"/>
              <a:gd name="T21" fmla="*/ 218 h 295"/>
              <a:gd name="T22" fmla="*/ 1886 w 1898"/>
              <a:gd name="T23" fmla="*/ 179 h 295"/>
              <a:gd name="T24" fmla="*/ 1893 w 1898"/>
              <a:gd name="T25" fmla="*/ 142 h 295"/>
              <a:gd name="T26" fmla="*/ 1872 w 1898"/>
              <a:gd name="T27" fmla="*/ 115 h 295"/>
              <a:gd name="T28" fmla="*/ 1636 w 1898"/>
              <a:gd name="T29" fmla="*/ 53 h 295"/>
              <a:gd name="T30" fmla="*/ 1862 w 1898"/>
              <a:gd name="T31" fmla="*/ 127 h 295"/>
              <a:gd name="T32" fmla="*/ 1871 w 1898"/>
              <a:gd name="T33" fmla="*/ 168 h 295"/>
              <a:gd name="T34" fmla="*/ 1822 w 1898"/>
              <a:gd name="T35" fmla="*/ 200 h 295"/>
              <a:gd name="T36" fmla="*/ 1684 w 1898"/>
              <a:gd name="T37" fmla="*/ 235 h 295"/>
              <a:gd name="T38" fmla="*/ 904 w 1898"/>
              <a:gd name="T39" fmla="*/ 270 h 295"/>
              <a:gd name="T40" fmla="*/ 296 w 1898"/>
              <a:gd name="T41" fmla="*/ 247 h 295"/>
              <a:gd name="T42" fmla="*/ 116 w 1898"/>
              <a:gd name="T43" fmla="*/ 217 h 295"/>
              <a:gd name="T44" fmla="*/ 39 w 1898"/>
              <a:gd name="T45" fmla="*/ 182 h 295"/>
              <a:gd name="T46" fmla="*/ 70 w 1898"/>
              <a:gd name="T47" fmla="*/ 122 h 295"/>
              <a:gd name="T48" fmla="*/ 287 w 1898"/>
              <a:gd name="T49" fmla="*/ 63 h 295"/>
              <a:gd name="T50" fmla="*/ 1067 w 1898"/>
              <a:gd name="T51" fmla="*/ 31 h 295"/>
              <a:gd name="T52" fmla="*/ 1580 w 1898"/>
              <a:gd name="T53" fmla="*/ 49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98" h="295">
                <a:moveTo>
                  <a:pt x="1580" y="49"/>
                </a:moveTo>
                <a:cubicBezTo>
                  <a:pt x="1403" y="20"/>
                  <a:pt x="1281" y="14"/>
                  <a:pt x="1067" y="9"/>
                </a:cubicBezTo>
                <a:cubicBezTo>
                  <a:pt x="952" y="8"/>
                  <a:pt x="603" y="0"/>
                  <a:pt x="284" y="41"/>
                </a:cubicBezTo>
                <a:cubicBezTo>
                  <a:pt x="205" y="53"/>
                  <a:pt x="127" y="68"/>
                  <a:pt x="60" y="102"/>
                </a:cubicBezTo>
                <a:cubicBezTo>
                  <a:pt x="43" y="112"/>
                  <a:pt x="27" y="122"/>
                  <a:pt x="15" y="139"/>
                </a:cubicBezTo>
                <a:cubicBezTo>
                  <a:pt x="0" y="156"/>
                  <a:pt x="9" y="187"/>
                  <a:pt x="24" y="198"/>
                </a:cubicBezTo>
                <a:cubicBezTo>
                  <a:pt x="52" y="222"/>
                  <a:pt x="83" y="230"/>
                  <a:pt x="110" y="238"/>
                </a:cubicBezTo>
                <a:cubicBezTo>
                  <a:pt x="221" y="267"/>
                  <a:pt x="295" y="267"/>
                  <a:pt x="295" y="269"/>
                </a:cubicBezTo>
                <a:cubicBezTo>
                  <a:pt x="295" y="270"/>
                  <a:pt x="584" y="291"/>
                  <a:pt x="904" y="292"/>
                </a:cubicBezTo>
                <a:cubicBezTo>
                  <a:pt x="1224" y="295"/>
                  <a:pt x="1572" y="277"/>
                  <a:pt x="1687" y="256"/>
                </a:cubicBezTo>
                <a:cubicBezTo>
                  <a:pt x="1741" y="247"/>
                  <a:pt x="1788" y="236"/>
                  <a:pt x="1830" y="218"/>
                </a:cubicBezTo>
                <a:cubicBezTo>
                  <a:pt x="1851" y="209"/>
                  <a:pt x="1871" y="198"/>
                  <a:pt x="1886" y="179"/>
                </a:cubicBezTo>
                <a:cubicBezTo>
                  <a:pt x="1893" y="170"/>
                  <a:pt x="1898" y="155"/>
                  <a:pt x="1893" y="142"/>
                </a:cubicBezTo>
                <a:cubicBezTo>
                  <a:pt x="1889" y="130"/>
                  <a:pt x="1881" y="122"/>
                  <a:pt x="1872" y="115"/>
                </a:cubicBezTo>
                <a:cubicBezTo>
                  <a:pt x="1801" y="69"/>
                  <a:pt x="1724" y="63"/>
                  <a:pt x="1636" y="53"/>
                </a:cubicBezTo>
                <a:cubicBezTo>
                  <a:pt x="1722" y="70"/>
                  <a:pt x="1801" y="83"/>
                  <a:pt x="1862" y="127"/>
                </a:cubicBezTo>
                <a:cubicBezTo>
                  <a:pt x="1876" y="140"/>
                  <a:pt x="1883" y="155"/>
                  <a:pt x="1871" y="168"/>
                </a:cubicBezTo>
                <a:cubicBezTo>
                  <a:pt x="1860" y="182"/>
                  <a:pt x="1842" y="192"/>
                  <a:pt x="1822" y="200"/>
                </a:cubicBezTo>
                <a:cubicBezTo>
                  <a:pt x="1782" y="216"/>
                  <a:pt x="1736" y="226"/>
                  <a:pt x="1684" y="235"/>
                </a:cubicBezTo>
                <a:cubicBezTo>
                  <a:pt x="1571" y="255"/>
                  <a:pt x="1223" y="273"/>
                  <a:pt x="904" y="270"/>
                </a:cubicBezTo>
                <a:cubicBezTo>
                  <a:pt x="585" y="269"/>
                  <a:pt x="296" y="248"/>
                  <a:pt x="296" y="247"/>
                </a:cubicBezTo>
                <a:cubicBezTo>
                  <a:pt x="297" y="245"/>
                  <a:pt x="223" y="245"/>
                  <a:pt x="116" y="217"/>
                </a:cubicBezTo>
                <a:cubicBezTo>
                  <a:pt x="90" y="210"/>
                  <a:pt x="60" y="200"/>
                  <a:pt x="39" y="182"/>
                </a:cubicBezTo>
                <a:cubicBezTo>
                  <a:pt x="14" y="163"/>
                  <a:pt x="39" y="137"/>
                  <a:pt x="70" y="122"/>
                </a:cubicBezTo>
                <a:cubicBezTo>
                  <a:pt x="132" y="90"/>
                  <a:pt x="209" y="75"/>
                  <a:pt x="287" y="63"/>
                </a:cubicBezTo>
                <a:cubicBezTo>
                  <a:pt x="602" y="23"/>
                  <a:pt x="952" y="30"/>
                  <a:pt x="1067" y="31"/>
                </a:cubicBezTo>
                <a:cubicBezTo>
                  <a:pt x="1281" y="36"/>
                  <a:pt x="1402" y="34"/>
                  <a:pt x="1580" y="4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5381916-3B69-4B7C-B12D-7382BF2E17F3}"/>
              </a:ext>
            </a:extLst>
          </p:cNvPr>
          <p:cNvGrpSpPr/>
          <p:nvPr/>
        </p:nvGrpSpPr>
        <p:grpSpPr bwMode="gray">
          <a:xfrm>
            <a:off x="10519665" y="3837143"/>
            <a:ext cx="205069" cy="214556"/>
            <a:chOff x="5710238" y="596900"/>
            <a:chExt cx="538163" cy="498475"/>
          </a:xfrm>
          <a:solidFill>
            <a:schemeClr val="accent6"/>
          </a:solidFill>
        </p:grpSpPr>
        <p:sp>
          <p:nvSpPr>
            <p:cNvPr id="92" name="Freeform 63">
              <a:extLst>
                <a:ext uri="{FF2B5EF4-FFF2-40B4-BE49-F238E27FC236}">
                  <a16:creationId xmlns:a16="http://schemas.microsoft.com/office/drawing/2014/main" id="{78AA75F8-080E-4971-8449-EC6CB97BF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596900"/>
              <a:ext cx="430213" cy="479425"/>
            </a:xfrm>
            <a:custGeom>
              <a:avLst/>
              <a:gdLst>
                <a:gd name="T0" fmla="*/ 132 w 132"/>
                <a:gd name="T1" fmla="*/ 0 h 146"/>
                <a:gd name="T2" fmla="*/ 106 w 132"/>
                <a:gd name="T3" fmla="*/ 11 h 146"/>
                <a:gd name="T4" fmla="*/ 56 w 132"/>
                <a:gd name="T5" fmla="*/ 64 h 146"/>
                <a:gd name="T6" fmla="*/ 9 w 132"/>
                <a:gd name="T7" fmla="*/ 119 h 146"/>
                <a:gd name="T8" fmla="*/ 0 w 132"/>
                <a:gd name="T9" fmla="*/ 146 h 146"/>
                <a:gd name="T10" fmla="*/ 25 w 132"/>
                <a:gd name="T11" fmla="*/ 133 h 146"/>
                <a:gd name="T12" fmla="*/ 73 w 132"/>
                <a:gd name="T13" fmla="*/ 79 h 146"/>
                <a:gd name="T14" fmla="*/ 121 w 132"/>
                <a:gd name="T15" fmla="*/ 26 h 146"/>
                <a:gd name="T16" fmla="*/ 132 w 132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46">
                  <a:moveTo>
                    <a:pt x="132" y="0"/>
                  </a:moveTo>
                  <a:cubicBezTo>
                    <a:pt x="121" y="1"/>
                    <a:pt x="114" y="3"/>
                    <a:pt x="106" y="11"/>
                  </a:cubicBezTo>
                  <a:cubicBezTo>
                    <a:pt x="97" y="19"/>
                    <a:pt x="56" y="64"/>
                    <a:pt x="56" y="64"/>
                  </a:cubicBezTo>
                  <a:cubicBezTo>
                    <a:pt x="56" y="64"/>
                    <a:pt x="16" y="109"/>
                    <a:pt x="9" y="119"/>
                  </a:cubicBezTo>
                  <a:cubicBezTo>
                    <a:pt x="2" y="127"/>
                    <a:pt x="1" y="135"/>
                    <a:pt x="0" y="146"/>
                  </a:cubicBezTo>
                  <a:cubicBezTo>
                    <a:pt x="11" y="143"/>
                    <a:pt x="18" y="141"/>
                    <a:pt x="25" y="133"/>
                  </a:cubicBezTo>
                  <a:cubicBezTo>
                    <a:pt x="33" y="123"/>
                    <a:pt x="72" y="78"/>
                    <a:pt x="73" y="79"/>
                  </a:cubicBezTo>
                  <a:cubicBezTo>
                    <a:pt x="72" y="78"/>
                    <a:pt x="113" y="35"/>
                    <a:pt x="121" y="26"/>
                  </a:cubicBezTo>
                  <a:cubicBezTo>
                    <a:pt x="129" y="18"/>
                    <a:pt x="131" y="11"/>
                    <a:pt x="1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93" name="Freeform 64">
              <a:extLst>
                <a:ext uri="{FF2B5EF4-FFF2-40B4-BE49-F238E27FC236}">
                  <a16:creationId xmlns:a16="http://schemas.microsoft.com/office/drawing/2014/main" id="{BC120912-A5F2-49D4-B673-ADF6CBD9E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0238" y="708025"/>
              <a:ext cx="538163" cy="387350"/>
            </a:xfrm>
            <a:custGeom>
              <a:avLst/>
              <a:gdLst>
                <a:gd name="T0" fmla="*/ 0 w 165"/>
                <a:gd name="T1" fmla="*/ 2 h 118"/>
                <a:gd name="T2" fmla="*/ 19 w 165"/>
                <a:gd name="T3" fmla="*/ 25 h 118"/>
                <a:gd name="T4" fmla="*/ 81 w 165"/>
                <a:gd name="T5" fmla="*/ 63 h 118"/>
                <a:gd name="T6" fmla="*/ 138 w 165"/>
                <a:gd name="T7" fmla="*/ 107 h 118"/>
                <a:gd name="T8" fmla="*/ 165 w 165"/>
                <a:gd name="T9" fmla="*/ 118 h 118"/>
                <a:gd name="T10" fmla="*/ 153 w 165"/>
                <a:gd name="T11" fmla="*/ 91 h 118"/>
                <a:gd name="T12" fmla="*/ 93 w 165"/>
                <a:gd name="T13" fmla="*/ 45 h 118"/>
                <a:gd name="T14" fmla="*/ 30 w 165"/>
                <a:gd name="T15" fmla="*/ 5 h 118"/>
                <a:gd name="T16" fmla="*/ 0 w 165"/>
                <a:gd name="T17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18">
                  <a:moveTo>
                    <a:pt x="0" y="2"/>
                  </a:moveTo>
                  <a:cubicBezTo>
                    <a:pt x="5" y="13"/>
                    <a:pt x="9" y="19"/>
                    <a:pt x="19" y="25"/>
                  </a:cubicBezTo>
                  <a:cubicBezTo>
                    <a:pt x="30" y="30"/>
                    <a:pt x="82" y="62"/>
                    <a:pt x="81" y="63"/>
                  </a:cubicBezTo>
                  <a:cubicBezTo>
                    <a:pt x="82" y="62"/>
                    <a:pt x="130" y="98"/>
                    <a:pt x="138" y="107"/>
                  </a:cubicBezTo>
                  <a:cubicBezTo>
                    <a:pt x="147" y="114"/>
                    <a:pt x="153" y="116"/>
                    <a:pt x="165" y="118"/>
                  </a:cubicBezTo>
                  <a:cubicBezTo>
                    <a:pt x="163" y="107"/>
                    <a:pt x="162" y="98"/>
                    <a:pt x="153" y="91"/>
                  </a:cubicBezTo>
                  <a:cubicBezTo>
                    <a:pt x="144" y="81"/>
                    <a:pt x="94" y="44"/>
                    <a:pt x="93" y="45"/>
                  </a:cubicBezTo>
                  <a:cubicBezTo>
                    <a:pt x="94" y="44"/>
                    <a:pt x="41" y="11"/>
                    <a:pt x="30" y="5"/>
                  </a:cubicBezTo>
                  <a:cubicBezTo>
                    <a:pt x="19" y="0"/>
                    <a:pt x="1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DBC20DA-616A-47A8-B720-72D2B528FD81}"/>
              </a:ext>
            </a:extLst>
          </p:cNvPr>
          <p:cNvGrpSpPr/>
          <p:nvPr/>
        </p:nvGrpSpPr>
        <p:grpSpPr>
          <a:xfrm>
            <a:off x="1130630" y="1975066"/>
            <a:ext cx="8452127" cy="2938281"/>
            <a:chOff x="1130630" y="1975066"/>
            <a:chExt cx="8452127" cy="2938281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FC2AF88E-1B69-45F8-8E85-6207ADFDF830}"/>
                </a:ext>
              </a:extLst>
            </p:cNvPr>
            <p:cNvGrpSpPr/>
            <p:nvPr/>
          </p:nvGrpSpPr>
          <p:grpSpPr>
            <a:xfrm>
              <a:off x="1251012" y="2500956"/>
              <a:ext cx="6454593" cy="1974396"/>
              <a:chOff x="751586" y="2271014"/>
              <a:chExt cx="6609396" cy="2121408"/>
            </a:xfrm>
          </p:grpSpPr>
          <p:sp>
            <p:nvSpPr>
              <p:cNvPr id="197" name="Hexagon 10">
                <a:extLst>
                  <a:ext uri="{FF2B5EF4-FFF2-40B4-BE49-F238E27FC236}">
                    <a16:creationId xmlns:a16="http://schemas.microsoft.com/office/drawing/2014/main" id="{33B4A255-A42A-47E5-BBF8-450FEC78C35C}"/>
                  </a:ext>
                </a:extLst>
              </p:cNvPr>
              <p:cNvSpPr/>
              <p:nvPr/>
            </p:nvSpPr>
            <p:spPr bwMode="gray">
              <a:xfrm rot="5400000">
                <a:off x="658336" y="2364264"/>
                <a:ext cx="1414272" cy="1227772"/>
              </a:xfrm>
              <a:custGeom>
                <a:avLst/>
                <a:gdLst>
                  <a:gd name="connsiteX0" fmla="*/ 0 w 1414272"/>
                  <a:gd name="connsiteY0" fmla="*/ 609600 h 1219200"/>
                  <a:gd name="connsiteX1" fmla="*/ 304800 w 1414272"/>
                  <a:gd name="connsiteY1" fmla="*/ 0 h 1219200"/>
                  <a:gd name="connsiteX2" fmla="*/ 1109472 w 1414272"/>
                  <a:gd name="connsiteY2" fmla="*/ 0 h 1219200"/>
                  <a:gd name="connsiteX3" fmla="*/ 1414272 w 1414272"/>
                  <a:gd name="connsiteY3" fmla="*/ 609600 h 1219200"/>
                  <a:gd name="connsiteX4" fmla="*/ 1109472 w 1414272"/>
                  <a:gd name="connsiteY4" fmla="*/ 1219200 h 1219200"/>
                  <a:gd name="connsiteX5" fmla="*/ 304800 w 1414272"/>
                  <a:gd name="connsiteY5" fmla="*/ 1219200 h 1219200"/>
                  <a:gd name="connsiteX6" fmla="*/ 0 w 1414272"/>
                  <a:gd name="connsiteY6" fmla="*/ 609600 h 1219200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1200912 w 1414272"/>
                  <a:gd name="connsiteY6" fmla="*/ 91440 h 1219200"/>
                  <a:gd name="connsiteX0" fmla="*/ 1109472 w 1414272"/>
                  <a:gd name="connsiteY0" fmla="*/ 13335 h 1232535"/>
                  <a:gd name="connsiteX1" fmla="*/ 1414272 w 1414272"/>
                  <a:gd name="connsiteY1" fmla="*/ 622935 h 1232535"/>
                  <a:gd name="connsiteX2" fmla="*/ 1109472 w 1414272"/>
                  <a:gd name="connsiteY2" fmla="*/ 1232535 h 1232535"/>
                  <a:gd name="connsiteX3" fmla="*/ 304800 w 1414272"/>
                  <a:gd name="connsiteY3" fmla="*/ 1232535 h 1232535"/>
                  <a:gd name="connsiteX4" fmla="*/ 0 w 1414272"/>
                  <a:gd name="connsiteY4" fmla="*/ 622935 h 1232535"/>
                  <a:gd name="connsiteX5" fmla="*/ 304800 w 1414272"/>
                  <a:gd name="connsiteY5" fmla="*/ 13335 h 1232535"/>
                  <a:gd name="connsiteX6" fmla="*/ 958024 w 1414272"/>
                  <a:gd name="connsiteY6" fmla="*/ 0 h 1232535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858015 w 1414272"/>
                  <a:gd name="connsiteY6" fmla="*/ 10478 h 1219200"/>
                  <a:gd name="connsiteX0" fmla="*/ 1109472 w 1414272"/>
                  <a:gd name="connsiteY0" fmla="*/ 8572 h 1227772"/>
                  <a:gd name="connsiteX1" fmla="*/ 1414272 w 1414272"/>
                  <a:gd name="connsiteY1" fmla="*/ 618172 h 1227772"/>
                  <a:gd name="connsiteX2" fmla="*/ 1109472 w 1414272"/>
                  <a:gd name="connsiteY2" fmla="*/ 1227772 h 1227772"/>
                  <a:gd name="connsiteX3" fmla="*/ 304800 w 1414272"/>
                  <a:gd name="connsiteY3" fmla="*/ 1227772 h 1227772"/>
                  <a:gd name="connsiteX4" fmla="*/ 0 w 1414272"/>
                  <a:gd name="connsiteY4" fmla="*/ 618172 h 1227772"/>
                  <a:gd name="connsiteX5" fmla="*/ 304800 w 1414272"/>
                  <a:gd name="connsiteY5" fmla="*/ 8572 h 1227772"/>
                  <a:gd name="connsiteX6" fmla="*/ 848490 w 1414272"/>
                  <a:gd name="connsiteY6" fmla="*/ 0 h 122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4272" h="1227772">
                    <a:moveTo>
                      <a:pt x="1109472" y="8572"/>
                    </a:moveTo>
                    <a:lnTo>
                      <a:pt x="1414272" y="618172"/>
                    </a:lnTo>
                    <a:lnTo>
                      <a:pt x="1109472" y="1227772"/>
                    </a:lnTo>
                    <a:lnTo>
                      <a:pt x="304800" y="1227772"/>
                    </a:lnTo>
                    <a:lnTo>
                      <a:pt x="0" y="618172"/>
                    </a:lnTo>
                    <a:lnTo>
                      <a:pt x="304800" y="8572"/>
                    </a:lnTo>
                    <a:cubicBezTo>
                      <a:pt x="573024" y="8572"/>
                      <a:pt x="848490" y="0"/>
                      <a:pt x="848490" y="0"/>
                    </a:cubicBezTo>
                  </a:path>
                </a:pathLst>
              </a:custGeom>
              <a:noFill/>
              <a:ln w="19050" algn="ctr">
                <a:solidFill>
                  <a:schemeClr val="bg1">
                    <a:lumMod val="95000"/>
                  </a:schemeClr>
                </a:solidFill>
                <a:miter lim="800000"/>
                <a:headEnd type="triangle" w="lg" len="lg"/>
                <a:tailEnd type="oval"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8" name="Hexagon 10">
                <a:extLst>
                  <a:ext uri="{FF2B5EF4-FFF2-40B4-BE49-F238E27FC236}">
                    <a16:creationId xmlns:a16="http://schemas.microsoft.com/office/drawing/2014/main" id="{4FD3C07C-4B78-484D-9648-55078F5DE087}"/>
                  </a:ext>
                </a:extLst>
              </p:cNvPr>
              <p:cNvSpPr/>
              <p:nvPr/>
            </p:nvSpPr>
            <p:spPr bwMode="gray">
              <a:xfrm rot="5400000" flipH="1">
                <a:off x="2015648" y="3071400"/>
                <a:ext cx="1414272" cy="1227772"/>
              </a:xfrm>
              <a:custGeom>
                <a:avLst/>
                <a:gdLst>
                  <a:gd name="connsiteX0" fmla="*/ 0 w 1414272"/>
                  <a:gd name="connsiteY0" fmla="*/ 609600 h 1219200"/>
                  <a:gd name="connsiteX1" fmla="*/ 304800 w 1414272"/>
                  <a:gd name="connsiteY1" fmla="*/ 0 h 1219200"/>
                  <a:gd name="connsiteX2" fmla="*/ 1109472 w 1414272"/>
                  <a:gd name="connsiteY2" fmla="*/ 0 h 1219200"/>
                  <a:gd name="connsiteX3" fmla="*/ 1414272 w 1414272"/>
                  <a:gd name="connsiteY3" fmla="*/ 609600 h 1219200"/>
                  <a:gd name="connsiteX4" fmla="*/ 1109472 w 1414272"/>
                  <a:gd name="connsiteY4" fmla="*/ 1219200 h 1219200"/>
                  <a:gd name="connsiteX5" fmla="*/ 304800 w 1414272"/>
                  <a:gd name="connsiteY5" fmla="*/ 1219200 h 1219200"/>
                  <a:gd name="connsiteX6" fmla="*/ 0 w 1414272"/>
                  <a:gd name="connsiteY6" fmla="*/ 609600 h 1219200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1200912 w 1414272"/>
                  <a:gd name="connsiteY6" fmla="*/ 91440 h 1219200"/>
                  <a:gd name="connsiteX0" fmla="*/ 1109472 w 1414272"/>
                  <a:gd name="connsiteY0" fmla="*/ 13335 h 1232535"/>
                  <a:gd name="connsiteX1" fmla="*/ 1414272 w 1414272"/>
                  <a:gd name="connsiteY1" fmla="*/ 622935 h 1232535"/>
                  <a:gd name="connsiteX2" fmla="*/ 1109472 w 1414272"/>
                  <a:gd name="connsiteY2" fmla="*/ 1232535 h 1232535"/>
                  <a:gd name="connsiteX3" fmla="*/ 304800 w 1414272"/>
                  <a:gd name="connsiteY3" fmla="*/ 1232535 h 1232535"/>
                  <a:gd name="connsiteX4" fmla="*/ 0 w 1414272"/>
                  <a:gd name="connsiteY4" fmla="*/ 622935 h 1232535"/>
                  <a:gd name="connsiteX5" fmla="*/ 304800 w 1414272"/>
                  <a:gd name="connsiteY5" fmla="*/ 13335 h 1232535"/>
                  <a:gd name="connsiteX6" fmla="*/ 958024 w 1414272"/>
                  <a:gd name="connsiteY6" fmla="*/ 0 h 1232535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858015 w 1414272"/>
                  <a:gd name="connsiteY6" fmla="*/ 10478 h 1219200"/>
                  <a:gd name="connsiteX0" fmla="*/ 1109472 w 1414272"/>
                  <a:gd name="connsiteY0" fmla="*/ 8572 h 1227772"/>
                  <a:gd name="connsiteX1" fmla="*/ 1414272 w 1414272"/>
                  <a:gd name="connsiteY1" fmla="*/ 618172 h 1227772"/>
                  <a:gd name="connsiteX2" fmla="*/ 1109472 w 1414272"/>
                  <a:gd name="connsiteY2" fmla="*/ 1227772 h 1227772"/>
                  <a:gd name="connsiteX3" fmla="*/ 304800 w 1414272"/>
                  <a:gd name="connsiteY3" fmla="*/ 1227772 h 1227772"/>
                  <a:gd name="connsiteX4" fmla="*/ 0 w 1414272"/>
                  <a:gd name="connsiteY4" fmla="*/ 618172 h 1227772"/>
                  <a:gd name="connsiteX5" fmla="*/ 304800 w 1414272"/>
                  <a:gd name="connsiteY5" fmla="*/ 8572 h 1227772"/>
                  <a:gd name="connsiteX6" fmla="*/ 848490 w 1414272"/>
                  <a:gd name="connsiteY6" fmla="*/ 0 h 122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4272" h="1227772">
                    <a:moveTo>
                      <a:pt x="1109472" y="8572"/>
                    </a:moveTo>
                    <a:lnTo>
                      <a:pt x="1414272" y="618172"/>
                    </a:lnTo>
                    <a:lnTo>
                      <a:pt x="1109472" y="1227772"/>
                    </a:lnTo>
                    <a:lnTo>
                      <a:pt x="304800" y="1227772"/>
                    </a:lnTo>
                    <a:lnTo>
                      <a:pt x="0" y="618172"/>
                    </a:lnTo>
                    <a:lnTo>
                      <a:pt x="304800" y="8572"/>
                    </a:lnTo>
                    <a:cubicBezTo>
                      <a:pt x="573024" y="8572"/>
                      <a:pt x="848490" y="0"/>
                      <a:pt x="848490" y="0"/>
                    </a:cubicBezTo>
                  </a:path>
                </a:pathLst>
              </a:custGeom>
              <a:noFill/>
              <a:ln w="19050" algn="ctr">
                <a:solidFill>
                  <a:schemeClr val="bg1">
                    <a:lumMod val="95000"/>
                  </a:schemeClr>
                </a:solidFill>
                <a:miter lim="800000"/>
                <a:headEnd type="triangle" w="lg" len="lg"/>
                <a:tailEnd type="oval"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99" name="Hexagon 10">
                <a:extLst>
                  <a:ext uri="{FF2B5EF4-FFF2-40B4-BE49-F238E27FC236}">
                    <a16:creationId xmlns:a16="http://schemas.microsoft.com/office/drawing/2014/main" id="{2CBD80C7-DE19-41BB-9401-273E837E419D}"/>
                  </a:ext>
                </a:extLst>
              </p:cNvPr>
              <p:cNvSpPr/>
              <p:nvPr/>
            </p:nvSpPr>
            <p:spPr bwMode="gray">
              <a:xfrm rot="5400000">
                <a:off x="3349148" y="2364264"/>
                <a:ext cx="1414272" cy="1227772"/>
              </a:xfrm>
              <a:custGeom>
                <a:avLst/>
                <a:gdLst>
                  <a:gd name="connsiteX0" fmla="*/ 0 w 1414272"/>
                  <a:gd name="connsiteY0" fmla="*/ 609600 h 1219200"/>
                  <a:gd name="connsiteX1" fmla="*/ 304800 w 1414272"/>
                  <a:gd name="connsiteY1" fmla="*/ 0 h 1219200"/>
                  <a:gd name="connsiteX2" fmla="*/ 1109472 w 1414272"/>
                  <a:gd name="connsiteY2" fmla="*/ 0 h 1219200"/>
                  <a:gd name="connsiteX3" fmla="*/ 1414272 w 1414272"/>
                  <a:gd name="connsiteY3" fmla="*/ 609600 h 1219200"/>
                  <a:gd name="connsiteX4" fmla="*/ 1109472 w 1414272"/>
                  <a:gd name="connsiteY4" fmla="*/ 1219200 h 1219200"/>
                  <a:gd name="connsiteX5" fmla="*/ 304800 w 1414272"/>
                  <a:gd name="connsiteY5" fmla="*/ 1219200 h 1219200"/>
                  <a:gd name="connsiteX6" fmla="*/ 0 w 1414272"/>
                  <a:gd name="connsiteY6" fmla="*/ 609600 h 1219200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1200912 w 1414272"/>
                  <a:gd name="connsiteY6" fmla="*/ 91440 h 1219200"/>
                  <a:gd name="connsiteX0" fmla="*/ 1109472 w 1414272"/>
                  <a:gd name="connsiteY0" fmla="*/ 13335 h 1232535"/>
                  <a:gd name="connsiteX1" fmla="*/ 1414272 w 1414272"/>
                  <a:gd name="connsiteY1" fmla="*/ 622935 h 1232535"/>
                  <a:gd name="connsiteX2" fmla="*/ 1109472 w 1414272"/>
                  <a:gd name="connsiteY2" fmla="*/ 1232535 h 1232535"/>
                  <a:gd name="connsiteX3" fmla="*/ 304800 w 1414272"/>
                  <a:gd name="connsiteY3" fmla="*/ 1232535 h 1232535"/>
                  <a:gd name="connsiteX4" fmla="*/ 0 w 1414272"/>
                  <a:gd name="connsiteY4" fmla="*/ 622935 h 1232535"/>
                  <a:gd name="connsiteX5" fmla="*/ 304800 w 1414272"/>
                  <a:gd name="connsiteY5" fmla="*/ 13335 h 1232535"/>
                  <a:gd name="connsiteX6" fmla="*/ 958024 w 1414272"/>
                  <a:gd name="connsiteY6" fmla="*/ 0 h 1232535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858015 w 1414272"/>
                  <a:gd name="connsiteY6" fmla="*/ 10478 h 1219200"/>
                  <a:gd name="connsiteX0" fmla="*/ 1109472 w 1414272"/>
                  <a:gd name="connsiteY0" fmla="*/ 8572 h 1227772"/>
                  <a:gd name="connsiteX1" fmla="*/ 1414272 w 1414272"/>
                  <a:gd name="connsiteY1" fmla="*/ 618172 h 1227772"/>
                  <a:gd name="connsiteX2" fmla="*/ 1109472 w 1414272"/>
                  <a:gd name="connsiteY2" fmla="*/ 1227772 h 1227772"/>
                  <a:gd name="connsiteX3" fmla="*/ 304800 w 1414272"/>
                  <a:gd name="connsiteY3" fmla="*/ 1227772 h 1227772"/>
                  <a:gd name="connsiteX4" fmla="*/ 0 w 1414272"/>
                  <a:gd name="connsiteY4" fmla="*/ 618172 h 1227772"/>
                  <a:gd name="connsiteX5" fmla="*/ 304800 w 1414272"/>
                  <a:gd name="connsiteY5" fmla="*/ 8572 h 1227772"/>
                  <a:gd name="connsiteX6" fmla="*/ 848490 w 1414272"/>
                  <a:gd name="connsiteY6" fmla="*/ 0 h 122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4272" h="1227772">
                    <a:moveTo>
                      <a:pt x="1109472" y="8572"/>
                    </a:moveTo>
                    <a:lnTo>
                      <a:pt x="1414272" y="618172"/>
                    </a:lnTo>
                    <a:lnTo>
                      <a:pt x="1109472" y="1227772"/>
                    </a:lnTo>
                    <a:lnTo>
                      <a:pt x="304800" y="1227772"/>
                    </a:lnTo>
                    <a:lnTo>
                      <a:pt x="0" y="618172"/>
                    </a:lnTo>
                    <a:lnTo>
                      <a:pt x="304800" y="8572"/>
                    </a:lnTo>
                    <a:cubicBezTo>
                      <a:pt x="573024" y="8572"/>
                      <a:pt x="848490" y="0"/>
                      <a:pt x="848490" y="0"/>
                    </a:cubicBezTo>
                  </a:path>
                </a:pathLst>
              </a:custGeom>
              <a:noFill/>
              <a:ln w="19050" algn="ctr">
                <a:solidFill>
                  <a:schemeClr val="bg1">
                    <a:lumMod val="95000"/>
                  </a:schemeClr>
                </a:solidFill>
                <a:miter lim="800000"/>
                <a:headEnd type="triangle" w="lg" len="lg"/>
                <a:tailEnd type="oval"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0" name="Hexagon 10">
                <a:extLst>
                  <a:ext uri="{FF2B5EF4-FFF2-40B4-BE49-F238E27FC236}">
                    <a16:creationId xmlns:a16="http://schemas.microsoft.com/office/drawing/2014/main" id="{A53386E8-9D04-4401-84C1-CE8DB86499D4}"/>
                  </a:ext>
                </a:extLst>
              </p:cNvPr>
              <p:cNvSpPr/>
              <p:nvPr/>
            </p:nvSpPr>
            <p:spPr bwMode="gray">
              <a:xfrm rot="5400000" flipH="1">
                <a:off x="4706460" y="3071400"/>
                <a:ext cx="1414272" cy="1227772"/>
              </a:xfrm>
              <a:custGeom>
                <a:avLst/>
                <a:gdLst>
                  <a:gd name="connsiteX0" fmla="*/ 0 w 1414272"/>
                  <a:gd name="connsiteY0" fmla="*/ 609600 h 1219200"/>
                  <a:gd name="connsiteX1" fmla="*/ 304800 w 1414272"/>
                  <a:gd name="connsiteY1" fmla="*/ 0 h 1219200"/>
                  <a:gd name="connsiteX2" fmla="*/ 1109472 w 1414272"/>
                  <a:gd name="connsiteY2" fmla="*/ 0 h 1219200"/>
                  <a:gd name="connsiteX3" fmla="*/ 1414272 w 1414272"/>
                  <a:gd name="connsiteY3" fmla="*/ 609600 h 1219200"/>
                  <a:gd name="connsiteX4" fmla="*/ 1109472 w 1414272"/>
                  <a:gd name="connsiteY4" fmla="*/ 1219200 h 1219200"/>
                  <a:gd name="connsiteX5" fmla="*/ 304800 w 1414272"/>
                  <a:gd name="connsiteY5" fmla="*/ 1219200 h 1219200"/>
                  <a:gd name="connsiteX6" fmla="*/ 0 w 1414272"/>
                  <a:gd name="connsiteY6" fmla="*/ 609600 h 1219200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1200912 w 1414272"/>
                  <a:gd name="connsiteY6" fmla="*/ 91440 h 1219200"/>
                  <a:gd name="connsiteX0" fmla="*/ 1109472 w 1414272"/>
                  <a:gd name="connsiteY0" fmla="*/ 13335 h 1232535"/>
                  <a:gd name="connsiteX1" fmla="*/ 1414272 w 1414272"/>
                  <a:gd name="connsiteY1" fmla="*/ 622935 h 1232535"/>
                  <a:gd name="connsiteX2" fmla="*/ 1109472 w 1414272"/>
                  <a:gd name="connsiteY2" fmla="*/ 1232535 h 1232535"/>
                  <a:gd name="connsiteX3" fmla="*/ 304800 w 1414272"/>
                  <a:gd name="connsiteY3" fmla="*/ 1232535 h 1232535"/>
                  <a:gd name="connsiteX4" fmla="*/ 0 w 1414272"/>
                  <a:gd name="connsiteY4" fmla="*/ 622935 h 1232535"/>
                  <a:gd name="connsiteX5" fmla="*/ 304800 w 1414272"/>
                  <a:gd name="connsiteY5" fmla="*/ 13335 h 1232535"/>
                  <a:gd name="connsiteX6" fmla="*/ 958024 w 1414272"/>
                  <a:gd name="connsiteY6" fmla="*/ 0 h 1232535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858015 w 1414272"/>
                  <a:gd name="connsiteY6" fmla="*/ 10478 h 1219200"/>
                  <a:gd name="connsiteX0" fmla="*/ 1109472 w 1414272"/>
                  <a:gd name="connsiteY0" fmla="*/ 8572 h 1227772"/>
                  <a:gd name="connsiteX1" fmla="*/ 1414272 w 1414272"/>
                  <a:gd name="connsiteY1" fmla="*/ 618172 h 1227772"/>
                  <a:gd name="connsiteX2" fmla="*/ 1109472 w 1414272"/>
                  <a:gd name="connsiteY2" fmla="*/ 1227772 h 1227772"/>
                  <a:gd name="connsiteX3" fmla="*/ 304800 w 1414272"/>
                  <a:gd name="connsiteY3" fmla="*/ 1227772 h 1227772"/>
                  <a:gd name="connsiteX4" fmla="*/ 0 w 1414272"/>
                  <a:gd name="connsiteY4" fmla="*/ 618172 h 1227772"/>
                  <a:gd name="connsiteX5" fmla="*/ 304800 w 1414272"/>
                  <a:gd name="connsiteY5" fmla="*/ 8572 h 1227772"/>
                  <a:gd name="connsiteX6" fmla="*/ 848490 w 1414272"/>
                  <a:gd name="connsiteY6" fmla="*/ 0 h 122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4272" h="1227772">
                    <a:moveTo>
                      <a:pt x="1109472" y="8572"/>
                    </a:moveTo>
                    <a:lnTo>
                      <a:pt x="1414272" y="618172"/>
                    </a:lnTo>
                    <a:lnTo>
                      <a:pt x="1109472" y="1227772"/>
                    </a:lnTo>
                    <a:lnTo>
                      <a:pt x="304800" y="1227772"/>
                    </a:lnTo>
                    <a:lnTo>
                      <a:pt x="0" y="618172"/>
                    </a:lnTo>
                    <a:lnTo>
                      <a:pt x="304800" y="8572"/>
                    </a:lnTo>
                    <a:cubicBezTo>
                      <a:pt x="573024" y="8572"/>
                      <a:pt x="848490" y="0"/>
                      <a:pt x="848490" y="0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accent5"/>
                </a:solidFill>
                <a:prstDash val="solid"/>
                <a:miter lim="800000"/>
                <a:headEnd type="triangle" w="lg" len="lg"/>
                <a:tailEnd type="oval" w="med" len="med"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1" name="Hexagon 10">
                <a:extLst>
                  <a:ext uri="{FF2B5EF4-FFF2-40B4-BE49-F238E27FC236}">
                    <a16:creationId xmlns:a16="http://schemas.microsoft.com/office/drawing/2014/main" id="{60153D2B-67A4-4BD9-9702-351AD78AD926}"/>
                  </a:ext>
                </a:extLst>
              </p:cNvPr>
              <p:cNvSpPr/>
              <p:nvPr/>
            </p:nvSpPr>
            <p:spPr bwMode="gray">
              <a:xfrm rot="5400000">
                <a:off x="6039960" y="2364264"/>
                <a:ext cx="1414272" cy="1227772"/>
              </a:xfrm>
              <a:custGeom>
                <a:avLst/>
                <a:gdLst>
                  <a:gd name="connsiteX0" fmla="*/ 0 w 1414272"/>
                  <a:gd name="connsiteY0" fmla="*/ 609600 h 1219200"/>
                  <a:gd name="connsiteX1" fmla="*/ 304800 w 1414272"/>
                  <a:gd name="connsiteY1" fmla="*/ 0 h 1219200"/>
                  <a:gd name="connsiteX2" fmla="*/ 1109472 w 1414272"/>
                  <a:gd name="connsiteY2" fmla="*/ 0 h 1219200"/>
                  <a:gd name="connsiteX3" fmla="*/ 1414272 w 1414272"/>
                  <a:gd name="connsiteY3" fmla="*/ 609600 h 1219200"/>
                  <a:gd name="connsiteX4" fmla="*/ 1109472 w 1414272"/>
                  <a:gd name="connsiteY4" fmla="*/ 1219200 h 1219200"/>
                  <a:gd name="connsiteX5" fmla="*/ 304800 w 1414272"/>
                  <a:gd name="connsiteY5" fmla="*/ 1219200 h 1219200"/>
                  <a:gd name="connsiteX6" fmla="*/ 0 w 1414272"/>
                  <a:gd name="connsiteY6" fmla="*/ 609600 h 1219200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1200912 w 1414272"/>
                  <a:gd name="connsiteY6" fmla="*/ 91440 h 1219200"/>
                  <a:gd name="connsiteX0" fmla="*/ 1109472 w 1414272"/>
                  <a:gd name="connsiteY0" fmla="*/ 13335 h 1232535"/>
                  <a:gd name="connsiteX1" fmla="*/ 1414272 w 1414272"/>
                  <a:gd name="connsiteY1" fmla="*/ 622935 h 1232535"/>
                  <a:gd name="connsiteX2" fmla="*/ 1109472 w 1414272"/>
                  <a:gd name="connsiteY2" fmla="*/ 1232535 h 1232535"/>
                  <a:gd name="connsiteX3" fmla="*/ 304800 w 1414272"/>
                  <a:gd name="connsiteY3" fmla="*/ 1232535 h 1232535"/>
                  <a:gd name="connsiteX4" fmla="*/ 0 w 1414272"/>
                  <a:gd name="connsiteY4" fmla="*/ 622935 h 1232535"/>
                  <a:gd name="connsiteX5" fmla="*/ 304800 w 1414272"/>
                  <a:gd name="connsiteY5" fmla="*/ 13335 h 1232535"/>
                  <a:gd name="connsiteX6" fmla="*/ 958024 w 1414272"/>
                  <a:gd name="connsiteY6" fmla="*/ 0 h 1232535"/>
                  <a:gd name="connsiteX0" fmla="*/ 1109472 w 1414272"/>
                  <a:gd name="connsiteY0" fmla="*/ 0 h 1219200"/>
                  <a:gd name="connsiteX1" fmla="*/ 1414272 w 1414272"/>
                  <a:gd name="connsiteY1" fmla="*/ 609600 h 1219200"/>
                  <a:gd name="connsiteX2" fmla="*/ 1109472 w 1414272"/>
                  <a:gd name="connsiteY2" fmla="*/ 1219200 h 1219200"/>
                  <a:gd name="connsiteX3" fmla="*/ 304800 w 1414272"/>
                  <a:gd name="connsiteY3" fmla="*/ 1219200 h 1219200"/>
                  <a:gd name="connsiteX4" fmla="*/ 0 w 1414272"/>
                  <a:gd name="connsiteY4" fmla="*/ 609600 h 1219200"/>
                  <a:gd name="connsiteX5" fmla="*/ 304800 w 1414272"/>
                  <a:gd name="connsiteY5" fmla="*/ 0 h 1219200"/>
                  <a:gd name="connsiteX6" fmla="*/ 858015 w 1414272"/>
                  <a:gd name="connsiteY6" fmla="*/ 10478 h 1219200"/>
                  <a:gd name="connsiteX0" fmla="*/ 1109472 w 1414272"/>
                  <a:gd name="connsiteY0" fmla="*/ 8572 h 1227772"/>
                  <a:gd name="connsiteX1" fmla="*/ 1414272 w 1414272"/>
                  <a:gd name="connsiteY1" fmla="*/ 618172 h 1227772"/>
                  <a:gd name="connsiteX2" fmla="*/ 1109472 w 1414272"/>
                  <a:gd name="connsiteY2" fmla="*/ 1227772 h 1227772"/>
                  <a:gd name="connsiteX3" fmla="*/ 304800 w 1414272"/>
                  <a:gd name="connsiteY3" fmla="*/ 1227772 h 1227772"/>
                  <a:gd name="connsiteX4" fmla="*/ 0 w 1414272"/>
                  <a:gd name="connsiteY4" fmla="*/ 618172 h 1227772"/>
                  <a:gd name="connsiteX5" fmla="*/ 304800 w 1414272"/>
                  <a:gd name="connsiteY5" fmla="*/ 8572 h 1227772"/>
                  <a:gd name="connsiteX6" fmla="*/ 848490 w 1414272"/>
                  <a:gd name="connsiteY6" fmla="*/ 0 h 122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4272" h="1227772">
                    <a:moveTo>
                      <a:pt x="1109472" y="8572"/>
                    </a:moveTo>
                    <a:lnTo>
                      <a:pt x="1414272" y="618172"/>
                    </a:lnTo>
                    <a:lnTo>
                      <a:pt x="1109472" y="1227772"/>
                    </a:lnTo>
                    <a:lnTo>
                      <a:pt x="304800" y="1227772"/>
                    </a:lnTo>
                    <a:lnTo>
                      <a:pt x="0" y="618172"/>
                    </a:lnTo>
                    <a:lnTo>
                      <a:pt x="304800" y="8572"/>
                    </a:lnTo>
                    <a:cubicBezTo>
                      <a:pt x="573024" y="8572"/>
                      <a:pt x="848490" y="0"/>
                      <a:pt x="848490" y="0"/>
                    </a:cubicBezTo>
                  </a:path>
                </a:pathLst>
              </a:custGeom>
              <a:noFill/>
              <a:ln w="19050" algn="ctr">
                <a:solidFill>
                  <a:schemeClr val="accent6"/>
                </a:solidFill>
                <a:miter lim="800000"/>
                <a:headEnd type="triangle" w="lg" len="lg"/>
                <a:tailEnd type="oval"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202" name="Hexagon 201">
              <a:extLst>
                <a:ext uri="{FF2B5EF4-FFF2-40B4-BE49-F238E27FC236}">
                  <a16:creationId xmlns:a16="http://schemas.microsoft.com/office/drawing/2014/main" id="{02218789-BB2C-4DF6-8226-EB9DB14783D6}"/>
                </a:ext>
              </a:extLst>
            </p:cNvPr>
            <p:cNvSpPr/>
            <p:nvPr/>
          </p:nvSpPr>
          <p:spPr bwMode="gray">
            <a:xfrm rot="16200000">
              <a:off x="1290471" y="2661334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3" name="Hexagon 202">
              <a:extLst>
                <a:ext uri="{FF2B5EF4-FFF2-40B4-BE49-F238E27FC236}">
                  <a16:creationId xmlns:a16="http://schemas.microsoft.com/office/drawing/2014/main" id="{574A566D-36B0-4C0D-8434-34E020E4CD2C}"/>
                </a:ext>
              </a:extLst>
            </p:cNvPr>
            <p:cNvSpPr/>
            <p:nvPr/>
          </p:nvSpPr>
          <p:spPr bwMode="gray">
            <a:xfrm rot="16200000">
              <a:off x="2620754" y="3314928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4" name="Hexagon 203">
              <a:extLst>
                <a:ext uri="{FF2B5EF4-FFF2-40B4-BE49-F238E27FC236}">
                  <a16:creationId xmlns:a16="http://schemas.microsoft.com/office/drawing/2014/main" id="{C87EE9CE-0A39-42B6-9AE6-CFFD383404CE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3923021" y="2656796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5" name="Hexagon 204">
              <a:extLst>
                <a:ext uri="{FF2B5EF4-FFF2-40B4-BE49-F238E27FC236}">
                  <a16:creationId xmlns:a16="http://schemas.microsoft.com/office/drawing/2014/main" id="{E1792963-3546-4BFD-8D1A-BA34CA47745D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5248543" y="3314928"/>
              <a:ext cx="1110573" cy="1004584"/>
            </a:xfrm>
            <a:prstGeom prst="hexagon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6" name="Hexagon 205">
              <a:extLst>
                <a:ext uri="{FF2B5EF4-FFF2-40B4-BE49-F238E27FC236}">
                  <a16:creationId xmlns:a16="http://schemas.microsoft.com/office/drawing/2014/main" id="{4B3C7CAF-5C5E-47C4-8C7B-72CDF41A670A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6550810" y="2656797"/>
              <a:ext cx="1110573" cy="1004584"/>
            </a:xfrm>
            <a:prstGeom prst="hexagon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BE75C26D-288F-4048-BAF5-13CDAB244A66}"/>
                </a:ext>
              </a:extLst>
            </p:cNvPr>
            <p:cNvGrpSpPr/>
            <p:nvPr/>
          </p:nvGrpSpPr>
          <p:grpSpPr>
            <a:xfrm>
              <a:off x="1840997" y="2306089"/>
              <a:ext cx="5266309" cy="199404"/>
              <a:chOff x="1425933" y="1146206"/>
              <a:chExt cx="6282218" cy="1374704"/>
            </a:xfrm>
          </p:grpSpPr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71F48747-AE2E-45BD-9F8C-8099EA6125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25933" y="1146206"/>
                <a:ext cx="688" cy="1374704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  <a:prstDash val="sysDot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2CBEF1FD-75A0-43E4-8BC3-0E04C7EB86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566698" y="1146206"/>
                <a:ext cx="688" cy="1374704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  <a:prstDash val="sysDot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8F66EB9-E612-4CDF-B613-F04B582CBFF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707463" y="1146206"/>
                <a:ext cx="688" cy="1374704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9089C857-37A3-4736-929C-6D0D47610D60}"/>
                </a:ext>
              </a:extLst>
            </p:cNvPr>
            <p:cNvGrpSpPr/>
            <p:nvPr/>
          </p:nvGrpSpPr>
          <p:grpSpPr>
            <a:xfrm>
              <a:off x="3171428" y="4480396"/>
              <a:ext cx="2623921" cy="166857"/>
              <a:chOff x="3013013" y="5005847"/>
              <a:chExt cx="3130094" cy="938942"/>
            </a:xfrm>
          </p:grpSpPr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097C9AE1-C019-4ECF-9A3D-A604F9CA8C1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42419" y="5005849"/>
                <a:ext cx="688" cy="938940"/>
              </a:xfrm>
              <a:prstGeom prst="line">
                <a:avLst/>
              </a:prstGeom>
              <a:ln>
                <a:solidFill>
                  <a:schemeClr val="accent5"/>
                </a:solidFill>
                <a:prstDash val="sysDot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CC355E85-2FD9-401F-AF69-354C5EE8C0E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013013" y="5005847"/>
                <a:ext cx="688" cy="938939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  <a:prstDash val="sysDot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1DB6B88C-ECB5-4448-BD58-2C51BDCEE0A5}"/>
                </a:ext>
              </a:extLst>
            </p:cNvPr>
            <p:cNvSpPr/>
            <p:nvPr/>
          </p:nvSpPr>
          <p:spPr>
            <a:xfrm>
              <a:off x="1130630" y="1975066"/>
              <a:ext cx="1430256" cy="25391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Planning</a:t>
              </a: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75ECADE8-3103-4B20-BA19-0554069258A4}"/>
                </a:ext>
              </a:extLst>
            </p:cNvPr>
            <p:cNvSpPr/>
            <p:nvPr/>
          </p:nvSpPr>
          <p:spPr>
            <a:xfrm>
              <a:off x="3878800" y="1975066"/>
              <a:ext cx="1199017" cy="25391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Modelling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06935711-88E4-4E58-B4C9-4F9FF8B6A7E7}"/>
                </a:ext>
              </a:extLst>
            </p:cNvPr>
            <p:cNvSpPr/>
            <p:nvPr/>
          </p:nvSpPr>
          <p:spPr>
            <a:xfrm>
              <a:off x="5969299" y="1975066"/>
              <a:ext cx="2303441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prstClr val="black"/>
                  </a:solidFill>
                </a:rPr>
                <a:t>Validation</a:t>
              </a: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3D0E0F0B-E0A5-4F35-8CFB-F5AB6D6FB554}"/>
                </a:ext>
              </a:extLst>
            </p:cNvPr>
            <p:cNvSpPr/>
            <p:nvPr/>
          </p:nvSpPr>
          <p:spPr>
            <a:xfrm>
              <a:off x="2450028" y="4645728"/>
              <a:ext cx="1430256" cy="25391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Exploration</a:t>
              </a: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C1EA8D65-1C1C-4350-95E1-07A4491AF15C}"/>
                </a:ext>
              </a:extLst>
            </p:cNvPr>
            <p:cNvSpPr/>
            <p:nvPr/>
          </p:nvSpPr>
          <p:spPr>
            <a:xfrm>
              <a:off x="4656148" y="4645728"/>
              <a:ext cx="2303441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prstClr val="black"/>
                  </a:solidFill>
                </a:rPr>
                <a:t>Engineering</a:t>
              </a:r>
            </a:p>
          </p:txBody>
        </p:sp>
        <p:sp>
          <p:nvSpPr>
            <p:cNvPr id="226" name="Hexagon 58">
              <a:extLst>
                <a:ext uri="{FF2B5EF4-FFF2-40B4-BE49-F238E27FC236}">
                  <a16:creationId xmlns:a16="http://schemas.microsoft.com/office/drawing/2014/main" id="{4608056B-4104-4663-94D5-07B238D0A2C6}"/>
                </a:ext>
              </a:extLst>
            </p:cNvPr>
            <p:cNvSpPr/>
            <p:nvPr/>
          </p:nvSpPr>
          <p:spPr bwMode="gray">
            <a:xfrm rot="16200000">
              <a:off x="1705714" y="3207830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7" name="Hexagon 58">
              <a:extLst>
                <a:ext uri="{FF2B5EF4-FFF2-40B4-BE49-F238E27FC236}">
                  <a16:creationId xmlns:a16="http://schemas.microsoft.com/office/drawing/2014/main" id="{7FEDA1E9-9025-4222-8B3E-007DABE933E3}"/>
                </a:ext>
              </a:extLst>
            </p:cNvPr>
            <p:cNvSpPr/>
            <p:nvPr/>
          </p:nvSpPr>
          <p:spPr bwMode="gray">
            <a:xfrm rot="16200000">
              <a:off x="4328679" y="3203292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8" name="Hexagon 58">
              <a:extLst>
                <a:ext uri="{FF2B5EF4-FFF2-40B4-BE49-F238E27FC236}">
                  <a16:creationId xmlns:a16="http://schemas.microsoft.com/office/drawing/2014/main" id="{341DB174-C2B6-4609-9BEA-1A41A014DFF6}"/>
                </a:ext>
              </a:extLst>
            </p:cNvPr>
            <p:cNvSpPr/>
            <p:nvPr/>
          </p:nvSpPr>
          <p:spPr bwMode="gray">
            <a:xfrm rot="16200000">
              <a:off x="6951643" y="3198754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9" name="Hexagon 58">
              <a:extLst>
                <a:ext uri="{FF2B5EF4-FFF2-40B4-BE49-F238E27FC236}">
                  <a16:creationId xmlns:a16="http://schemas.microsoft.com/office/drawing/2014/main" id="{F2AE54A5-748B-45B5-8772-7F29C09500DB}"/>
                </a:ext>
              </a:extLst>
            </p:cNvPr>
            <p:cNvSpPr/>
            <p:nvPr/>
          </p:nvSpPr>
          <p:spPr bwMode="gray">
            <a:xfrm rot="5400000" flipV="1">
              <a:off x="5637999" y="2538012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0" name="Hexagon 58">
              <a:extLst>
                <a:ext uri="{FF2B5EF4-FFF2-40B4-BE49-F238E27FC236}">
                  <a16:creationId xmlns:a16="http://schemas.microsoft.com/office/drawing/2014/main" id="{71248B5A-4534-4A22-B526-3476100187D4}"/>
                </a:ext>
              </a:extLst>
            </p:cNvPr>
            <p:cNvSpPr/>
            <p:nvPr/>
          </p:nvSpPr>
          <p:spPr bwMode="gray">
            <a:xfrm rot="5400000" flipV="1">
              <a:off x="3029004" y="2551314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1" name="Hexagon 10">
              <a:extLst>
                <a:ext uri="{FF2B5EF4-FFF2-40B4-BE49-F238E27FC236}">
                  <a16:creationId xmlns:a16="http://schemas.microsoft.com/office/drawing/2014/main" id="{CC251BAF-13A4-4ECA-A47E-A0853474ED72}"/>
                </a:ext>
              </a:extLst>
            </p:cNvPr>
            <p:cNvSpPr/>
            <p:nvPr/>
          </p:nvSpPr>
          <p:spPr bwMode="gray">
            <a:xfrm rot="5400000" flipH="1">
              <a:off x="7768866" y="3231415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2" name="Hexagon 231">
              <a:extLst>
                <a:ext uri="{FF2B5EF4-FFF2-40B4-BE49-F238E27FC236}">
                  <a16:creationId xmlns:a16="http://schemas.microsoft.com/office/drawing/2014/main" id="{2EF3E5C7-1C8A-47E8-8105-E633AC406B0F}"/>
                </a:ext>
              </a:extLst>
            </p:cNvPr>
            <p:cNvSpPr/>
            <p:nvPr/>
          </p:nvSpPr>
          <p:spPr bwMode="gray">
            <a:xfrm rot="16200000">
              <a:off x="7871711" y="3328631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3F6ADF69-A80C-40A4-9F54-E20D16DB37A7}"/>
                </a:ext>
              </a:extLst>
            </p:cNvPr>
            <p:cNvSpPr/>
            <p:nvPr/>
          </p:nvSpPr>
          <p:spPr>
            <a:xfrm>
              <a:off x="7279316" y="4659431"/>
              <a:ext cx="2303441" cy="25391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Deployment</a:t>
              </a:r>
            </a:p>
          </p:txBody>
        </p:sp>
        <p:sp>
          <p:nvSpPr>
            <p:cNvPr id="236" name="Hexagon 58">
              <a:extLst>
                <a:ext uri="{FF2B5EF4-FFF2-40B4-BE49-F238E27FC236}">
                  <a16:creationId xmlns:a16="http://schemas.microsoft.com/office/drawing/2014/main" id="{47E1E454-6BC6-4FE5-A45F-0AAE081AFE7A}"/>
                </a:ext>
              </a:extLst>
            </p:cNvPr>
            <p:cNvSpPr/>
            <p:nvPr/>
          </p:nvSpPr>
          <p:spPr bwMode="gray">
            <a:xfrm rot="5400000" flipV="1">
              <a:off x="8261167" y="2551715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F0AD7F1F-DECA-4AA0-953E-372CA19338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25800" y="4480396"/>
              <a:ext cx="577" cy="166857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myP_Server">
              <a:extLst>
                <a:ext uri="{FF2B5EF4-FFF2-40B4-BE49-F238E27FC236}">
                  <a16:creationId xmlns:a16="http://schemas.microsoft.com/office/drawing/2014/main" id="{9B40E6A5-1B02-42DD-9A18-9A5F72D94E4A}"/>
                </a:ext>
              </a:extLst>
            </p:cNvPr>
            <p:cNvGrpSpPr/>
            <p:nvPr/>
          </p:nvGrpSpPr>
          <p:grpSpPr>
            <a:xfrm>
              <a:off x="3030897" y="3670257"/>
              <a:ext cx="355758" cy="354868"/>
              <a:chOff x="4972448" y="2995216"/>
              <a:chExt cx="533564" cy="532230"/>
            </a:xfrm>
            <a:solidFill>
              <a:schemeClr val="bg1"/>
            </a:solidFill>
          </p:grpSpPr>
          <p:sp>
            <p:nvSpPr>
              <p:cNvPr id="98" name="Freeform 619">
                <a:extLst>
                  <a:ext uri="{FF2B5EF4-FFF2-40B4-BE49-F238E27FC236}">
                    <a16:creationId xmlns:a16="http://schemas.microsoft.com/office/drawing/2014/main" id="{075E3DA4-0DFF-4CFA-A8A9-971D98F0E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448" y="2995216"/>
                <a:ext cx="344149" cy="125387"/>
              </a:xfrm>
              <a:custGeom>
                <a:avLst/>
                <a:gdLst>
                  <a:gd name="T0" fmla="*/ 22 w 297"/>
                  <a:gd name="T1" fmla="*/ 81 h 108"/>
                  <a:gd name="T2" fmla="*/ 45 w 297"/>
                  <a:gd name="T3" fmla="*/ 91 h 108"/>
                  <a:gd name="T4" fmla="*/ 54 w 297"/>
                  <a:gd name="T5" fmla="*/ 95 h 108"/>
                  <a:gd name="T6" fmla="*/ 74 w 297"/>
                  <a:gd name="T7" fmla="*/ 100 h 108"/>
                  <a:gd name="T8" fmla="*/ 85 w 297"/>
                  <a:gd name="T9" fmla="*/ 102 h 108"/>
                  <a:gd name="T10" fmla="*/ 97 w 297"/>
                  <a:gd name="T11" fmla="*/ 104 h 108"/>
                  <a:gd name="T12" fmla="*/ 109 w 297"/>
                  <a:gd name="T13" fmla="*/ 105 h 108"/>
                  <a:gd name="T14" fmla="*/ 122 w 297"/>
                  <a:gd name="T15" fmla="*/ 107 h 108"/>
                  <a:gd name="T16" fmla="*/ 136 w 297"/>
                  <a:gd name="T17" fmla="*/ 107 h 108"/>
                  <a:gd name="T18" fmla="*/ 161 w 297"/>
                  <a:gd name="T19" fmla="*/ 107 h 108"/>
                  <a:gd name="T20" fmla="*/ 174 w 297"/>
                  <a:gd name="T21" fmla="*/ 107 h 108"/>
                  <a:gd name="T22" fmla="*/ 188 w 297"/>
                  <a:gd name="T23" fmla="*/ 105 h 108"/>
                  <a:gd name="T24" fmla="*/ 200 w 297"/>
                  <a:gd name="T25" fmla="*/ 104 h 108"/>
                  <a:gd name="T26" fmla="*/ 211 w 297"/>
                  <a:gd name="T27" fmla="*/ 102 h 108"/>
                  <a:gd name="T28" fmla="*/ 223 w 297"/>
                  <a:gd name="T29" fmla="*/ 100 h 108"/>
                  <a:gd name="T30" fmla="*/ 243 w 297"/>
                  <a:gd name="T31" fmla="*/ 95 h 108"/>
                  <a:gd name="T32" fmla="*/ 252 w 297"/>
                  <a:gd name="T33" fmla="*/ 91 h 108"/>
                  <a:gd name="T34" fmla="*/ 275 w 297"/>
                  <a:gd name="T35" fmla="*/ 81 h 108"/>
                  <a:gd name="T36" fmla="*/ 297 w 297"/>
                  <a:gd name="T37" fmla="*/ 54 h 108"/>
                  <a:gd name="T38" fmla="*/ 275 w 297"/>
                  <a:gd name="T39" fmla="*/ 27 h 108"/>
                  <a:gd name="T40" fmla="*/ 252 w 297"/>
                  <a:gd name="T41" fmla="*/ 16 h 108"/>
                  <a:gd name="T42" fmla="*/ 243 w 297"/>
                  <a:gd name="T43" fmla="*/ 13 h 108"/>
                  <a:gd name="T44" fmla="*/ 223 w 297"/>
                  <a:gd name="T45" fmla="*/ 8 h 108"/>
                  <a:gd name="T46" fmla="*/ 211 w 297"/>
                  <a:gd name="T47" fmla="*/ 5 h 108"/>
                  <a:gd name="T48" fmla="*/ 200 w 297"/>
                  <a:gd name="T49" fmla="*/ 4 h 108"/>
                  <a:gd name="T50" fmla="*/ 188 w 297"/>
                  <a:gd name="T51" fmla="*/ 2 h 108"/>
                  <a:gd name="T52" fmla="*/ 174 w 297"/>
                  <a:gd name="T53" fmla="*/ 1 h 108"/>
                  <a:gd name="T54" fmla="*/ 161 w 297"/>
                  <a:gd name="T55" fmla="*/ 0 h 108"/>
                  <a:gd name="T56" fmla="*/ 136 w 297"/>
                  <a:gd name="T57" fmla="*/ 0 h 108"/>
                  <a:gd name="T58" fmla="*/ 122 w 297"/>
                  <a:gd name="T59" fmla="*/ 1 h 108"/>
                  <a:gd name="T60" fmla="*/ 109 w 297"/>
                  <a:gd name="T61" fmla="*/ 2 h 108"/>
                  <a:gd name="T62" fmla="*/ 97 w 297"/>
                  <a:gd name="T63" fmla="*/ 4 h 108"/>
                  <a:gd name="T64" fmla="*/ 85 w 297"/>
                  <a:gd name="T65" fmla="*/ 5 h 108"/>
                  <a:gd name="T66" fmla="*/ 74 w 297"/>
                  <a:gd name="T67" fmla="*/ 8 h 108"/>
                  <a:gd name="T68" fmla="*/ 54 w 297"/>
                  <a:gd name="T69" fmla="*/ 13 h 108"/>
                  <a:gd name="T70" fmla="*/ 45 w 297"/>
                  <a:gd name="T71" fmla="*/ 16 h 108"/>
                  <a:gd name="T72" fmla="*/ 22 w 297"/>
                  <a:gd name="T73" fmla="*/ 27 h 108"/>
                  <a:gd name="T74" fmla="*/ 4 w 297"/>
                  <a:gd name="T75" fmla="*/ 43 h 108"/>
                  <a:gd name="T76" fmla="*/ 0 w 297"/>
                  <a:gd name="T77" fmla="*/ 54 h 108"/>
                  <a:gd name="T78" fmla="*/ 22 w 297"/>
                  <a:gd name="T79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7" h="108">
                    <a:moveTo>
                      <a:pt x="22" y="81"/>
                    </a:moveTo>
                    <a:cubicBezTo>
                      <a:pt x="22" y="81"/>
                      <a:pt x="22" y="81"/>
                      <a:pt x="22" y="81"/>
                    </a:cubicBezTo>
                    <a:cubicBezTo>
                      <a:pt x="28" y="85"/>
                      <a:pt x="35" y="88"/>
                      <a:pt x="44" y="91"/>
                    </a:cubicBezTo>
                    <a:cubicBezTo>
                      <a:pt x="44" y="91"/>
                      <a:pt x="44" y="91"/>
                      <a:pt x="45" y="91"/>
                    </a:cubicBezTo>
                    <a:cubicBezTo>
                      <a:pt x="47" y="92"/>
                      <a:pt x="50" y="93"/>
                      <a:pt x="53" y="94"/>
                    </a:cubicBezTo>
                    <a:cubicBezTo>
                      <a:pt x="53" y="94"/>
                      <a:pt x="53" y="94"/>
                      <a:pt x="54" y="95"/>
                    </a:cubicBezTo>
                    <a:cubicBezTo>
                      <a:pt x="60" y="96"/>
                      <a:pt x="66" y="98"/>
                      <a:pt x="73" y="100"/>
                    </a:cubicBezTo>
                    <a:cubicBezTo>
                      <a:pt x="73" y="100"/>
                      <a:pt x="73" y="100"/>
                      <a:pt x="74" y="100"/>
                    </a:cubicBezTo>
                    <a:cubicBezTo>
                      <a:pt x="77" y="101"/>
                      <a:pt x="80" y="101"/>
                      <a:pt x="84" y="102"/>
                    </a:cubicBezTo>
                    <a:cubicBezTo>
                      <a:pt x="84" y="102"/>
                      <a:pt x="85" y="102"/>
                      <a:pt x="85" y="102"/>
                    </a:cubicBezTo>
                    <a:cubicBezTo>
                      <a:pt x="89" y="103"/>
                      <a:pt x="92" y="103"/>
                      <a:pt x="96" y="104"/>
                    </a:cubicBezTo>
                    <a:cubicBezTo>
                      <a:pt x="96" y="104"/>
                      <a:pt x="96" y="104"/>
                      <a:pt x="97" y="104"/>
                    </a:cubicBezTo>
                    <a:cubicBezTo>
                      <a:pt x="100" y="105"/>
                      <a:pt x="104" y="105"/>
                      <a:pt x="107" y="105"/>
                    </a:cubicBezTo>
                    <a:cubicBezTo>
                      <a:pt x="108" y="105"/>
                      <a:pt x="108" y="105"/>
                      <a:pt x="109" y="105"/>
                    </a:cubicBezTo>
                    <a:cubicBezTo>
                      <a:pt x="112" y="106"/>
                      <a:pt x="116" y="106"/>
                      <a:pt x="120" y="106"/>
                    </a:cubicBezTo>
                    <a:cubicBezTo>
                      <a:pt x="121" y="107"/>
                      <a:pt x="121" y="107"/>
                      <a:pt x="122" y="107"/>
                    </a:cubicBezTo>
                    <a:cubicBezTo>
                      <a:pt x="126" y="107"/>
                      <a:pt x="130" y="107"/>
                      <a:pt x="134" y="107"/>
                    </a:cubicBezTo>
                    <a:cubicBezTo>
                      <a:pt x="134" y="107"/>
                      <a:pt x="135" y="107"/>
                      <a:pt x="136" y="107"/>
                    </a:cubicBezTo>
                    <a:cubicBezTo>
                      <a:pt x="140" y="107"/>
                      <a:pt x="144" y="108"/>
                      <a:pt x="148" y="108"/>
                    </a:cubicBezTo>
                    <a:cubicBezTo>
                      <a:pt x="153" y="108"/>
                      <a:pt x="157" y="107"/>
                      <a:pt x="161" y="107"/>
                    </a:cubicBezTo>
                    <a:cubicBezTo>
                      <a:pt x="161" y="107"/>
                      <a:pt x="162" y="107"/>
                      <a:pt x="163" y="107"/>
                    </a:cubicBezTo>
                    <a:cubicBezTo>
                      <a:pt x="167" y="107"/>
                      <a:pt x="171" y="107"/>
                      <a:pt x="174" y="107"/>
                    </a:cubicBezTo>
                    <a:cubicBezTo>
                      <a:pt x="175" y="107"/>
                      <a:pt x="176" y="107"/>
                      <a:pt x="177" y="106"/>
                    </a:cubicBezTo>
                    <a:cubicBezTo>
                      <a:pt x="180" y="106"/>
                      <a:pt x="184" y="106"/>
                      <a:pt x="188" y="105"/>
                    </a:cubicBezTo>
                    <a:cubicBezTo>
                      <a:pt x="188" y="105"/>
                      <a:pt x="189" y="105"/>
                      <a:pt x="189" y="105"/>
                    </a:cubicBezTo>
                    <a:cubicBezTo>
                      <a:pt x="193" y="105"/>
                      <a:pt x="196" y="105"/>
                      <a:pt x="200" y="104"/>
                    </a:cubicBezTo>
                    <a:cubicBezTo>
                      <a:pt x="200" y="104"/>
                      <a:pt x="200" y="104"/>
                      <a:pt x="201" y="104"/>
                    </a:cubicBezTo>
                    <a:cubicBezTo>
                      <a:pt x="204" y="103"/>
                      <a:pt x="208" y="103"/>
                      <a:pt x="211" y="102"/>
                    </a:cubicBezTo>
                    <a:cubicBezTo>
                      <a:pt x="212" y="102"/>
                      <a:pt x="212" y="102"/>
                      <a:pt x="213" y="102"/>
                    </a:cubicBezTo>
                    <a:cubicBezTo>
                      <a:pt x="216" y="101"/>
                      <a:pt x="220" y="101"/>
                      <a:pt x="223" y="100"/>
                    </a:cubicBezTo>
                    <a:cubicBezTo>
                      <a:pt x="223" y="100"/>
                      <a:pt x="224" y="100"/>
                      <a:pt x="224" y="100"/>
                    </a:cubicBezTo>
                    <a:cubicBezTo>
                      <a:pt x="231" y="98"/>
                      <a:pt x="237" y="96"/>
                      <a:pt x="243" y="95"/>
                    </a:cubicBezTo>
                    <a:cubicBezTo>
                      <a:pt x="243" y="94"/>
                      <a:pt x="243" y="94"/>
                      <a:pt x="244" y="94"/>
                    </a:cubicBezTo>
                    <a:cubicBezTo>
                      <a:pt x="247" y="93"/>
                      <a:pt x="249" y="92"/>
                      <a:pt x="252" y="91"/>
                    </a:cubicBezTo>
                    <a:cubicBezTo>
                      <a:pt x="252" y="91"/>
                      <a:pt x="253" y="91"/>
                      <a:pt x="253" y="91"/>
                    </a:cubicBezTo>
                    <a:cubicBezTo>
                      <a:pt x="261" y="88"/>
                      <a:pt x="269" y="85"/>
                      <a:pt x="275" y="81"/>
                    </a:cubicBezTo>
                    <a:cubicBezTo>
                      <a:pt x="275" y="81"/>
                      <a:pt x="275" y="81"/>
                      <a:pt x="275" y="81"/>
                    </a:cubicBezTo>
                    <a:cubicBezTo>
                      <a:pt x="289" y="72"/>
                      <a:pt x="297" y="63"/>
                      <a:pt x="297" y="54"/>
                    </a:cubicBezTo>
                    <a:cubicBezTo>
                      <a:pt x="297" y="45"/>
                      <a:pt x="289" y="35"/>
                      <a:pt x="275" y="27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69" y="23"/>
                      <a:pt x="261" y="20"/>
                      <a:pt x="253" y="16"/>
                    </a:cubicBezTo>
                    <a:cubicBezTo>
                      <a:pt x="253" y="16"/>
                      <a:pt x="252" y="16"/>
                      <a:pt x="252" y="16"/>
                    </a:cubicBezTo>
                    <a:cubicBezTo>
                      <a:pt x="249" y="15"/>
                      <a:pt x="247" y="14"/>
                      <a:pt x="244" y="13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7" y="11"/>
                      <a:pt x="231" y="9"/>
                      <a:pt x="224" y="8"/>
                    </a:cubicBezTo>
                    <a:cubicBezTo>
                      <a:pt x="224" y="8"/>
                      <a:pt x="223" y="8"/>
                      <a:pt x="223" y="8"/>
                    </a:cubicBezTo>
                    <a:cubicBezTo>
                      <a:pt x="220" y="7"/>
                      <a:pt x="216" y="6"/>
                      <a:pt x="213" y="6"/>
                    </a:cubicBezTo>
                    <a:cubicBezTo>
                      <a:pt x="212" y="6"/>
                      <a:pt x="212" y="5"/>
                      <a:pt x="211" y="5"/>
                    </a:cubicBezTo>
                    <a:cubicBezTo>
                      <a:pt x="208" y="5"/>
                      <a:pt x="204" y="4"/>
                      <a:pt x="201" y="4"/>
                    </a:cubicBezTo>
                    <a:cubicBezTo>
                      <a:pt x="200" y="4"/>
                      <a:pt x="200" y="4"/>
                      <a:pt x="200" y="4"/>
                    </a:cubicBezTo>
                    <a:cubicBezTo>
                      <a:pt x="196" y="3"/>
                      <a:pt x="193" y="3"/>
                      <a:pt x="189" y="2"/>
                    </a:cubicBezTo>
                    <a:cubicBezTo>
                      <a:pt x="189" y="2"/>
                      <a:pt x="188" y="2"/>
                      <a:pt x="188" y="2"/>
                    </a:cubicBezTo>
                    <a:cubicBezTo>
                      <a:pt x="184" y="2"/>
                      <a:pt x="180" y="1"/>
                      <a:pt x="177" y="1"/>
                    </a:cubicBezTo>
                    <a:cubicBezTo>
                      <a:pt x="176" y="1"/>
                      <a:pt x="175" y="1"/>
                      <a:pt x="174" y="1"/>
                    </a:cubicBezTo>
                    <a:cubicBezTo>
                      <a:pt x="171" y="1"/>
                      <a:pt x="167" y="0"/>
                      <a:pt x="163" y="0"/>
                    </a:cubicBezTo>
                    <a:cubicBezTo>
                      <a:pt x="162" y="0"/>
                      <a:pt x="161" y="0"/>
                      <a:pt x="161" y="0"/>
                    </a:cubicBezTo>
                    <a:cubicBezTo>
                      <a:pt x="157" y="0"/>
                      <a:pt x="153" y="0"/>
                      <a:pt x="148" y="0"/>
                    </a:cubicBezTo>
                    <a:cubicBezTo>
                      <a:pt x="144" y="0"/>
                      <a:pt x="140" y="0"/>
                      <a:pt x="136" y="0"/>
                    </a:cubicBezTo>
                    <a:cubicBezTo>
                      <a:pt x="135" y="0"/>
                      <a:pt x="134" y="0"/>
                      <a:pt x="134" y="0"/>
                    </a:cubicBezTo>
                    <a:cubicBezTo>
                      <a:pt x="130" y="0"/>
                      <a:pt x="126" y="1"/>
                      <a:pt x="122" y="1"/>
                    </a:cubicBezTo>
                    <a:cubicBezTo>
                      <a:pt x="121" y="1"/>
                      <a:pt x="121" y="1"/>
                      <a:pt x="120" y="1"/>
                    </a:cubicBezTo>
                    <a:cubicBezTo>
                      <a:pt x="116" y="1"/>
                      <a:pt x="112" y="2"/>
                      <a:pt x="109" y="2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04" y="3"/>
                      <a:pt x="100" y="3"/>
                      <a:pt x="97" y="4"/>
                    </a:cubicBezTo>
                    <a:cubicBezTo>
                      <a:pt x="96" y="4"/>
                      <a:pt x="96" y="4"/>
                      <a:pt x="96" y="4"/>
                    </a:cubicBezTo>
                    <a:cubicBezTo>
                      <a:pt x="92" y="4"/>
                      <a:pt x="89" y="5"/>
                      <a:pt x="85" y="5"/>
                    </a:cubicBezTo>
                    <a:cubicBezTo>
                      <a:pt x="85" y="5"/>
                      <a:pt x="84" y="6"/>
                      <a:pt x="84" y="6"/>
                    </a:cubicBezTo>
                    <a:cubicBezTo>
                      <a:pt x="80" y="6"/>
                      <a:pt x="77" y="7"/>
                      <a:pt x="74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66" y="9"/>
                      <a:pt x="60" y="11"/>
                      <a:pt x="54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0" y="14"/>
                      <a:pt x="47" y="15"/>
                      <a:pt x="45" y="16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35" y="20"/>
                      <a:pt x="28" y="23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13" y="32"/>
                      <a:pt x="7" y="37"/>
                      <a:pt x="4" y="43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1" y="46"/>
                      <a:pt x="0" y="50"/>
                      <a:pt x="0" y="54"/>
                    </a:cubicBezTo>
                    <a:cubicBezTo>
                      <a:pt x="0" y="57"/>
                      <a:pt x="1" y="61"/>
                      <a:pt x="3" y="65"/>
                    </a:cubicBezTo>
                    <a:cubicBezTo>
                      <a:pt x="7" y="70"/>
                      <a:pt x="13" y="76"/>
                      <a:pt x="22" y="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620">
                <a:extLst>
                  <a:ext uri="{FF2B5EF4-FFF2-40B4-BE49-F238E27FC236}">
                    <a16:creationId xmlns:a16="http://schemas.microsoft.com/office/drawing/2014/main" id="{163E925F-D17A-4792-922A-A65FA851B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877" y="3291343"/>
                <a:ext cx="90706" cy="90706"/>
              </a:xfrm>
              <a:custGeom>
                <a:avLst/>
                <a:gdLst>
                  <a:gd name="T0" fmla="*/ 65 w 78"/>
                  <a:gd name="T1" fmla="*/ 52 h 78"/>
                  <a:gd name="T2" fmla="*/ 26 w 78"/>
                  <a:gd name="T3" fmla="*/ 13 h 78"/>
                  <a:gd name="T4" fmla="*/ 13 w 78"/>
                  <a:gd name="T5" fmla="*/ 0 h 78"/>
                  <a:gd name="T6" fmla="*/ 0 w 78"/>
                  <a:gd name="T7" fmla="*/ 13 h 78"/>
                  <a:gd name="T8" fmla="*/ 65 w 78"/>
                  <a:gd name="T9" fmla="*/ 78 h 78"/>
                  <a:gd name="T10" fmla="*/ 78 w 78"/>
                  <a:gd name="T11" fmla="*/ 65 h 78"/>
                  <a:gd name="T12" fmla="*/ 65 w 78"/>
                  <a:gd name="T13" fmla="*/ 5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78">
                    <a:moveTo>
                      <a:pt x="65" y="52"/>
                    </a:moveTo>
                    <a:cubicBezTo>
                      <a:pt x="44" y="52"/>
                      <a:pt x="26" y="34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49"/>
                      <a:pt x="29" y="78"/>
                      <a:pt x="65" y="78"/>
                    </a:cubicBezTo>
                    <a:cubicBezTo>
                      <a:pt x="72" y="78"/>
                      <a:pt x="78" y="72"/>
                      <a:pt x="78" y="65"/>
                    </a:cubicBezTo>
                    <a:cubicBezTo>
                      <a:pt x="78" y="58"/>
                      <a:pt x="72" y="52"/>
                      <a:pt x="6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Oval 621">
                <a:extLst>
                  <a:ext uri="{FF2B5EF4-FFF2-40B4-BE49-F238E27FC236}">
                    <a16:creationId xmlns:a16="http://schemas.microsoft.com/office/drawing/2014/main" id="{4CF9EE24-0E4F-47B8-9FDC-34D8FF11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0547" y="3253994"/>
                <a:ext cx="32014" cy="2934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622">
                <a:extLst>
                  <a:ext uri="{FF2B5EF4-FFF2-40B4-BE49-F238E27FC236}">
                    <a16:creationId xmlns:a16="http://schemas.microsoft.com/office/drawing/2014/main" id="{C6A6DC49-10A5-45D6-8E0C-0BFE0F7570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2448" y="3091257"/>
                <a:ext cx="533564" cy="436189"/>
              </a:xfrm>
              <a:custGeom>
                <a:avLst/>
                <a:gdLst>
                  <a:gd name="T0" fmla="*/ 384 w 460"/>
                  <a:gd name="T1" fmla="*/ 180 h 378"/>
                  <a:gd name="T2" fmla="*/ 297 w 460"/>
                  <a:gd name="T3" fmla="*/ 0 h 378"/>
                  <a:gd name="T4" fmla="*/ 244 w 460"/>
                  <a:gd name="T5" fmla="*/ 41 h 378"/>
                  <a:gd name="T6" fmla="*/ 211 w 460"/>
                  <a:gd name="T7" fmla="*/ 49 h 378"/>
                  <a:gd name="T8" fmla="*/ 177 w 460"/>
                  <a:gd name="T9" fmla="*/ 53 h 378"/>
                  <a:gd name="T10" fmla="*/ 136 w 460"/>
                  <a:gd name="T11" fmla="*/ 54 h 378"/>
                  <a:gd name="T12" fmla="*/ 107 w 460"/>
                  <a:gd name="T13" fmla="*/ 52 h 378"/>
                  <a:gd name="T14" fmla="*/ 74 w 460"/>
                  <a:gd name="T15" fmla="*/ 46 h 378"/>
                  <a:gd name="T16" fmla="*/ 44 w 460"/>
                  <a:gd name="T17" fmla="*/ 37 h 378"/>
                  <a:gd name="T18" fmla="*/ 0 w 460"/>
                  <a:gd name="T19" fmla="*/ 54 h 378"/>
                  <a:gd name="T20" fmla="*/ 44 w 460"/>
                  <a:gd name="T21" fmla="*/ 91 h 378"/>
                  <a:gd name="T22" fmla="*/ 74 w 460"/>
                  <a:gd name="T23" fmla="*/ 100 h 378"/>
                  <a:gd name="T24" fmla="*/ 107 w 460"/>
                  <a:gd name="T25" fmla="*/ 105 h 378"/>
                  <a:gd name="T26" fmla="*/ 136 w 460"/>
                  <a:gd name="T27" fmla="*/ 107 h 378"/>
                  <a:gd name="T28" fmla="*/ 166 w 460"/>
                  <a:gd name="T29" fmla="*/ 107 h 378"/>
                  <a:gd name="T30" fmla="*/ 134 w 460"/>
                  <a:gd name="T31" fmla="*/ 136 h 378"/>
                  <a:gd name="T32" fmla="*/ 97 w 460"/>
                  <a:gd name="T33" fmla="*/ 132 h 378"/>
                  <a:gd name="T34" fmla="*/ 73 w 460"/>
                  <a:gd name="T35" fmla="*/ 128 h 378"/>
                  <a:gd name="T36" fmla="*/ 22 w 460"/>
                  <a:gd name="T37" fmla="*/ 109 h 378"/>
                  <a:gd name="T38" fmla="*/ 0 w 460"/>
                  <a:gd name="T39" fmla="*/ 136 h 378"/>
                  <a:gd name="T40" fmla="*/ 45 w 460"/>
                  <a:gd name="T41" fmla="*/ 174 h 378"/>
                  <a:gd name="T42" fmla="*/ 84 w 460"/>
                  <a:gd name="T43" fmla="*/ 184 h 378"/>
                  <a:gd name="T44" fmla="*/ 109 w 460"/>
                  <a:gd name="T45" fmla="*/ 188 h 378"/>
                  <a:gd name="T46" fmla="*/ 142 w 460"/>
                  <a:gd name="T47" fmla="*/ 190 h 378"/>
                  <a:gd name="T48" fmla="*/ 120 w 460"/>
                  <a:gd name="T49" fmla="*/ 217 h 378"/>
                  <a:gd name="T50" fmla="*/ 85 w 460"/>
                  <a:gd name="T51" fmla="*/ 213 h 378"/>
                  <a:gd name="T52" fmla="*/ 53 w 460"/>
                  <a:gd name="T53" fmla="*/ 205 h 378"/>
                  <a:gd name="T54" fmla="*/ 3 w 460"/>
                  <a:gd name="T55" fmla="*/ 175 h 378"/>
                  <a:gd name="T56" fmla="*/ 22 w 460"/>
                  <a:gd name="T57" fmla="*/ 245 h 378"/>
                  <a:gd name="T58" fmla="*/ 54 w 460"/>
                  <a:gd name="T59" fmla="*/ 259 h 378"/>
                  <a:gd name="T60" fmla="*/ 96 w 460"/>
                  <a:gd name="T61" fmla="*/ 268 h 378"/>
                  <a:gd name="T62" fmla="*/ 122 w 460"/>
                  <a:gd name="T63" fmla="*/ 271 h 378"/>
                  <a:gd name="T64" fmla="*/ 163 w 460"/>
                  <a:gd name="T65" fmla="*/ 271 h 378"/>
                  <a:gd name="T66" fmla="*/ 213 w 460"/>
                  <a:gd name="T67" fmla="*/ 294 h 378"/>
                  <a:gd name="T68" fmla="*/ 188 w 460"/>
                  <a:gd name="T69" fmla="*/ 298 h 378"/>
                  <a:gd name="T70" fmla="*/ 148 w 460"/>
                  <a:gd name="T71" fmla="*/ 300 h 378"/>
                  <a:gd name="T72" fmla="*/ 109 w 460"/>
                  <a:gd name="T73" fmla="*/ 298 h 378"/>
                  <a:gd name="T74" fmla="*/ 84 w 460"/>
                  <a:gd name="T75" fmla="*/ 294 h 378"/>
                  <a:gd name="T76" fmla="*/ 45 w 460"/>
                  <a:gd name="T77" fmla="*/ 284 h 378"/>
                  <a:gd name="T78" fmla="*/ 0 w 460"/>
                  <a:gd name="T79" fmla="*/ 246 h 378"/>
                  <a:gd name="T80" fmla="*/ 22 w 460"/>
                  <a:gd name="T81" fmla="*/ 327 h 378"/>
                  <a:gd name="T82" fmla="*/ 73 w 460"/>
                  <a:gd name="T83" fmla="*/ 346 h 378"/>
                  <a:gd name="T84" fmla="*/ 97 w 460"/>
                  <a:gd name="T85" fmla="*/ 350 h 378"/>
                  <a:gd name="T86" fmla="*/ 134 w 460"/>
                  <a:gd name="T87" fmla="*/ 353 h 378"/>
                  <a:gd name="T88" fmla="*/ 174 w 460"/>
                  <a:gd name="T89" fmla="*/ 353 h 378"/>
                  <a:gd name="T90" fmla="*/ 201 w 460"/>
                  <a:gd name="T91" fmla="*/ 350 h 378"/>
                  <a:gd name="T92" fmla="*/ 243 w 460"/>
                  <a:gd name="T93" fmla="*/ 341 h 378"/>
                  <a:gd name="T94" fmla="*/ 275 w 460"/>
                  <a:gd name="T95" fmla="*/ 327 h 378"/>
                  <a:gd name="T96" fmla="*/ 349 w 460"/>
                  <a:gd name="T97" fmla="*/ 291 h 378"/>
                  <a:gd name="T98" fmla="*/ 454 w 460"/>
                  <a:gd name="T99" fmla="*/ 347 h 378"/>
                  <a:gd name="T100" fmla="*/ 358 w 460"/>
                  <a:gd name="T101" fmla="*/ 18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60" h="378">
                    <a:moveTo>
                      <a:pt x="460" y="341"/>
                    </a:moveTo>
                    <a:cubicBezTo>
                      <a:pt x="380" y="260"/>
                      <a:pt x="380" y="260"/>
                      <a:pt x="380" y="260"/>
                    </a:cubicBezTo>
                    <a:cubicBezTo>
                      <a:pt x="374" y="267"/>
                      <a:pt x="374" y="267"/>
                      <a:pt x="374" y="267"/>
                    </a:cubicBezTo>
                    <a:cubicBezTo>
                      <a:pt x="360" y="253"/>
                      <a:pt x="360" y="253"/>
                      <a:pt x="360" y="253"/>
                    </a:cubicBezTo>
                    <a:cubicBezTo>
                      <a:pt x="375" y="233"/>
                      <a:pt x="384" y="207"/>
                      <a:pt x="384" y="180"/>
                    </a:cubicBezTo>
                    <a:cubicBezTo>
                      <a:pt x="384" y="124"/>
                      <a:pt x="346" y="77"/>
                      <a:pt x="294" y="63"/>
                    </a:cubicBezTo>
                    <a:cubicBezTo>
                      <a:pt x="294" y="63"/>
                      <a:pt x="294" y="63"/>
                      <a:pt x="294" y="63"/>
                    </a:cubicBezTo>
                    <a:cubicBezTo>
                      <a:pt x="296" y="60"/>
                      <a:pt x="297" y="57"/>
                      <a:pt x="297" y="54"/>
                    </a:cubicBezTo>
                    <a:cubicBezTo>
                      <a:pt x="297" y="54"/>
                      <a:pt x="297" y="54"/>
                      <a:pt x="297" y="54"/>
                    </a:cubicBezTo>
                    <a:cubicBezTo>
                      <a:pt x="297" y="0"/>
                      <a:pt x="297" y="0"/>
                      <a:pt x="297" y="0"/>
                    </a:cubicBezTo>
                    <a:cubicBezTo>
                      <a:pt x="297" y="9"/>
                      <a:pt x="289" y="19"/>
                      <a:pt x="275" y="27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69" y="31"/>
                      <a:pt x="261" y="34"/>
                      <a:pt x="253" y="37"/>
                    </a:cubicBezTo>
                    <a:cubicBezTo>
                      <a:pt x="253" y="38"/>
                      <a:pt x="252" y="38"/>
                      <a:pt x="252" y="38"/>
                    </a:cubicBezTo>
                    <a:cubicBezTo>
                      <a:pt x="249" y="39"/>
                      <a:pt x="247" y="40"/>
                      <a:pt x="244" y="41"/>
                    </a:cubicBezTo>
                    <a:cubicBezTo>
                      <a:pt x="243" y="41"/>
                      <a:pt x="243" y="41"/>
                      <a:pt x="243" y="41"/>
                    </a:cubicBezTo>
                    <a:cubicBezTo>
                      <a:pt x="237" y="43"/>
                      <a:pt x="231" y="44"/>
                      <a:pt x="224" y="46"/>
                    </a:cubicBezTo>
                    <a:cubicBezTo>
                      <a:pt x="224" y="46"/>
                      <a:pt x="223" y="46"/>
                      <a:pt x="223" y="46"/>
                    </a:cubicBezTo>
                    <a:cubicBezTo>
                      <a:pt x="220" y="47"/>
                      <a:pt x="216" y="48"/>
                      <a:pt x="213" y="48"/>
                    </a:cubicBezTo>
                    <a:cubicBezTo>
                      <a:pt x="212" y="48"/>
                      <a:pt x="212" y="48"/>
                      <a:pt x="211" y="49"/>
                    </a:cubicBezTo>
                    <a:cubicBezTo>
                      <a:pt x="208" y="49"/>
                      <a:pt x="204" y="50"/>
                      <a:pt x="201" y="50"/>
                    </a:cubicBezTo>
                    <a:cubicBezTo>
                      <a:pt x="200" y="50"/>
                      <a:pt x="200" y="50"/>
                      <a:pt x="200" y="50"/>
                    </a:cubicBezTo>
                    <a:cubicBezTo>
                      <a:pt x="196" y="51"/>
                      <a:pt x="193" y="51"/>
                      <a:pt x="189" y="52"/>
                    </a:cubicBezTo>
                    <a:cubicBezTo>
                      <a:pt x="189" y="52"/>
                      <a:pt x="188" y="52"/>
                      <a:pt x="188" y="52"/>
                    </a:cubicBezTo>
                    <a:cubicBezTo>
                      <a:pt x="184" y="52"/>
                      <a:pt x="180" y="53"/>
                      <a:pt x="177" y="53"/>
                    </a:cubicBezTo>
                    <a:cubicBezTo>
                      <a:pt x="176" y="53"/>
                      <a:pt x="175" y="53"/>
                      <a:pt x="174" y="53"/>
                    </a:cubicBezTo>
                    <a:cubicBezTo>
                      <a:pt x="171" y="53"/>
                      <a:pt x="167" y="53"/>
                      <a:pt x="163" y="54"/>
                    </a:cubicBezTo>
                    <a:cubicBezTo>
                      <a:pt x="162" y="54"/>
                      <a:pt x="161" y="54"/>
                      <a:pt x="161" y="54"/>
                    </a:cubicBezTo>
                    <a:cubicBezTo>
                      <a:pt x="157" y="54"/>
                      <a:pt x="153" y="54"/>
                      <a:pt x="148" y="54"/>
                    </a:cubicBezTo>
                    <a:cubicBezTo>
                      <a:pt x="144" y="54"/>
                      <a:pt x="140" y="54"/>
                      <a:pt x="136" y="54"/>
                    </a:cubicBezTo>
                    <a:cubicBezTo>
                      <a:pt x="135" y="54"/>
                      <a:pt x="134" y="54"/>
                      <a:pt x="134" y="54"/>
                    </a:cubicBezTo>
                    <a:cubicBezTo>
                      <a:pt x="130" y="53"/>
                      <a:pt x="126" y="53"/>
                      <a:pt x="122" y="53"/>
                    </a:cubicBezTo>
                    <a:cubicBezTo>
                      <a:pt x="121" y="53"/>
                      <a:pt x="121" y="53"/>
                      <a:pt x="120" y="53"/>
                    </a:cubicBezTo>
                    <a:cubicBezTo>
                      <a:pt x="116" y="53"/>
                      <a:pt x="112" y="52"/>
                      <a:pt x="109" y="52"/>
                    </a:cubicBezTo>
                    <a:cubicBezTo>
                      <a:pt x="108" y="52"/>
                      <a:pt x="108" y="52"/>
                      <a:pt x="107" y="52"/>
                    </a:cubicBezTo>
                    <a:cubicBezTo>
                      <a:pt x="104" y="51"/>
                      <a:pt x="100" y="51"/>
                      <a:pt x="97" y="50"/>
                    </a:cubicBezTo>
                    <a:cubicBezTo>
                      <a:pt x="96" y="50"/>
                      <a:pt x="96" y="50"/>
                      <a:pt x="96" y="50"/>
                    </a:cubicBezTo>
                    <a:cubicBezTo>
                      <a:pt x="92" y="50"/>
                      <a:pt x="89" y="49"/>
                      <a:pt x="85" y="49"/>
                    </a:cubicBezTo>
                    <a:cubicBezTo>
                      <a:pt x="85" y="48"/>
                      <a:pt x="84" y="48"/>
                      <a:pt x="84" y="48"/>
                    </a:cubicBezTo>
                    <a:cubicBezTo>
                      <a:pt x="80" y="48"/>
                      <a:pt x="77" y="47"/>
                      <a:pt x="74" y="46"/>
                    </a:cubicBezTo>
                    <a:cubicBezTo>
                      <a:pt x="73" y="46"/>
                      <a:pt x="73" y="46"/>
                      <a:pt x="73" y="46"/>
                    </a:cubicBezTo>
                    <a:cubicBezTo>
                      <a:pt x="66" y="44"/>
                      <a:pt x="60" y="43"/>
                      <a:pt x="54" y="41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0" y="40"/>
                      <a:pt x="47" y="39"/>
                      <a:pt x="45" y="38"/>
                    </a:cubicBezTo>
                    <a:cubicBezTo>
                      <a:pt x="44" y="38"/>
                      <a:pt x="44" y="38"/>
                      <a:pt x="44" y="37"/>
                    </a:cubicBezTo>
                    <a:cubicBezTo>
                      <a:pt x="35" y="34"/>
                      <a:pt x="28" y="31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13" y="22"/>
                      <a:pt x="7" y="17"/>
                      <a:pt x="3" y="11"/>
                    </a:cubicBezTo>
                    <a:cubicBezTo>
                      <a:pt x="1" y="7"/>
                      <a:pt x="0" y="4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8"/>
                      <a:pt x="1" y="61"/>
                      <a:pt x="3" y="65"/>
                    </a:cubicBezTo>
                    <a:cubicBezTo>
                      <a:pt x="7" y="70"/>
                      <a:pt x="13" y="76"/>
                      <a:pt x="22" y="81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8" y="85"/>
                      <a:pt x="35" y="88"/>
                      <a:pt x="44" y="91"/>
                    </a:cubicBezTo>
                    <a:cubicBezTo>
                      <a:pt x="44" y="91"/>
                      <a:pt x="44" y="91"/>
                      <a:pt x="45" y="91"/>
                    </a:cubicBezTo>
                    <a:cubicBezTo>
                      <a:pt x="47" y="92"/>
                      <a:pt x="50" y="93"/>
                      <a:pt x="53" y="94"/>
                    </a:cubicBezTo>
                    <a:cubicBezTo>
                      <a:pt x="53" y="94"/>
                      <a:pt x="53" y="95"/>
                      <a:pt x="54" y="95"/>
                    </a:cubicBezTo>
                    <a:cubicBezTo>
                      <a:pt x="60" y="96"/>
                      <a:pt x="66" y="98"/>
                      <a:pt x="73" y="100"/>
                    </a:cubicBezTo>
                    <a:cubicBezTo>
                      <a:pt x="73" y="100"/>
                      <a:pt x="73" y="100"/>
                      <a:pt x="74" y="100"/>
                    </a:cubicBezTo>
                    <a:cubicBezTo>
                      <a:pt x="77" y="101"/>
                      <a:pt x="80" y="101"/>
                      <a:pt x="84" y="102"/>
                    </a:cubicBezTo>
                    <a:cubicBezTo>
                      <a:pt x="84" y="102"/>
                      <a:pt x="85" y="102"/>
                      <a:pt x="85" y="102"/>
                    </a:cubicBezTo>
                    <a:cubicBezTo>
                      <a:pt x="89" y="103"/>
                      <a:pt x="92" y="103"/>
                      <a:pt x="96" y="104"/>
                    </a:cubicBezTo>
                    <a:cubicBezTo>
                      <a:pt x="96" y="104"/>
                      <a:pt x="96" y="104"/>
                      <a:pt x="97" y="104"/>
                    </a:cubicBezTo>
                    <a:cubicBezTo>
                      <a:pt x="100" y="105"/>
                      <a:pt x="104" y="105"/>
                      <a:pt x="107" y="105"/>
                    </a:cubicBezTo>
                    <a:cubicBezTo>
                      <a:pt x="108" y="105"/>
                      <a:pt x="108" y="106"/>
                      <a:pt x="109" y="106"/>
                    </a:cubicBezTo>
                    <a:cubicBezTo>
                      <a:pt x="112" y="106"/>
                      <a:pt x="116" y="106"/>
                      <a:pt x="120" y="107"/>
                    </a:cubicBezTo>
                    <a:cubicBezTo>
                      <a:pt x="121" y="107"/>
                      <a:pt x="121" y="107"/>
                      <a:pt x="122" y="107"/>
                    </a:cubicBezTo>
                    <a:cubicBezTo>
                      <a:pt x="126" y="107"/>
                      <a:pt x="130" y="107"/>
                      <a:pt x="134" y="107"/>
                    </a:cubicBezTo>
                    <a:cubicBezTo>
                      <a:pt x="134" y="107"/>
                      <a:pt x="135" y="107"/>
                      <a:pt x="136" y="107"/>
                    </a:cubicBezTo>
                    <a:cubicBezTo>
                      <a:pt x="140" y="107"/>
                      <a:pt x="144" y="108"/>
                      <a:pt x="148" y="108"/>
                    </a:cubicBezTo>
                    <a:cubicBezTo>
                      <a:pt x="153" y="108"/>
                      <a:pt x="157" y="107"/>
                      <a:pt x="161" y="107"/>
                    </a:cubicBezTo>
                    <a:cubicBezTo>
                      <a:pt x="161" y="107"/>
                      <a:pt x="162" y="107"/>
                      <a:pt x="163" y="107"/>
                    </a:cubicBezTo>
                    <a:cubicBezTo>
                      <a:pt x="164" y="107"/>
                      <a:pt x="165" y="107"/>
                      <a:pt x="166" y="107"/>
                    </a:cubicBezTo>
                    <a:cubicBezTo>
                      <a:pt x="166" y="107"/>
                      <a:pt x="166" y="107"/>
                      <a:pt x="166" y="107"/>
                    </a:cubicBezTo>
                    <a:cubicBezTo>
                      <a:pt x="159" y="116"/>
                      <a:pt x="154" y="126"/>
                      <a:pt x="149" y="136"/>
                    </a:cubicBezTo>
                    <a:cubicBezTo>
                      <a:pt x="149" y="136"/>
                      <a:pt x="149" y="136"/>
                      <a:pt x="149" y="136"/>
                    </a:cubicBezTo>
                    <a:cubicBezTo>
                      <a:pt x="149" y="136"/>
                      <a:pt x="149" y="136"/>
                      <a:pt x="148" y="136"/>
                    </a:cubicBezTo>
                    <a:cubicBezTo>
                      <a:pt x="144" y="136"/>
                      <a:pt x="140" y="136"/>
                      <a:pt x="136" y="136"/>
                    </a:cubicBezTo>
                    <a:cubicBezTo>
                      <a:pt x="135" y="136"/>
                      <a:pt x="134" y="136"/>
                      <a:pt x="134" y="136"/>
                    </a:cubicBezTo>
                    <a:cubicBezTo>
                      <a:pt x="130" y="135"/>
                      <a:pt x="126" y="135"/>
                      <a:pt x="122" y="135"/>
                    </a:cubicBezTo>
                    <a:cubicBezTo>
                      <a:pt x="121" y="135"/>
                      <a:pt x="121" y="135"/>
                      <a:pt x="120" y="135"/>
                    </a:cubicBezTo>
                    <a:cubicBezTo>
                      <a:pt x="116" y="135"/>
                      <a:pt x="112" y="134"/>
                      <a:pt x="109" y="134"/>
                    </a:cubicBezTo>
                    <a:cubicBezTo>
                      <a:pt x="108" y="134"/>
                      <a:pt x="108" y="134"/>
                      <a:pt x="107" y="134"/>
                    </a:cubicBezTo>
                    <a:cubicBezTo>
                      <a:pt x="104" y="133"/>
                      <a:pt x="100" y="133"/>
                      <a:pt x="97" y="132"/>
                    </a:cubicBezTo>
                    <a:cubicBezTo>
                      <a:pt x="96" y="132"/>
                      <a:pt x="96" y="132"/>
                      <a:pt x="96" y="132"/>
                    </a:cubicBezTo>
                    <a:cubicBezTo>
                      <a:pt x="92" y="132"/>
                      <a:pt x="89" y="131"/>
                      <a:pt x="85" y="131"/>
                    </a:cubicBezTo>
                    <a:cubicBezTo>
                      <a:pt x="85" y="130"/>
                      <a:pt x="84" y="130"/>
                      <a:pt x="84" y="130"/>
                    </a:cubicBezTo>
                    <a:cubicBezTo>
                      <a:pt x="80" y="130"/>
                      <a:pt x="77" y="129"/>
                      <a:pt x="74" y="128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66" y="126"/>
                      <a:pt x="60" y="125"/>
                      <a:pt x="54" y="123"/>
                    </a:cubicBezTo>
                    <a:cubicBezTo>
                      <a:pt x="53" y="123"/>
                      <a:pt x="53" y="123"/>
                      <a:pt x="53" y="123"/>
                    </a:cubicBezTo>
                    <a:cubicBezTo>
                      <a:pt x="50" y="122"/>
                      <a:pt x="47" y="121"/>
                      <a:pt x="45" y="120"/>
                    </a:cubicBezTo>
                    <a:cubicBezTo>
                      <a:pt x="44" y="120"/>
                      <a:pt x="44" y="120"/>
                      <a:pt x="44" y="120"/>
                    </a:cubicBezTo>
                    <a:cubicBezTo>
                      <a:pt x="35" y="116"/>
                      <a:pt x="28" y="113"/>
                      <a:pt x="22" y="109"/>
                    </a:cubicBezTo>
                    <a:cubicBezTo>
                      <a:pt x="22" y="109"/>
                      <a:pt x="22" y="109"/>
                      <a:pt x="22" y="109"/>
                    </a:cubicBezTo>
                    <a:cubicBezTo>
                      <a:pt x="13" y="104"/>
                      <a:pt x="7" y="99"/>
                      <a:pt x="3" y="93"/>
                    </a:cubicBezTo>
                    <a:cubicBezTo>
                      <a:pt x="1" y="90"/>
                      <a:pt x="0" y="86"/>
                      <a:pt x="0" y="82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0" y="140"/>
                      <a:pt x="1" y="143"/>
                      <a:pt x="3" y="147"/>
                    </a:cubicBezTo>
                    <a:cubicBezTo>
                      <a:pt x="7" y="152"/>
                      <a:pt x="13" y="158"/>
                      <a:pt x="22" y="163"/>
                    </a:cubicBezTo>
                    <a:cubicBezTo>
                      <a:pt x="22" y="163"/>
                      <a:pt x="22" y="163"/>
                      <a:pt x="22" y="163"/>
                    </a:cubicBezTo>
                    <a:cubicBezTo>
                      <a:pt x="28" y="167"/>
                      <a:pt x="35" y="170"/>
                      <a:pt x="44" y="173"/>
                    </a:cubicBezTo>
                    <a:cubicBezTo>
                      <a:pt x="44" y="173"/>
                      <a:pt x="44" y="173"/>
                      <a:pt x="45" y="174"/>
                    </a:cubicBezTo>
                    <a:cubicBezTo>
                      <a:pt x="47" y="175"/>
                      <a:pt x="50" y="175"/>
                      <a:pt x="53" y="176"/>
                    </a:cubicBezTo>
                    <a:cubicBezTo>
                      <a:pt x="53" y="177"/>
                      <a:pt x="53" y="177"/>
                      <a:pt x="54" y="177"/>
                    </a:cubicBezTo>
                    <a:cubicBezTo>
                      <a:pt x="60" y="179"/>
                      <a:pt x="66" y="180"/>
                      <a:pt x="73" y="182"/>
                    </a:cubicBezTo>
                    <a:cubicBezTo>
                      <a:pt x="73" y="182"/>
                      <a:pt x="73" y="182"/>
                      <a:pt x="74" y="182"/>
                    </a:cubicBezTo>
                    <a:cubicBezTo>
                      <a:pt x="77" y="183"/>
                      <a:pt x="80" y="183"/>
                      <a:pt x="84" y="184"/>
                    </a:cubicBezTo>
                    <a:cubicBezTo>
                      <a:pt x="84" y="184"/>
                      <a:pt x="85" y="184"/>
                      <a:pt x="85" y="184"/>
                    </a:cubicBezTo>
                    <a:cubicBezTo>
                      <a:pt x="89" y="185"/>
                      <a:pt x="92" y="185"/>
                      <a:pt x="96" y="186"/>
                    </a:cubicBezTo>
                    <a:cubicBezTo>
                      <a:pt x="96" y="186"/>
                      <a:pt x="96" y="186"/>
                      <a:pt x="97" y="186"/>
                    </a:cubicBezTo>
                    <a:cubicBezTo>
                      <a:pt x="100" y="187"/>
                      <a:pt x="104" y="187"/>
                      <a:pt x="107" y="187"/>
                    </a:cubicBezTo>
                    <a:cubicBezTo>
                      <a:pt x="108" y="188"/>
                      <a:pt x="108" y="188"/>
                      <a:pt x="109" y="188"/>
                    </a:cubicBezTo>
                    <a:cubicBezTo>
                      <a:pt x="112" y="188"/>
                      <a:pt x="116" y="188"/>
                      <a:pt x="120" y="189"/>
                    </a:cubicBezTo>
                    <a:cubicBezTo>
                      <a:pt x="121" y="189"/>
                      <a:pt x="121" y="189"/>
                      <a:pt x="122" y="189"/>
                    </a:cubicBezTo>
                    <a:cubicBezTo>
                      <a:pt x="126" y="189"/>
                      <a:pt x="130" y="189"/>
                      <a:pt x="134" y="189"/>
                    </a:cubicBezTo>
                    <a:cubicBezTo>
                      <a:pt x="134" y="189"/>
                      <a:pt x="135" y="189"/>
                      <a:pt x="136" y="189"/>
                    </a:cubicBezTo>
                    <a:cubicBezTo>
                      <a:pt x="138" y="189"/>
                      <a:pt x="140" y="189"/>
                      <a:pt x="142" y="190"/>
                    </a:cubicBezTo>
                    <a:cubicBezTo>
                      <a:pt x="142" y="199"/>
                      <a:pt x="144" y="209"/>
                      <a:pt x="147" y="218"/>
                    </a:cubicBezTo>
                    <a:cubicBezTo>
                      <a:pt x="143" y="218"/>
                      <a:pt x="139" y="218"/>
                      <a:pt x="136" y="218"/>
                    </a:cubicBezTo>
                    <a:cubicBezTo>
                      <a:pt x="135" y="218"/>
                      <a:pt x="134" y="218"/>
                      <a:pt x="134" y="218"/>
                    </a:cubicBezTo>
                    <a:cubicBezTo>
                      <a:pt x="130" y="218"/>
                      <a:pt x="126" y="217"/>
                      <a:pt x="122" y="217"/>
                    </a:cubicBezTo>
                    <a:cubicBezTo>
                      <a:pt x="121" y="217"/>
                      <a:pt x="121" y="217"/>
                      <a:pt x="120" y="217"/>
                    </a:cubicBezTo>
                    <a:cubicBezTo>
                      <a:pt x="116" y="217"/>
                      <a:pt x="112" y="216"/>
                      <a:pt x="109" y="216"/>
                    </a:cubicBezTo>
                    <a:cubicBezTo>
                      <a:pt x="108" y="216"/>
                      <a:pt x="108" y="216"/>
                      <a:pt x="107" y="216"/>
                    </a:cubicBezTo>
                    <a:cubicBezTo>
                      <a:pt x="104" y="215"/>
                      <a:pt x="100" y="215"/>
                      <a:pt x="97" y="214"/>
                    </a:cubicBezTo>
                    <a:cubicBezTo>
                      <a:pt x="96" y="214"/>
                      <a:pt x="96" y="214"/>
                      <a:pt x="96" y="214"/>
                    </a:cubicBezTo>
                    <a:cubicBezTo>
                      <a:pt x="92" y="214"/>
                      <a:pt x="89" y="213"/>
                      <a:pt x="85" y="213"/>
                    </a:cubicBezTo>
                    <a:cubicBezTo>
                      <a:pt x="85" y="213"/>
                      <a:pt x="84" y="212"/>
                      <a:pt x="84" y="212"/>
                    </a:cubicBezTo>
                    <a:cubicBezTo>
                      <a:pt x="80" y="212"/>
                      <a:pt x="77" y="211"/>
                      <a:pt x="74" y="210"/>
                    </a:cubicBezTo>
                    <a:cubicBezTo>
                      <a:pt x="73" y="210"/>
                      <a:pt x="73" y="210"/>
                      <a:pt x="73" y="210"/>
                    </a:cubicBezTo>
                    <a:cubicBezTo>
                      <a:pt x="66" y="209"/>
                      <a:pt x="60" y="207"/>
                      <a:pt x="54" y="205"/>
                    </a:cubicBezTo>
                    <a:cubicBezTo>
                      <a:pt x="53" y="205"/>
                      <a:pt x="53" y="205"/>
                      <a:pt x="53" y="205"/>
                    </a:cubicBezTo>
                    <a:cubicBezTo>
                      <a:pt x="50" y="204"/>
                      <a:pt x="47" y="203"/>
                      <a:pt x="45" y="202"/>
                    </a:cubicBezTo>
                    <a:cubicBezTo>
                      <a:pt x="44" y="202"/>
                      <a:pt x="44" y="202"/>
                      <a:pt x="44" y="202"/>
                    </a:cubicBezTo>
                    <a:cubicBezTo>
                      <a:pt x="35" y="198"/>
                      <a:pt x="28" y="195"/>
                      <a:pt x="22" y="191"/>
                    </a:cubicBezTo>
                    <a:cubicBezTo>
                      <a:pt x="22" y="191"/>
                      <a:pt x="22" y="191"/>
                      <a:pt x="22" y="191"/>
                    </a:cubicBezTo>
                    <a:cubicBezTo>
                      <a:pt x="13" y="186"/>
                      <a:pt x="7" y="181"/>
                      <a:pt x="3" y="175"/>
                    </a:cubicBezTo>
                    <a:cubicBezTo>
                      <a:pt x="1" y="172"/>
                      <a:pt x="0" y="168"/>
                      <a:pt x="0" y="164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2"/>
                      <a:pt x="1" y="225"/>
                      <a:pt x="3" y="229"/>
                    </a:cubicBezTo>
                    <a:cubicBezTo>
                      <a:pt x="7" y="234"/>
                      <a:pt x="13" y="240"/>
                      <a:pt x="22" y="245"/>
                    </a:cubicBezTo>
                    <a:cubicBezTo>
                      <a:pt x="22" y="245"/>
                      <a:pt x="22" y="245"/>
                      <a:pt x="22" y="245"/>
                    </a:cubicBezTo>
                    <a:cubicBezTo>
                      <a:pt x="28" y="249"/>
                      <a:pt x="35" y="252"/>
                      <a:pt x="44" y="255"/>
                    </a:cubicBezTo>
                    <a:cubicBezTo>
                      <a:pt x="44" y="255"/>
                      <a:pt x="44" y="256"/>
                      <a:pt x="45" y="256"/>
                    </a:cubicBezTo>
                    <a:cubicBezTo>
                      <a:pt x="47" y="257"/>
                      <a:pt x="50" y="258"/>
                      <a:pt x="53" y="258"/>
                    </a:cubicBezTo>
                    <a:cubicBezTo>
                      <a:pt x="53" y="259"/>
                      <a:pt x="53" y="259"/>
                      <a:pt x="54" y="259"/>
                    </a:cubicBezTo>
                    <a:cubicBezTo>
                      <a:pt x="60" y="261"/>
                      <a:pt x="66" y="262"/>
                      <a:pt x="73" y="264"/>
                    </a:cubicBezTo>
                    <a:cubicBezTo>
                      <a:pt x="73" y="264"/>
                      <a:pt x="73" y="264"/>
                      <a:pt x="74" y="264"/>
                    </a:cubicBezTo>
                    <a:cubicBezTo>
                      <a:pt x="77" y="265"/>
                      <a:pt x="80" y="265"/>
                      <a:pt x="84" y="266"/>
                    </a:cubicBezTo>
                    <a:cubicBezTo>
                      <a:pt x="84" y="266"/>
                      <a:pt x="85" y="266"/>
                      <a:pt x="85" y="266"/>
                    </a:cubicBezTo>
                    <a:cubicBezTo>
                      <a:pt x="89" y="267"/>
                      <a:pt x="92" y="268"/>
                      <a:pt x="96" y="268"/>
                    </a:cubicBezTo>
                    <a:cubicBezTo>
                      <a:pt x="96" y="268"/>
                      <a:pt x="96" y="268"/>
                      <a:pt x="97" y="268"/>
                    </a:cubicBezTo>
                    <a:cubicBezTo>
                      <a:pt x="100" y="269"/>
                      <a:pt x="104" y="269"/>
                      <a:pt x="107" y="270"/>
                    </a:cubicBezTo>
                    <a:cubicBezTo>
                      <a:pt x="108" y="270"/>
                      <a:pt x="108" y="270"/>
                      <a:pt x="109" y="270"/>
                    </a:cubicBezTo>
                    <a:cubicBezTo>
                      <a:pt x="112" y="270"/>
                      <a:pt x="116" y="270"/>
                      <a:pt x="120" y="271"/>
                    </a:cubicBezTo>
                    <a:cubicBezTo>
                      <a:pt x="121" y="271"/>
                      <a:pt x="121" y="271"/>
                      <a:pt x="122" y="271"/>
                    </a:cubicBezTo>
                    <a:cubicBezTo>
                      <a:pt x="126" y="271"/>
                      <a:pt x="130" y="271"/>
                      <a:pt x="134" y="271"/>
                    </a:cubicBezTo>
                    <a:cubicBezTo>
                      <a:pt x="134" y="271"/>
                      <a:pt x="135" y="271"/>
                      <a:pt x="136" y="271"/>
                    </a:cubicBezTo>
                    <a:cubicBezTo>
                      <a:pt x="140" y="272"/>
                      <a:pt x="144" y="272"/>
                      <a:pt x="148" y="272"/>
                    </a:cubicBezTo>
                    <a:cubicBezTo>
                      <a:pt x="153" y="272"/>
                      <a:pt x="157" y="272"/>
                      <a:pt x="161" y="271"/>
                    </a:cubicBezTo>
                    <a:cubicBezTo>
                      <a:pt x="161" y="271"/>
                      <a:pt x="162" y="271"/>
                      <a:pt x="163" y="271"/>
                    </a:cubicBezTo>
                    <a:cubicBezTo>
                      <a:pt x="167" y="271"/>
                      <a:pt x="171" y="271"/>
                      <a:pt x="174" y="271"/>
                    </a:cubicBezTo>
                    <a:cubicBezTo>
                      <a:pt x="175" y="271"/>
                      <a:pt x="176" y="271"/>
                      <a:pt x="177" y="271"/>
                    </a:cubicBezTo>
                    <a:cubicBezTo>
                      <a:pt x="178" y="271"/>
                      <a:pt x="180" y="270"/>
                      <a:pt x="181" y="270"/>
                    </a:cubicBezTo>
                    <a:cubicBezTo>
                      <a:pt x="192" y="280"/>
                      <a:pt x="204" y="288"/>
                      <a:pt x="218" y="293"/>
                    </a:cubicBezTo>
                    <a:cubicBezTo>
                      <a:pt x="216" y="294"/>
                      <a:pt x="215" y="294"/>
                      <a:pt x="213" y="294"/>
                    </a:cubicBezTo>
                    <a:cubicBezTo>
                      <a:pt x="212" y="294"/>
                      <a:pt x="212" y="295"/>
                      <a:pt x="211" y="295"/>
                    </a:cubicBezTo>
                    <a:cubicBezTo>
                      <a:pt x="208" y="295"/>
                      <a:pt x="204" y="296"/>
                      <a:pt x="201" y="296"/>
                    </a:cubicBezTo>
                    <a:cubicBezTo>
                      <a:pt x="200" y="296"/>
                      <a:pt x="200" y="296"/>
                      <a:pt x="200" y="297"/>
                    </a:cubicBezTo>
                    <a:cubicBezTo>
                      <a:pt x="196" y="297"/>
                      <a:pt x="193" y="297"/>
                      <a:pt x="189" y="298"/>
                    </a:cubicBezTo>
                    <a:cubicBezTo>
                      <a:pt x="189" y="298"/>
                      <a:pt x="188" y="298"/>
                      <a:pt x="188" y="298"/>
                    </a:cubicBezTo>
                    <a:cubicBezTo>
                      <a:pt x="184" y="298"/>
                      <a:pt x="180" y="299"/>
                      <a:pt x="177" y="299"/>
                    </a:cubicBezTo>
                    <a:cubicBezTo>
                      <a:pt x="176" y="299"/>
                      <a:pt x="175" y="299"/>
                      <a:pt x="174" y="299"/>
                    </a:cubicBezTo>
                    <a:cubicBezTo>
                      <a:pt x="171" y="299"/>
                      <a:pt x="167" y="300"/>
                      <a:pt x="163" y="300"/>
                    </a:cubicBezTo>
                    <a:cubicBezTo>
                      <a:pt x="162" y="300"/>
                      <a:pt x="161" y="300"/>
                      <a:pt x="161" y="300"/>
                    </a:cubicBezTo>
                    <a:cubicBezTo>
                      <a:pt x="157" y="300"/>
                      <a:pt x="153" y="300"/>
                      <a:pt x="148" y="300"/>
                    </a:cubicBezTo>
                    <a:cubicBezTo>
                      <a:pt x="144" y="300"/>
                      <a:pt x="140" y="300"/>
                      <a:pt x="136" y="300"/>
                    </a:cubicBezTo>
                    <a:cubicBezTo>
                      <a:pt x="135" y="300"/>
                      <a:pt x="134" y="300"/>
                      <a:pt x="134" y="300"/>
                    </a:cubicBezTo>
                    <a:cubicBezTo>
                      <a:pt x="130" y="300"/>
                      <a:pt x="126" y="299"/>
                      <a:pt x="122" y="299"/>
                    </a:cubicBezTo>
                    <a:cubicBezTo>
                      <a:pt x="121" y="299"/>
                      <a:pt x="121" y="299"/>
                      <a:pt x="120" y="299"/>
                    </a:cubicBezTo>
                    <a:cubicBezTo>
                      <a:pt x="116" y="299"/>
                      <a:pt x="112" y="298"/>
                      <a:pt x="109" y="298"/>
                    </a:cubicBezTo>
                    <a:cubicBezTo>
                      <a:pt x="108" y="298"/>
                      <a:pt x="108" y="298"/>
                      <a:pt x="107" y="298"/>
                    </a:cubicBezTo>
                    <a:cubicBezTo>
                      <a:pt x="104" y="297"/>
                      <a:pt x="100" y="297"/>
                      <a:pt x="97" y="297"/>
                    </a:cubicBezTo>
                    <a:cubicBezTo>
                      <a:pt x="96" y="296"/>
                      <a:pt x="96" y="296"/>
                      <a:pt x="96" y="296"/>
                    </a:cubicBezTo>
                    <a:cubicBezTo>
                      <a:pt x="92" y="296"/>
                      <a:pt x="89" y="295"/>
                      <a:pt x="85" y="295"/>
                    </a:cubicBezTo>
                    <a:cubicBezTo>
                      <a:pt x="85" y="295"/>
                      <a:pt x="84" y="294"/>
                      <a:pt x="84" y="294"/>
                    </a:cubicBezTo>
                    <a:cubicBezTo>
                      <a:pt x="80" y="294"/>
                      <a:pt x="77" y="293"/>
                      <a:pt x="74" y="292"/>
                    </a:cubicBezTo>
                    <a:cubicBezTo>
                      <a:pt x="73" y="292"/>
                      <a:pt x="73" y="292"/>
                      <a:pt x="73" y="292"/>
                    </a:cubicBezTo>
                    <a:cubicBezTo>
                      <a:pt x="66" y="291"/>
                      <a:pt x="60" y="289"/>
                      <a:pt x="54" y="287"/>
                    </a:cubicBezTo>
                    <a:cubicBezTo>
                      <a:pt x="53" y="287"/>
                      <a:pt x="53" y="287"/>
                      <a:pt x="53" y="287"/>
                    </a:cubicBezTo>
                    <a:cubicBezTo>
                      <a:pt x="50" y="286"/>
                      <a:pt x="47" y="285"/>
                      <a:pt x="45" y="284"/>
                    </a:cubicBezTo>
                    <a:cubicBezTo>
                      <a:pt x="44" y="284"/>
                      <a:pt x="44" y="284"/>
                      <a:pt x="44" y="284"/>
                    </a:cubicBezTo>
                    <a:cubicBezTo>
                      <a:pt x="35" y="280"/>
                      <a:pt x="28" y="277"/>
                      <a:pt x="22" y="273"/>
                    </a:cubicBezTo>
                    <a:cubicBezTo>
                      <a:pt x="22" y="273"/>
                      <a:pt x="22" y="273"/>
                      <a:pt x="22" y="273"/>
                    </a:cubicBezTo>
                    <a:cubicBezTo>
                      <a:pt x="13" y="268"/>
                      <a:pt x="7" y="263"/>
                      <a:pt x="3" y="257"/>
                    </a:cubicBezTo>
                    <a:cubicBezTo>
                      <a:pt x="1" y="254"/>
                      <a:pt x="0" y="250"/>
                      <a:pt x="0" y="246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304"/>
                      <a:pt x="1" y="307"/>
                      <a:pt x="3" y="311"/>
                    </a:cubicBezTo>
                    <a:cubicBezTo>
                      <a:pt x="7" y="317"/>
                      <a:pt x="13" y="322"/>
                      <a:pt x="22" y="327"/>
                    </a:cubicBezTo>
                    <a:cubicBezTo>
                      <a:pt x="22" y="327"/>
                      <a:pt x="22" y="327"/>
                      <a:pt x="22" y="327"/>
                    </a:cubicBezTo>
                    <a:cubicBezTo>
                      <a:pt x="28" y="331"/>
                      <a:pt x="35" y="334"/>
                      <a:pt x="44" y="337"/>
                    </a:cubicBezTo>
                    <a:cubicBezTo>
                      <a:pt x="44" y="337"/>
                      <a:pt x="44" y="338"/>
                      <a:pt x="45" y="338"/>
                    </a:cubicBezTo>
                    <a:cubicBezTo>
                      <a:pt x="47" y="339"/>
                      <a:pt x="50" y="340"/>
                      <a:pt x="53" y="341"/>
                    </a:cubicBezTo>
                    <a:cubicBezTo>
                      <a:pt x="53" y="341"/>
                      <a:pt x="53" y="341"/>
                      <a:pt x="54" y="341"/>
                    </a:cubicBezTo>
                    <a:cubicBezTo>
                      <a:pt x="60" y="343"/>
                      <a:pt x="66" y="344"/>
                      <a:pt x="73" y="346"/>
                    </a:cubicBezTo>
                    <a:cubicBezTo>
                      <a:pt x="73" y="346"/>
                      <a:pt x="73" y="346"/>
                      <a:pt x="74" y="346"/>
                    </a:cubicBezTo>
                    <a:cubicBezTo>
                      <a:pt x="77" y="347"/>
                      <a:pt x="80" y="347"/>
                      <a:pt x="84" y="348"/>
                    </a:cubicBezTo>
                    <a:cubicBezTo>
                      <a:pt x="84" y="348"/>
                      <a:pt x="85" y="348"/>
                      <a:pt x="85" y="348"/>
                    </a:cubicBezTo>
                    <a:cubicBezTo>
                      <a:pt x="89" y="349"/>
                      <a:pt x="92" y="350"/>
                      <a:pt x="96" y="350"/>
                    </a:cubicBezTo>
                    <a:cubicBezTo>
                      <a:pt x="96" y="350"/>
                      <a:pt x="96" y="350"/>
                      <a:pt x="97" y="350"/>
                    </a:cubicBezTo>
                    <a:cubicBezTo>
                      <a:pt x="100" y="351"/>
                      <a:pt x="104" y="351"/>
                      <a:pt x="107" y="352"/>
                    </a:cubicBezTo>
                    <a:cubicBezTo>
                      <a:pt x="108" y="352"/>
                      <a:pt x="108" y="352"/>
                      <a:pt x="109" y="352"/>
                    </a:cubicBezTo>
                    <a:cubicBezTo>
                      <a:pt x="112" y="352"/>
                      <a:pt x="116" y="352"/>
                      <a:pt x="120" y="353"/>
                    </a:cubicBezTo>
                    <a:cubicBezTo>
                      <a:pt x="121" y="353"/>
                      <a:pt x="121" y="353"/>
                      <a:pt x="122" y="353"/>
                    </a:cubicBezTo>
                    <a:cubicBezTo>
                      <a:pt x="126" y="353"/>
                      <a:pt x="130" y="353"/>
                      <a:pt x="134" y="353"/>
                    </a:cubicBezTo>
                    <a:cubicBezTo>
                      <a:pt x="134" y="354"/>
                      <a:pt x="135" y="354"/>
                      <a:pt x="136" y="354"/>
                    </a:cubicBezTo>
                    <a:cubicBezTo>
                      <a:pt x="140" y="354"/>
                      <a:pt x="144" y="354"/>
                      <a:pt x="148" y="354"/>
                    </a:cubicBezTo>
                    <a:cubicBezTo>
                      <a:pt x="153" y="354"/>
                      <a:pt x="157" y="354"/>
                      <a:pt x="161" y="354"/>
                    </a:cubicBezTo>
                    <a:cubicBezTo>
                      <a:pt x="161" y="354"/>
                      <a:pt x="162" y="354"/>
                      <a:pt x="163" y="353"/>
                    </a:cubicBezTo>
                    <a:cubicBezTo>
                      <a:pt x="167" y="353"/>
                      <a:pt x="171" y="353"/>
                      <a:pt x="174" y="353"/>
                    </a:cubicBezTo>
                    <a:cubicBezTo>
                      <a:pt x="175" y="353"/>
                      <a:pt x="176" y="353"/>
                      <a:pt x="177" y="353"/>
                    </a:cubicBezTo>
                    <a:cubicBezTo>
                      <a:pt x="180" y="352"/>
                      <a:pt x="184" y="352"/>
                      <a:pt x="188" y="352"/>
                    </a:cubicBezTo>
                    <a:cubicBezTo>
                      <a:pt x="188" y="352"/>
                      <a:pt x="189" y="352"/>
                      <a:pt x="189" y="352"/>
                    </a:cubicBezTo>
                    <a:cubicBezTo>
                      <a:pt x="193" y="351"/>
                      <a:pt x="196" y="351"/>
                      <a:pt x="200" y="350"/>
                    </a:cubicBezTo>
                    <a:cubicBezTo>
                      <a:pt x="200" y="350"/>
                      <a:pt x="200" y="350"/>
                      <a:pt x="201" y="350"/>
                    </a:cubicBezTo>
                    <a:cubicBezTo>
                      <a:pt x="204" y="350"/>
                      <a:pt x="208" y="349"/>
                      <a:pt x="211" y="348"/>
                    </a:cubicBezTo>
                    <a:cubicBezTo>
                      <a:pt x="212" y="348"/>
                      <a:pt x="212" y="348"/>
                      <a:pt x="213" y="348"/>
                    </a:cubicBezTo>
                    <a:cubicBezTo>
                      <a:pt x="216" y="347"/>
                      <a:pt x="220" y="347"/>
                      <a:pt x="223" y="346"/>
                    </a:cubicBezTo>
                    <a:cubicBezTo>
                      <a:pt x="223" y="346"/>
                      <a:pt x="224" y="346"/>
                      <a:pt x="224" y="346"/>
                    </a:cubicBezTo>
                    <a:cubicBezTo>
                      <a:pt x="231" y="344"/>
                      <a:pt x="237" y="343"/>
                      <a:pt x="243" y="341"/>
                    </a:cubicBezTo>
                    <a:cubicBezTo>
                      <a:pt x="243" y="341"/>
                      <a:pt x="243" y="341"/>
                      <a:pt x="244" y="341"/>
                    </a:cubicBezTo>
                    <a:cubicBezTo>
                      <a:pt x="247" y="340"/>
                      <a:pt x="249" y="339"/>
                      <a:pt x="252" y="338"/>
                    </a:cubicBezTo>
                    <a:cubicBezTo>
                      <a:pt x="252" y="338"/>
                      <a:pt x="253" y="337"/>
                      <a:pt x="253" y="337"/>
                    </a:cubicBezTo>
                    <a:cubicBezTo>
                      <a:pt x="261" y="334"/>
                      <a:pt x="269" y="331"/>
                      <a:pt x="275" y="327"/>
                    </a:cubicBezTo>
                    <a:cubicBezTo>
                      <a:pt x="275" y="327"/>
                      <a:pt x="275" y="327"/>
                      <a:pt x="275" y="327"/>
                    </a:cubicBezTo>
                    <a:cubicBezTo>
                      <a:pt x="289" y="319"/>
                      <a:pt x="297" y="309"/>
                      <a:pt x="297" y="300"/>
                    </a:cubicBezTo>
                    <a:cubicBezTo>
                      <a:pt x="297" y="300"/>
                      <a:pt x="297" y="300"/>
                      <a:pt x="297" y="300"/>
                    </a:cubicBezTo>
                    <a:cubicBezTo>
                      <a:pt x="297" y="297"/>
                      <a:pt x="297" y="297"/>
                      <a:pt x="297" y="297"/>
                    </a:cubicBezTo>
                    <a:cubicBezTo>
                      <a:pt x="311" y="293"/>
                      <a:pt x="324" y="286"/>
                      <a:pt x="335" y="278"/>
                    </a:cubicBezTo>
                    <a:cubicBezTo>
                      <a:pt x="349" y="291"/>
                      <a:pt x="349" y="291"/>
                      <a:pt x="349" y="291"/>
                    </a:cubicBezTo>
                    <a:cubicBezTo>
                      <a:pt x="343" y="297"/>
                      <a:pt x="343" y="297"/>
                      <a:pt x="343" y="297"/>
                    </a:cubicBezTo>
                    <a:cubicBezTo>
                      <a:pt x="423" y="378"/>
                      <a:pt x="423" y="378"/>
                      <a:pt x="423" y="378"/>
                    </a:cubicBezTo>
                    <a:cubicBezTo>
                      <a:pt x="429" y="372"/>
                      <a:pt x="429" y="372"/>
                      <a:pt x="429" y="372"/>
                    </a:cubicBezTo>
                    <a:cubicBezTo>
                      <a:pt x="454" y="347"/>
                      <a:pt x="454" y="347"/>
                      <a:pt x="454" y="347"/>
                    </a:cubicBezTo>
                    <a:cubicBezTo>
                      <a:pt x="454" y="347"/>
                      <a:pt x="454" y="347"/>
                      <a:pt x="454" y="347"/>
                    </a:cubicBezTo>
                    <a:lnTo>
                      <a:pt x="460" y="341"/>
                    </a:lnTo>
                    <a:close/>
                    <a:moveTo>
                      <a:pt x="263" y="276"/>
                    </a:moveTo>
                    <a:cubicBezTo>
                      <a:pt x="210" y="276"/>
                      <a:pt x="167" y="233"/>
                      <a:pt x="167" y="180"/>
                    </a:cubicBezTo>
                    <a:cubicBezTo>
                      <a:pt x="167" y="128"/>
                      <a:pt x="210" y="85"/>
                      <a:pt x="263" y="85"/>
                    </a:cubicBezTo>
                    <a:cubicBezTo>
                      <a:pt x="315" y="85"/>
                      <a:pt x="358" y="128"/>
                      <a:pt x="358" y="180"/>
                    </a:cubicBezTo>
                    <a:cubicBezTo>
                      <a:pt x="358" y="233"/>
                      <a:pt x="315" y="276"/>
                      <a:pt x="263" y="2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8" name="myP_Bulb">
              <a:extLst>
                <a:ext uri="{FF2B5EF4-FFF2-40B4-BE49-F238E27FC236}">
                  <a16:creationId xmlns:a16="http://schemas.microsoft.com/office/drawing/2014/main" id="{30514568-999C-43A9-BF17-5674020DDC87}"/>
                </a:ext>
              </a:extLst>
            </p:cNvPr>
            <p:cNvGrpSpPr/>
            <p:nvPr/>
          </p:nvGrpSpPr>
          <p:grpSpPr>
            <a:xfrm>
              <a:off x="1636178" y="2878398"/>
              <a:ext cx="379307" cy="476272"/>
              <a:chOff x="1174750" y="1774825"/>
              <a:chExt cx="1266825" cy="1590676"/>
            </a:xfrm>
            <a:solidFill>
              <a:schemeClr val="bg1"/>
            </a:solidFill>
          </p:grpSpPr>
          <p:sp>
            <p:nvSpPr>
              <p:cNvPr id="109" name="Freeform 9">
                <a:extLst>
                  <a:ext uri="{FF2B5EF4-FFF2-40B4-BE49-F238E27FC236}">
                    <a16:creationId xmlns:a16="http://schemas.microsoft.com/office/drawing/2014/main" id="{DD9697EF-AB95-4A53-B8DC-7E02AB9B8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4750" y="2408238"/>
                <a:ext cx="881063" cy="957263"/>
              </a:xfrm>
              <a:custGeom>
                <a:avLst/>
                <a:gdLst>
                  <a:gd name="T0" fmla="*/ 223 w 456"/>
                  <a:gd name="T1" fmla="*/ 245 h 493"/>
                  <a:gd name="T2" fmla="*/ 223 w 456"/>
                  <a:gd name="T3" fmla="*/ 110 h 493"/>
                  <a:gd name="T4" fmla="*/ 154 w 456"/>
                  <a:gd name="T5" fmla="*/ 37 h 493"/>
                  <a:gd name="T6" fmla="*/ 85 w 456"/>
                  <a:gd name="T7" fmla="*/ 109 h 493"/>
                  <a:gd name="T8" fmla="*/ 85 w 456"/>
                  <a:gd name="T9" fmla="*/ 347 h 493"/>
                  <a:gd name="T10" fmla="*/ 100 w 456"/>
                  <a:gd name="T11" fmla="*/ 372 h 493"/>
                  <a:gd name="T12" fmla="*/ 131 w 456"/>
                  <a:gd name="T13" fmla="*/ 447 h 493"/>
                  <a:gd name="T14" fmla="*/ 70 w 456"/>
                  <a:gd name="T15" fmla="*/ 493 h 493"/>
                  <a:gd name="T16" fmla="*/ 9 w 456"/>
                  <a:gd name="T17" fmla="*/ 447 h 493"/>
                  <a:gd name="T18" fmla="*/ 40 w 456"/>
                  <a:gd name="T19" fmla="*/ 372 h 493"/>
                  <a:gd name="T20" fmla="*/ 55 w 456"/>
                  <a:gd name="T21" fmla="*/ 344 h 493"/>
                  <a:gd name="T22" fmla="*/ 55 w 456"/>
                  <a:gd name="T23" fmla="*/ 104 h 493"/>
                  <a:gd name="T24" fmla="*/ 145 w 456"/>
                  <a:gd name="T25" fmla="*/ 6 h 493"/>
                  <a:gd name="T26" fmla="*/ 249 w 456"/>
                  <a:gd name="T27" fmla="*/ 75 h 493"/>
                  <a:gd name="T28" fmla="*/ 253 w 456"/>
                  <a:gd name="T29" fmla="*/ 111 h 493"/>
                  <a:gd name="T30" fmla="*/ 253 w 456"/>
                  <a:gd name="T31" fmla="*/ 377 h 493"/>
                  <a:gd name="T32" fmla="*/ 304 w 456"/>
                  <a:gd name="T33" fmla="*/ 452 h 493"/>
                  <a:gd name="T34" fmla="*/ 391 w 456"/>
                  <a:gd name="T35" fmla="*/ 394 h 493"/>
                  <a:gd name="T36" fmla="*/ 392 w 456"/>
                  <a:gd name="T37" fmla="*/ 336 h 493"/>
                  <a:gd name="T38" fmla="*/ 374 w 456"/>
                  <a:gd name="T39" fmla="*/ 318 h 493"/>
                  <a:gd name="T40" fmla="*/ 364 w 456"/>
                  <a:gd name="T41" fmla="*/ 300 h 493"/>
                  <a:gd name="T42" fmla="*/ 399 w 456"/>
                  <a:gd name="T43" fmla="*/ 230 h 493"/>
                  <a:gd name="T44" fmla="*/ 415 w 456"/>
                  <a:gd name="T45" fmla="*/ 229 h 493"/>
                  <a:gd name="T46" fmla="*/ 451 w 456"/>
                  <a:gd name="T47" fmla="*/ 302 h 493"/>
                  <a:gd name="T48" fmla="*/ 442 w 456"/>
                  <a:gd name="T49" fmla="*/ 317 h 493"/>
                  <a:gd name="T50" fmla="*/ 424 w 456"/>
                  <a:gd name="T51" fmla="*/ 339 h 493"/>
                  <a:gd name="T52" fmla="*/ 422 w 456"/>
                  <a:gd name="T53" fmla="*/ 399 h 493"/>
                  <a:gd name="T54" fmla="*/ 315 w 456"/>
                  <a:gd name="T55" fmla="*/ 486 h 493"/>
                  <a:gd name="T56" fmla="*/ 223 w 456"/>
                  <a:gd name="T57" fmla="*/ 385 h 493"/>
                  <a:gd name="T58" fmla="*/ 223 w 456"/>
                  <a:gd name="T59" fmla="*/ 245 h 493"/>
                  <a:gd name="T60" fmla="*/ 223 w 456"/>
                  <a:gd name="T61" fmla="*/ 245 h 493"/>
                  <a:gd name="T62" fmla="*/ 70 w 456"/>
                  <a:gd name="T63" fmla="*/ 461 h 493"/>
                  <a:gd name="T64" fmla="*/ 103 w 456"/>
                  <a:gd name="T65" fmla="*/ 429 h 493"/>
                  <a:gd name="T66" fmla="*/ 69 w 456"/>
                  <a:gd name="T67" fmla="*/ 395 h 493"/>
                  <a:gd name="T68" fmla="*/ 37 w 456"/>
                  <a:gd name="T69" fmla="*/ 429 h 493"/>
                  <a:gd name="T70" fmla="*/ 70 w 456"/>
                  <a:gd name="T71" fmla="*/ 461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56" h="493">
                    <a:moveTo>
                      <a:pt x="223" y="245"/>
                    </a:moveTo>
                    <a:cubicBezTo>
                      <a:pt x="223" y="200"/>
                      <a:pt x="223" y="155"/>
                      <a:pt x="223" y="110"/>
                    </a:cubicBezTo>
                    <a:cubicBezTo>
                      <a:pt x="223" y="67"/>
                      <a:pt x="195" y="37"/>
                      <a:pt x="154" y="37"/>
                    </a:cubicBezTo>
                    <a:cubicBezTo>
                      <a:pt x="115" y="37"/>
                      <a:pt x="86" y="67"/>
                      <a:pt x="85" y="109"/>
                    </a:cubicBezTo>
                    <a:cubicBezTo>
                      <a:pt x="85" y="189"/>
                      <a:pt x="85" y="268"/>
                      <a:pt x="85" y="347"/>
                    </a:cubicBezTo>
                    <a:cubicBezTo>
                      <a:pt x="85" y="359"/>
                      <a:pt x="89" y="366"/>
                      <a:pt x="100" y="372"/>
                    </a:cubicBezTo>
                    <a:cubicBezTo>
                      <a:pt x="128" y="387"/>
                      <a:pt x="140" y="416"/>
                      <a:pt x="131" y="447"/>
                    </a:cubicBezTo>
                    <a:cubicBezTo>
                      <a:pt x="124" y="472"/>
                      <a:pt x="97" y="493"/>
                      <a:pt x="70" y="493"/>
                    </a:cubicBezTo>
                    <a:cubicBezTo>
                      <a:pt x="43" y="493"/>
                      <a:pt x="16" y="473"/>
                      <a:pt x="9" y="447"/>
                    </a:cubicBezTo>
                    <a:cubicBezTo>
                      <a:pt x="0" y="417"/>
                      <a:pt x="11" y="387"/>
                      <a:pt x="40" y="372"/>
                    </a:cubicBezTo>
                    <a:cubicBezTo>
                      <a:pt x="53" y="365"/>
                      <a:pt x="55" y="357"/>
                      <a:pt x="55" y="344"/>
                    </a:cubicBezTo>
                    <a:cubicBezTo>
                      <a:pt x="55" y="264"/>
                      <a:pt x="54" y="184"/>
                      <a:pt x="55" y="104"/>
                    </a:cubicBezTo>
                    <a:cubicBezTo>
                      <a:pt x="55" y="52"/>
                      <a:pt x="92" y="13"/>
                      <a:pt x="145" y="6"/>
                    </a:cubicBezTo>
                    <a:cubicBezTo>
                      <a:pt x="189" y="0"/>
                      <a:pt x="235" y="30"/>
                      <a:pt x="249" y="75"/>
                    </a:cubicBezTo>
                    <a:cubicBezTo>
                      <a:pt x="253" y="87"/>
                      <a:pt x="253" y="99"/>
                      <a:pt x="253" y="111"/>
                    </a:cubicBezTo>
                    <a:cubicBezTo>
                      <a:pt x="253" y="200"/>
                      <a:pt x="253" y="288"/>
                      <a:pt x="253" y="377"/>
                    </a:cubicBezTo>
                    <a:cubicBezTo>
                      <a:pt x="254" y="417"/>
                      <a:pt x="271" y="442"/>
                      <a:pt x="304" y="452"/>
                    </a:cubicBezTo>
                    <a:cubicBezTo>
                      <a:pt x="344" y="464"/>
                      <a:pt x="388" y="436"/>
                      <a:pt x="391" y="394"/>
                    </a:cubicBezTo>
                    <a:cubicBezTo>
                      <a:pt x="392" y="374"/>
                      <a:pt x="391" y="355"/>
                      <a:pt x="392" y="336"/>
                    </a:cubicBezTo>
                    <a:cubicBezTo>
                      <a:pt x="392" y="323"/>
                      <a:pt x="387" y="317"/>
                      <a:pt x="374" y="318"/>
                    </a:cubicBezTo>
                    <a:cubicBezTo>
                      <a:pt x="360" y="318"/>
                      <a:pt x="359" y="311"/>
                      <a:pt x="364" y="300"/>
                    </a:cubicBezTo>
                    <a:cubicBezTo>
                      <a:pt x="376" y="277"/>
                      <a:pt x="388" y="254"/>
                      <a:pt x="399" y="230"/>
                    </a:cubicBezTo>
                    <a:cubicBezTo>
                      <a:pt x="404" y="221"/>
                      <a:pt x="408" y="217"/>
                      <a:pt x="415" y="229"/>
                    </a:cubicBezTo>
                    <a:cubicBezTo>
                      <a:pt x="427" y="254"/>
                      <a:pt x="439" y="278"/>
                      <a:pt x="451" y="302"/>
                    </a:cubicBezTo>
                    <a:cubicBezTo>
                      <a:pt x="456" y="312"/>
                      <a:pt x="454" y="318"/>
                      <a:pt x="442" y="317"/>
                    </a:cubicBezTo>
                    <a:cubicBezTo>
                      <a:pt x="426" y="317"/>
                      <a:pt x="424" y="326"/>
                      <a:pt x="424" y="339"/>
                    </a:cubicBezTo>
                    <a:cubicBezTo>
                      <a:pt x="424" y="359"/>
                      <a:pt x="425" y="379"/>
                      <a:pt x="422" y="399"/>
                    </a:cubicBezTo>
                    <a:cubicBezTo>
                      <a:pt x="414" y="453"/>
                      <a:pt x="369" y="490"/>
                      <a:pt x="315" y="486"/>
                    </a:cubicBezTo>
                    <a:cubicBezTo>
                      <a:pt x="264" y="482"/>
                      <a:pt x="224" y="439"/>
                      <a:pt x="223" y="385"/>
                    </a:cubicBezTo>
                    <a:cubicBezTo>
                      <a:pt x="223" y="339"/>
                      <a:pt x="223" y="292"/>
                      <a:pt x="223" y="245"/>
                    </a:cubicBezTo>
                    <a:cubicBezTo>
                      <a:pt x="223" y="245"/>
                      <a:pt x="223" y="245"/>
                      <a:pt x="223" y="245"/>
                    </a:cubicBezTo>
                    <a:close/>
                    <a:moveTo>
                      <a:pt x="70" y="461"/>
                    </a:moveTo>
                    <a:cubicBezTo>
                      <a:pt x="89" y="461"/>
                      <a:pt x="103" y="448"/>
                      <a:pt x="103" y="429"/>
                    </a:cubicBezTo>
                    <a:cubicBezTo>
                      <a:pt x="103" y="410"/>
                      <a:pt x="87" y="394"/>
                      <a:pt x="69" y="395"/>
                    </a:cubicBezTo>
                    <a:cubicBezTo>
                      <a:pt x="52" y="395"/>
                      <a:pt x="37" y="411"/>
                      <a:pt x="37" y="429"/>
                    </a:cubicBezTo>
                    <a:cubicBezTo>
                      <a:pt x="37" y="447"/>
                      <a:pt x="51" y="461"/>
                      <a:pt x="70" y="4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">
                <a:extLst>
                  <a:ext uri="{FF2B5EF4-FFF2-40B4-BE49-F238E27FC236}">
                    <a16:creationId xmlns:a16="http://schemas.microsoft.com/office/drawing/2014/main" id="{D6978589-4486-4893-AF25-2BC23D761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81163" y="1992313"/>
                <a:ext cx="541338" cy="596900"/>
              </a:xfrm>
              <a:custGeom>
                <a:avLst/>
                <a:gdLst>
                  <a:gd name="T0" fmla="*/ 146 w 280"/>
                  <a:gd name="T1" fmla="*/ 308 h 308"/>
                  <a:gd name="T2" fmla="*/ 140 w 280"/>
                  <a:gd name="T3" fmla="*/ 308 h 308"/>
                  <a:gd name="T4" fmla="*/ 94 w 280"/>
                  <a:gd name="T5" fmla="*/ 267 h 308"/>
                  <a:gd name="T6" fmla="*/ 74 w 280"/>
                  <a:gd name="T7" fmla="*/ 242 h 308"/>
                  <a:gd name="T8" fmla="*/ 41 w 280"/>
                  <a:gd name="T9" fmla="*/ 63 h 308"/>
                  <a:gd name="T10" fmla="*/ 175 w 280"/>
                  <a:gd name="T11" fmla="*/ 12 h 308"/>
                  <a:gd name="T12" fmla="*/ 271 w 280"/>
                  <a:gd name="T13" fmla="*/ 113 h 308"/>
                  <a:gd name="T14" fmla="*/ 215 w 280"/>
                  <a:gd name="T15" fmla="*/ 243 h 308"/>
                  <a:gd name="T16" fmla="*/ 195 w 280"/>
                  <a:gd name="T17" fmla="*/ 281 h 308"/>
                  <a:gd name="T18" fmla="*/ 168 w 280"/>
                  <a:gd name="T19" fmla="*/ 308 h 308"/>
                  <a:gd name="T20" fmla="*/ 146 w 280"/>
                  <a:gd name="T21" fmla="*/ 308 h 308"/>
                  <a:gd name="T22" fmla="*/ 145 w 280"/>
                  <a:gd name="T23" fmla="*/ 40 h 308"/>
                  <a:gd name="T24" fmla="*/ 52 w 280"/>
                  <a:gd name="T25" fmla="*/ 110 h 308"/>
                  <a:gd name="T26" fmla="*/ 102 w 280"/>
                  <a:gd name="T27" fmla="*/ 223 h 308"/>
                  <a:gd name="T28" fmla="*/ 126 w 280"/>
                  <a:gd name="T29" fmla="*/ 260 h 308"/>
                  <a:gd name="T30" fmla="*/ 146 w 280"/>
                  <a:gd name="T31" fmla="*/ 276 h 308"/>
                  <a:gd name="T32" fmla="*/ 165 w 280"/>
                  <a:gd name="T33" fmla="*/ 260 h 308"/>
                  <a:gd name="T34" fmla="*/ 190 w 280"/>
                  <a:gd name="T35" fmla="*/ 221 h 308"/>
                  <a:gd name="T36" fmla="*/ 239 w 280"/>
                  <a:gd name="T37" fmla="*/ 112 h 308"/>
                  <a:gd name="T38" fmla="*/ 145 w 280"/>
                  <a:gd name="T39" fmla="*/ 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0" h="308">
                    <a:moveTo>
                      <a:pt x="146" y="308"/>
                    </a:moveTo>
                    <a:cubicBezTo>
                      <a:pt x="144" y="308"/>
                      <a:pt x="142" y="308"/>
                      <a:pt x="140" y="308"/>
                    </a:cubicBezTo>
                    <a:cubicBezTo>
                      <a:pt x="98" y="308"/>
                      <a:pt x="97" y="308"/>
                      <a:pt x="94" y="267"/>
                    </a:cubicBezTo>
                    <a:cubicBezTo>
                      <a:pt x="93" y="253"/>
                      <a:pt x="83" y="248"/>
                      <a:pt x="74" y="242"/>
                    </a:cubicBezTo>
                    <a:cubicBezTo>
                      <a:pt x="14" y="201"/>
                      <a:pt x="0" y="122"/>
                      <a:pt x="41" y="63"/>
                    </a:cubicBezTo>
                    <a:cubicBezTo>
                      <a:pt x="72" y="20"/>
                      <a:pt x="123" y="0"/>
                      <a:pt x="175" y="12"/>
                    </a:cubicBezTo>
                    <a:cubicBezTo>
                      <a:pt x="223" y="23"/>
                      <a:pt x="262" y="64"/>
                      <a:pt x="271" y="113"/>
                    </a:cubicBezTo>
                    <a:cubicBezTo>
                      <a:pt x="280" y="164"/>
                      <a:pt x="259" y="216"/>
                      <a:pt x="215" y="243"/>
                    </a:cubicBezTo>
                    <a:cubicBezTo>
                      <a:pt x="199" y="253"/>
                      <a:pt x="194" y="264"/>
                      <a:pt x="195" y="281"/>
                    </a:cubicBezTo>
                    <a:cubicBezTo>
                      <a:pt x="196" y="307"/>
                      <a:pt x="194" y="308"/>
                      <a:pt x="168" y="308"/>
                    </a:cubicBezTo>
                    <a:cubicBezTo>
                      <a:pt x="160" y="308"/>
                      <a:pt x="153" y="308"/>
                      <a:pt x="146" y="308"/>
                    </a:cubicBezTo>
                    <a:close/>
                    <a:moveTo>
                      <a:pt x="145" y="40"/>
                    </a:moveTo>
                    <a:cubicBezTo>
                      <a:pt x="101" y="40"/>
                      <a:pt x="62" y="69"/>
                      <a:pt x="52" y="110"/>
                    </a:cubicBezTo>
                    <a:cubicBezTo>
                      <a:pt x="40" y="157"/>
                      <a:pt x="60" y="202"/>
                      <a:pt x="102" y="223"/>
                    </a:cubicBezTo>
                    <a:cubicBezTo>
                      <a:pt x="120" y="231"/>
                      <a:pt x="129" y="240"/>
                      <a:pt x="126" y="260"/>
                    </a:cubicBezTo>
                    <a:cubicBezTo>
                      <a:pt x="125" y="274"/>
                      <a:pt x="134" y="276"/>
                      <a:pt x="146" y="276"/>
                    </a:cubicBezTo>
                    <a:cubicBezTo>
                      <a:pt x="157" y="276"/>
                      <a:pt x="167" y="274"/>
                      <a:pt x="165" y="260"/>
                    </a:cubicBezTo>
                    <a:cubicBezTo>
                      <a:pt x="162" y="239"/>
                      <a:pt x="173" y="230"/>
                      <a:pt x="190" y="221"/>
                    </a:cubicBezTo>
                    <a:cubicBezTo>
                      <a:pt x="231" y="202"/>
                      <a:pt x="251" y="156"/>
                      <a:pt x="239" y="112"/>
                    </a:cubicBezTo>
                    <a:cubicBezTo>
                      <a:pt x="229" y="69"/>
                      <a:pt x="191" y="40"/>
                      <a:pt x="14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1">
                <a:extLst>
                  <a:ext uri="{FF2B5EF4-FFF2-40B4-BE49-F238E27FC236}">
                    <a16:creationId xmlns:a16="http://schemas.microsoft.com/office/drawing/2014/main" id="{CAFD4B65-703F-4177-80E6-27B239D5D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138" y="2636838"/>
                <a:ext cx="195263" cy="61913"/>
              </a:xfrm>
              <a:custGeom>
                <a:avLst/>
                <a:gdLst>
                  <a:gd name="T0" fmla="*/ 49 w 101"/>
                  <a:gd name="T1" fmla="*/ 32 h 32"/>
                  <a:gd name="T2" fmla="*/ 15 w 101"/>
                  <a:gd name="T3" fmla="*/ 32 h 32"/>
                  <a:gd name="T4" fmla="*/ 0 w 101"/>
                  <a:gd name="T5" fmla="*/ 18 h 32"/>
                  <a:gd name="T6" fmla="*/ 15 w 101"/>
                  <a:gd name="T7" fmla="*/ 0 h 32"/>
                  <a:gd name="T8" fmla="*/ 87 w 101"/>
                  <a:gd name="T9" fmla="*/ 0 h 32"/>
                  <a:gd name="T10" fmla="*/ 101 w 101"/>
                  <a:gd name="T11" fmla="*/ 16 h 32"/>
                  <a:gd name="T12" fmla="*/ 85 w 101"/>
                  <a:gd name="T13" fmla="*/ 32 h 32"/>
                  <a:gd name="T14" fmla="*/ 49 w 101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32">
                    <a:moveTo>
                      <a:pt x="49" y="32"/>
                    </a:moveTo>
                    <a:cubicBezTo>
                      <a:pt x="38" y="32"/>
                      <a:pt x="27" y="32"/>
                      <a:pt x="15" y="32"/>
                    </a:cubicBezTo>
                    <a:cubicBezTo>
                      <a:pt x="6" y="32"/>
                      <a:pt x="1" y="28"/>
                      <a:pt x="0" y="18"/>
                    </a:cubicBezTo>
                    <a:cubicBezTo>
                      <a:pt x="0" y="8"/>
                      <a:pt x="4" y="1"/>
                      <a:pt x="15" y="0"/>
                    </a:cubicBezTo>
                    <a:cubicBezTo>
                      <a:pt x="39" y="0"/>
                      <a:pt x="63" y="0"/>
                      <a:pt x="87" y="0"/>
                    </a:cubicBezTo>
                    <a:cubicBezTo>
                      <a:pt x="97" y="1"/>
                      <a:pt x="101" y="6"/>
                      <a:pt x="101" y="16"/>
                    </a:cubicBezTo>
                    <a:cubicBezTo>
                      <a:pt x="101" y="27"/>
                      <a:pt x="96" y="32"/>
                      <a:pt x="85" y="32"/>
                    </a:cubicBezTo>
                    <a:cubicBezTo>
                      <a:pt x="73" y="32"/>
                      <a:pt x="61" y="32"/>
                      <a:pt x="4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2">
                <a:extLst>
                  <a:ext uri="{FF2B5EF4-FFF2-40B4-BE49-F238E27FC236}">
                    <a16:creationId xmlns:a16="http://schemas.microsoft.com/office/drawing/2014/main" id="{859E827F-9AC1-40FD-B6DC-AC6FBFAB9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138" y="2239963"/>
                <a:ext cx="173038" cy="61913"/>
              </a:xfrm>
              <a:custGeom>
                <a:avLst/>
                <a:gdLst>
                  <a:gd name="T0" fmla="*/ 46 w 89"/>
                  <a:gd name="T1" fmla="*/ 0 h 32"/>
                  <a:gd name="T2" fmla="*/ 68 w 89"/>
                  <a:gd name="T3" fmla="*/ 0 h 32"/>
                  <a:gd name="T4" fmla="*/ 89 w 89"/>
                  <a:gd name="T5" fmla="*/ 17 h 32"/>
                  <a:gd name="T6" fmla="*/ 67 w 89"/>
                  <a:gd name="T7" fmla="*/ 32 h 32"/>
                  <a:gd name="T8" fmla="*/ 21 w 89"/>
                  <a:gd name="T9" fmla="*/ 32 h 32"/>
                  <a:gd name="T10" fmla="*/ 1 w 89"/>
                  <a:gd name="T11" fmla="*/ 16 h 32"/>
                  <a:gd name="T12" fmla="*/ 20 w 89"/>
                  <a:gd name="T13" fmla="*/ 0 h 32"/>
                  <a:gd name="T14" fmla="*/ 46 w 89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46" y="0"/>
                    </a:moveTo>
                    <a:cubicBezTo>
                      <a:pt x="54" y="0"/>
                      <a:pt x="61" y="0"/>
                      <a:pt x="68" y="0"/>
                    </a:cubicBezTo>
                    <a:cubicBezTo>
                      <a:pt x="80" y="0"/>
                      <a:pt x="89" y="1"/>
                      <a:pt x="89" y="17"/>
                    </a:cubicBezTo>
                    <a:cubicBezTo>
                      <a:pt x="89" y="32"/>
                      <a:pt x="78" y="32"/>
                      <a:pt x="67" y="32"/>
                    </a:cubicBezTo>
                    <a:cubicBezTo>
                      <a:pt x="52" y="32"/>
                      <a:pt x="37" y="32"/>
                      <a:pt x="21" y="32"/>
                    </a:cubicBezTo>
                    <a:cubicBezTo>
                      <a:pt x="10" y="32"/>
                      <a:pt x="0" y="31"/>
                      <a:pt x="1" y="16"/>
                    </a:cubicBezTo>
                    <a:cubicBezTo>
                      <a:pt x="1" y="1"/>
                      <a:pt x="10" y="0"/>
                      <a:pt x="20" y="0"/>
                    </a:cubicBezTo>
                    <a:cubicBezTo>
                      <a:pt x="29" y="0"/>
                      <a:pt x="38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3">
                <a:extLst>
                  <a:ext uri="{FF2B5EF4-FFF2-40B4-BE49-F238E27FC236}">
                    <a16:creationId xmlns:a16="http://schemas.microsoft.com/office/drawing/2014/main" id="{06E4E2F0-9B6D-4381-8FD1-085450B20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125" y="2239963"/>
                <a:ext cx="171450" cy="61913"/>
              </a:xfrm>
              <a:custGeom>
                <a:avLst/>
                <a:gdLst>
                  <a:gd name="T0" fmla="*/ 46 w 89"/>
                  <a:gd name="T1" fmla="*/ 0 h 32"/>
                  <a:gd name="T2" fmla="*/ 72 w 89"/>
                  <a:gd name="T3" fmla="*/ 0 h 32"/>
                  <a:gd name="T4" fmla="*/ 89 w 89"/>
                  <a:gd name="T5" fmla="*/ 17 h 32"/>
                  <a:gd name="T6" fmla="*/ 73 w 89"/>
                  <a:gd name="T7" fmla="*/ 32 h 32"/>
                  <a:gd name="T8" fmla="*/ 15 w 89"/>
                  <a:gd name="T9" fmla="*/ 32 h 32"/>
                  <a:gd name="T10" fmla="*/ 1 w 89"/>
                  <a:gd name="T11" fmla="*/ 16 h 32"/>
                  <a:gd name="T12" fmla="*/ 15 w 89"/>
                  <a:gd name="T13" fmla="*/ 0 h 32"/>
                  <a:gd name="T14" fmla="*/ 46 w 89"/>
                  <a:gd name="T15" fmla="*/ 0 h 32"/>
                  <a:gd name="T16" fmla="*/ 46 w 89"/>
                  <a:gd name="T1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32">
                    <a:moveTo>
                      <a:pt x="46" y="0"/>
                    </a:moveTo>
                    <a:cubicBezTo>
                      <a:pt x="55" y="0"/>
                      <a:pt x="63" y="0"/>
                      <a:pt x="72" y="0"/>
                    </a:cubicBezTo>
                    <a:cubicBezTo>
                      <a:pt x="84" y="0"/>
                      <a:pt x="89" y="5"/>
                      <a:pt x="89" y="17"/>
                    </a:cubicBezTo>
                    <a:cubicBezTo>
                      <a:pt x="89" y="28"/>
                      <a:pt x="83" y="32"/>
                      <a:pt x="73" y="32"/>
                    </a:cubicBezTo>
                    <a:cubicBezTo>
                      <a:pt x="54" y="32"/>
                      <a:pt x="34" y="32"/>
                      <a:pt x="15" y="32"/>
                    </a:cubicBezTo>
                    <a:cubicBezTo>
                      <a:pt x="4" y="32"/>
                      <a:pt x="0" y="26"/>
                      <a:pt x="1" y="16"/>
                    </a:cubicBezTo>
                    <a:cubicBezTo>
                      <a:pt x="1" y="6"/>
                      <a:pt x="5" y="1"/>
                      <a:pt x="15" y="0"/>
                    </a:cubicBezTo>
                    <a:cubicBezTo>
                      <a:pt x="25" y="0"/>
                      <a:pt x="3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4">
                <a:extLst>
                  <a:ext uri="{FF2B5EF4-FFF2-40B4-BE49-F238E27FC236}">
                    <a16:creationId xmlns:a16="http://schemas.microsoft.com/office/drawing/2014/main" id="{BC3004E6-6155-4B7F-9C05-78E06942F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1988" y="1774825"/>
                <a:ext cx="61913" cy="173038"/>
              </a:xfrm>
              <a:custGeom>
                <a:avLst/>
                <a:gdLst>
                  <a:gd name="T0" fmla="*/ 32 w 32"/>
                  <a:gd name="T1" fmla="*/ 46 h 89"/>
                  <a:gd name="T2" fmla="*/ 32 w 32"/>
                  <a:gd name="T3" fmla="*/ 74 h 89"/>
                  <a:gd name="T4" fmla="*/ 15 w 32"/>
                  <a:gd name="T5" fmla="*/ 89 h 89"/>
                  <a:gd name="T6" fmla="*/ 0 w 32"/>
                  <a:gd name="T7" fmla="*/ 73 h 89"/>
                  <a:gd name="T8" fmla="*/ 0 w 32"/>
                  <a:gd name="T9" fmla="*/ 17 h 89"/>
                  <a:gd name="T10" fmla="*/ 15 w 32"/>
                  <a:gd name="T11" fmla="*/ 1 h 89"/>
                  <a:gd name="T12" fmla="*/ 32 w 32"/>
                  <a:gd name="T13" fmla="*/ 18 h 89"/>
                  <a:gd name="T14" fmla="*/ 32 w 32"/>
                  <a:gd name="T15" fmla="*/ 46 h 89"/>
                  <a:gd name="T16" fmla="*/ 32 w 32"/>
                  <a:gd name="T17" fmla="*/ 4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89">
                    <a:moveTo>
                      <a:pt x="32" y="46"/>
                    </a:moveTo>
                    <a:cubicBezTo>
                      <a:pt x="32" y="55"/>
                      <a:pt x="32" y="65"/>
                      <a:pt x="32" y="74"/>
                    </a:cubicBezTo>
                    <a:cubicBezTo>
                      <a:pt x="32" y="85"/>
                      <a:pt x="26" y="89"/>
                      <a:pt x="15" y="89"/>
                    </a:cubicBezTo>
                    <a:cubicBezTo>
                      <a:pt x="4" y="89"/>
                      <a:pt x="0" y="84"/>
                      <a:pt x="0" y="73"/>
                    </a:cubicBezTo>
                    <a:cubicBezTo>
                      <a:pt x="0" y="55"/>
                      <a:pt x="0" y="36"/>
                      <a:pt x="0" y="17"/>
                    </a:cubicBezTo>
                    <a:cubicBezTo>
                      <a:pt x="0" y="7"/>
                      <a:pt x="4" y="1"/>
                      <a:pt x="15" y="1"/>
                    </a:cubicBezTo>
                    <a:cubicBezTo>
                      <a:pt x="27" y="0"/>
                      <a:pt x="32" y="7"/>
                      <a:pt x="32" y="18"/>
                    </a:cubicBezTo>
                    <a:cubicBezTo>
                      <a:pt x="32" y="27"/>
                      <a:pt x="32" y="37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5">
                <a:extLst>
                  <a:ext uri="{FF2B5EF4-FFF2-40B4-BE49-F238E27FC236}">
                    <a16:creationId xmlns:a16="http://schemas.microsoft.com/office/drawing/2014/main" id="{AC8FF4A2-D156-4EB5-8E67-637EA1846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5288" y="1827213"/>
                <a:ext cx="127000" cy="177800"/>
              </a:xfrm>
              <a:custGeom>
                <a:avLst/>
                <a:gdLst>
                  <a:gd name="T0" fmla="*/ 65 w 66"/>
                  <a:gd name="T1" fmla="*/ 69 h 92"/>
                  <a:gd name="T2" fmla="*/ 55 w 66"/>
                  <a:gd name="T3" fmla="*/ 85 h 92"/>
                  <a:gd name="T4" fmla="*/ 39 w 66"/>
                  <a:gd name="T5" fmla="*/ 85 h 92"/>
                  <a:gd name="T6" fmla="*/ 3 w 66"/>
                  <a:gd name="T7" fmla="*/ 23 h 92"/>
                  <a:gd name="T8" fmla="*/ 12 w 66"/>
                  <a:gd name="T9" fmla="*/ 9 h 92"/>
                  <a:gd name="T10" fmla="*/ 28 w 66"/>
                  <a:gd name="T11" fmla="*/ 7 h 92"/>
                  <a:gd name="T12" fmla="*/ 65 w 66"/>
                  <a:gd name="T13" fmla="*/ 6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92">
                    <a:moveTo>
                      <a:pt x="65" y="69"/>
                    </a:moveTo>
                    <a:cubicBezTo>
                      <a:pt x="66" y="80"/>
                      <a:pt x="60" y="82"/>
                      <a:pt x="55" y="85"/>
                    </a:cubicBezTo>
                    <a:cubicBezTo>
                      <a:pt x="50" y="88"/>
                      <a:pt x="43" y="92"/>
                      <a:pt x="39" y="85"/>
                    </a:cubicBezTo>
                    <a:cubicBezTo>
                      <a:pt x="26" y="64"/>
                      <a:pt x="14" y="44"/>
                      <a:pt x="3" y="23"/>
                    </a:cubicBezTo>
                    <a:cubicBezTo>
                      <a:pt x="0" y="16"/>
                      <a:pt x="7" y="12"/>
                      <a:pt x="12" y="9"/>
                    </a:cubicBezTo>
                    <a:cubicBezTo>
                      <a:pt x="17" y="6"/>
                      <a:pt x="23" y="0"/>
                      <a:pt x="28" y="7"/>
                    </a:cubicBezTo>
                    <a:cubicBezTo>
                      <a:pt x="41" y="28"/>
                      <a:pt x="54" y="50"/>
                      <a:pt x="65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6">
                <a:extLst>
                  <a:ext uri="{FF2B5EF4-FFF2-40B4-BE49-F238E27FC236}">
                    <a16:creationId xmlns:a16="http://schemas.microsoft.com/office/drawing/2014/main" id="{3D55B0CD-A0FE-4553-9ABC-D4FC35FF4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075" y="1835150"/>
                <a:ext cx="130175" cy="168275"/>
              </a:xfrm>
              <a:custGeom>
                <a:avLst/>
                <a:gdLst>
                  <a:gd name="T0" fmla="*/ 46 w 68"/>
                  <a:gd name="T1" fmla="*/ 0 h 87"/>
                  <a:gd name="T2" fmla="*/ 62 w 68"/>
                  <a:gd name="T3" fmla="*/ 26 h 87"/>
                  <a:gd name="T4" fmla="*/ 33 w 68"/>
                  <a:gd name="T5" fmla="*/ 76 h 87"/>
                  <a:gd name="T6" fmla="*/ 11 w 68"/>
                  <a:gd name="T7" fmla="*/ 80 h 87"/>
                  <a:gd name="T8" fmla="*/ 5 w 68"/>
                  <a:gd name="T9" fmla="*/ 60 h 87"/>
                  <a:gd name="T10" fmla="*/ 36 w 68"/>
                  <a:gd name="T11" fmla="*/ 9 h 87"/>
                  <a:gd name="T12" fmla="*/ 46 w 68"/>
                  <a:gd name="T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87">
                    <a:moveTo>
                      <a:pt x="46" y="0"/>
                    </a:moveTo>
                    <a:cubicBezTo>
                      <a:pt x="59" y="0"/>
                      <a:pt x="68" y="15"/>
                      <a:pt x="62" y="26"/>
                    </a:cubicBezTo>
                    <a:cubicBezTo>
                      <a:pt x="52" y="43"/>
                      <a:pt x="42" y="59"/>
                      <a:pt x="33" y="76"/>
                    </a:cubicBezTo>
                    <a:cubicBezTo>
                      <a:pt x="27" y="87"/>
                      <a:pt x="20" y="85"/>
                      <a:pt x="11" y="80"/>
                    </a:cubicBezTo>
                    <a:cubicBezTo>
                      <a:pt x="3" y="75"/>
                      <a:pt x="0" y="69"/>
                      <a:pt x="5" y="60"/>
                    </a:cubicBezTo>
                    <a:cubicBezTo>
                      <a:pt x="16" y="43"/>
                      <a:pt x="26" y="26"/>
                      <a:pt x="36" y="9"/>
                    </a:cubicBezTo>
                    <a:cubicBezTo>
                      <a:pt x="38" y="5"/>
                      <a:pt x="40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7">
                <a:extLst>
                  <a:ext uri="{FF2B5EF4-FFF2-40B4-BE49-F238E27FC236}">
                    <a16:creationId xmlns:a16="http://schemas.microsoft.com/office/drawing/2014/main" id="{4A7B0B0E-4DB1-4E26-8B44-E686F5216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1550" y="2012950"/>
                <a:ext cx="173038" cy="130175"/>
              </a:xfrm>
              <a:custGeom>
                <a:avLst/>
                <a:gdLst>
                  <a:gd name="T0" fmla="*/ 16 w 90"/>
                  <a:gd name="T1" fmla="*/ 67 h 67"/>
                  <a:gd name="T2" fmla="*/ 3 w 90"/>
                  <a:gd name="T3" fmla="*/ 52 h 67"/>
                  <a:gd name="T4" fmla="*/ 7 w 90"/>
                  <a:gd name="T5" fmla="*/ 38 h 67"/>
                  <a:gd name="T6" fmla="*/ 64 w 90"/>
                  <a:gd name="T7" fmla="*/ 5 h 67"/>
                  <a:gd name="T8" fmla="*/ 81 w 90"/>
                  <a:gd name="T9" fmla="*/ 13 h 67"/>
                  <a:gd name="T10" fmla="*/ 81 w 90"/>
                  <a:gd name="T11" fmla="*/ 30 h 67"/>
                  <a:gd name="T12" fmla="*/ 21 w 90"/>
                  <a:gd name="T13" fmla="*/ 65 h 67"/>
                  <a:gd name="T14" fmla="*/ 16 w 90"/>
                  <a:gd name="T1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67">
                    <a:moveTo>
                      <a:pt x="16" y="67"/>
                    </a:moveTo>
                    <a:cubicBezTo>
                      <a:pt x="8" y="64"/>
                      <a:pt x="6" y="57"/>
                      <a:pt x="3" y="52"/>
                    </a:cubicBezTo>
                    <a:cubicBezTo>
                      <a:pt x="0" y="46"/>
                      <a:pt x="2" y="41"/>
                      <a:pt x="7" y="38"/>
                    </a:cubicBezTo>
                    <a:cubicBezTo>
                      <a:pt x="26" y="27"/>
                      <a:pt x="45" y="16"/>
                      <a:pt x="64" y="5"/>
                    </a:cubicBezTo>
                    <a:cubicBezTo>
                      <a:pt x="73" y="0"/>
                      <a:pt x="78" y="6"/>
                      <a:pt x="81" y="13"/>
                    </a:cubicBezTo>
                    <a:cubicBezTo>
                      <a:pt x="85" y="19"/>
                      <a:pt x="90" y="25"/>
                      <a:pt x="81" y="30"/>
                    </a:cubicBezTo>
                    <a:cubicBezTo>
                      <a:pt x="62" y="42"/>
                      <a:pt x="41" y="54"/>
                      <a:pt x="21" y="65"/>
                    </a:cubicBezTo>
                    <a:cubicBezTo>
                      <a:pt x="19" y="66"/>
                      <a:pt x="17" y="66"/>
                      <a:pt x="16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8">
                <a:extLst>
                  <a:ext uri="{FF2B5EF4-FFF2-40B4-BE49-F238E27FC236}">
                    <a16:creationId xmlns:a16="http://schemas.microsoft.com/office/drawing/2014/main" id="{05C393B9-3BA7-484C-ACA1-ED7E8D7CA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538" y="2011363"/>
                <a:ext cx="169863" cy="134938"/>
              </a:xfrm>
              <a:custGeom>
                <a:avLst/>
                <a:gdLst>
                  <a:gd name="T0" fmla="*/ 87 w 88"/>
                  <a:gd name="T1" fmla="*/ 46 h 70"/>
                  <a:gd name="T2" fmla="*/ 62 w 88"/>
                  <a:gd name="T3" fmla="*/ 63 h 70"/>
                  <a:gd name="T4" fmla="*/ 10 w 88"/>
                  <a:gd name="T5" fmla="*/ 33 h 70"/>
                  <a:gd name="T6" fmla="*/ 7 w 88"/>
                  <a:gd name="T7" fmla="*/ 15 h 70"/>
                  <a:gd name="T8" fmla="*/ 24 w 88"/>
                  <a:gd name="T9" fmla="*/ 6 h 70"/>
                  <a:gd name="T10" fmla="*/ 82 w 88"/>
                  <a:gd name="T11" fmla="*/ 39 h 70"/>
                  <a:gd name="T12" fmla="*/ 87 w 88"/>
                  <a:gd name="T13" fmla="*/ 4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70">
                    <a:moveTo>
                      <a:pt x="87" y="46"/>
                    </a:moveTo>
                    <a:cubicBezTo>
                      <a:pt x="88" y="61"/>
                      <a:pt x="74" y="70"/>
                      <a:pt x="62" y="63"/>
                    </a:cubicBezTo>
                    <a:cubicBezTo>
                      <a:pt x="44" y="53"/>
                      <a:pt x="27" y="43"/>
                      <a:pt x="10" y="33"/>
                    </a:cubicBezTo>
                    <a:cubicBezTo>
                      <a:pt x="0" y="28"/>
                      <a:pt x="3" y="22"/>
                      <a:pt x="7" y="15"/>
                    </a:cubicBezTo>
                    <a:cubicBezTo>
                      <a:pt x="11" y="8"/>
                      <a:pt x="14" y="0"/>
                      <a:pt x="24" y="6"/>
                    </a:cubicBezTo>
                    <a:cubicBezTo>
                      <a:pt x="43" y="17"/>
                      <a:pt x="63" y="28"/>
                      <a:pt x="82" y="39"/>
                    </a:cubicBezTo>
                    <a:cubicBezTo>
                      <a:pt x="85" y="41"/>
                      <a:pt x="87" y="44"/>
                      <a:pt x="87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9">
                <a:extLst>
                  <a:ext uri="{FF2B5EF4-FFF2-40B4-BE49-F238E27FC236}">
                    <a16:creationId xmlns:a16="http://schemas.microsoft.com/office/drawing/2014/main" id="{E57234CA-100B-4ACA-8A3B-F32D78CAD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563" y="2174875"/>
                <a:ext cx="290513" cy="211138"/>
              </a:xfrm>
              <a:custGeom>
                <a:avLst/>
                <a:gdLst>
                  <a:gd name="T0" fmla="*/ 60 w 150"/>
                  <a:gd name="T1" fmla="*/ 109 h 109"/>
                  <a:gd name="T2" fmla="*/ 57 w 150"/>
                  <a:gd name="T3" fmla="*/ 109 h 109"/>
                  <a:gd name="T4" fmla="*/ 1 w 150"/>
                  <a:gd name="T5" fmla="*/ 52 h 109"/>
                  <a:gd name="T6" fmla="*/ 11 w 150"/>
                  <a:gd name="T7" fmla="*/ 36 h 109"/>
                  <a:gd name="T8" fmla="*/ 25 w 150"/>
                  <a:gd name="T9" fmla="*/ 37 h 109"/>
                  <a:gd name="T10" fmla="*/ 30 w 150"/>
                  <a:gd name="T11" fmla="*/ 41 h 109"/>
                  <a:gd name="T12" fmla="*/ 87 w 150"/>
                  <a:gd name="T13" fmla="*/ 40 h 109"/>
                  <a:gd name="T14" fmla="*/ 120 w 150"/>
                  <a:gd name="T15" fmla="*/ 7 h 109"/>
                  <a:gd name="T16" fmla="*/ 139 w 150"/>
                  <a:gd name="T17" fmla="*/ 10 h 109"/>
                  <a:gd name="T18" fmla="*/ 142 w 150"/>
                  <a:gd name="T19" fmla="*/ 29 h 109"/>
                  <a:gd name="T20" fmla="*/ 66 w 150"/>
                  <a:gd name="T21" fmla="*/ 105 h 109"/>
                  <a:gd name="T22" fmla="*/ 60 w 150"/>
                  <a:gd name="T2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0" h="109">
                    <a:moveTo>
                      <a:pt x="60" y="109"/>
                    </a:moveTo>
                    <a:cubicBezTo>
                      <a:pt x="58" y="109"/>
                      <a:pt x="58" y="109"/>
                      <a:pt x="57" y="109"/>
                    </a:cubicBezTo>
                    <a:cubicBezTo>
                      <a:pt x="53" y="108"/>
                      <a:pt x="1" y="57"/>
                      <a:pt x="1" y="52"/>
                    </a:cubicBezTo>
                    <a:cubicBezTo>
                      <a:pt x="0" y="45"/>
                      <a:pt x="7" y="41"/>
                      <a:pt x="11" y="36"/>
                    </a:cubicBezTo>
                    <a:cubicBezTo>
                      <a:pt x="16" y="32"/>
                      <a:pt x="21" y="32"/>
                      <a:pt x="25" y="37"/>
                    </a:cubicBezTo>
                    <a:cubicBezTo>
                      <a:pt x="27" y="38"/>
                      <a:pt x="28" y="39"/>
                      <a:pt x="30" y="41"/>
                    </a:cubicBezTo>
                    <a:cubicBezTo>
                      <a:pt x="59" y="68"/>
                      <a:pt x="59" y="68"/>
                      <a:pt x="87" y="40"/>
                    </a:cubicBezTo>
                    <a:cubicBezTo>
                      <a:pt x="98" y="29"/>
                      <a:pt x="109" y="18"/>
                      <a:pt x="120" y="7"/>
                    </a:cubicBezTo>
                    <a:cubicBezTo>
                      <a:pt x="128" y="0"/>
                      <a:pt x="133" y="5"/>
                      <a:pt x="139" y="10"/>
                    </a:cubicBezTo>
                    <a:cubicBezTo>
                      <a:pt x="144" y="16"/>
                      <a:pt x="150" y="21"/>
                      <a:pt x="142" y="29"/>
                    </a:cubicBezTo>
                    <a:cubicBezTo>
                      <a:pt x="117" y="54"/>
                      <a:pt x="91" y="80"/>
                      <a:pt x="66" y="105"/>
                    </a:cubicBezTo>
                    <a:cubicBezTo>
                      <a:pt x="64" y="107"/>
                      <a:pt x="62" y="108"/>
                      <a:pt x="60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0" name="Gruppieren 215">
              <a:extLst>
                <a:ext uri="{FF2B5EF4-FFF2-40B4-BE49-F238E27FC236}">
                  <a16:creationId xmlns:a16="http://schemas.microsoft.com/office/drawing/2014/main" id="{0C14F3EA-29DE-4135-B1CF-DB39D859A514}"/>
                </a:ext>
              </a:extLst>
            </p:cNvPr>
            <p:cNvGrpSpPr/>
            <p:nvPr/>
          </p:nvGrpSpPr>
          <p:grpSpPr bwMode="gray">
            <a:xfrm>
              <a:off x="8209968" y="3637388"/>
              <a:ext cx="362354" cy="372190"/>
              <a:chOff x="-16246475" y="1563688"/>
              <a:chExt cx="701675" cy="720725"/>
            </a:xfrm>
            <a:solidFill>
              <a:schemeClr val="bg1"/>
            </a:solidFill>
          </p:grpSpPr>
          <p:sp>
            <p:nvSpPr>
              <p:cNvPr id="121" name="Freeform 81">
                <a:extLst>
                  <a:ext uri="{FF2B5EF4-FFF2-40B4-BE49-F238E27FC236}">
                    <a16:creationId xmlns:a16="http://schemas.microsoft.com/office/drawing/2014/main" id="{7894F3AC-C42B-49C0-94B8-62DF103257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246475" y="2030413"/>
                <a:ext cx="242888" cy="254000"/>
              </a:xfrm>
              <a:custGeom>
                <a:avLst/>
                <a:gdLst>
                  <a:gd name="T0" fmla="*/ 0 w 132"/>
                  <a:gd name="T1" fmla="*/ 139 h 139"/>
                  <a:gd name="T2" fmla="*/ 61 w 132"/>
                  <a:gd name="T3" fmla="*/ 98 h 139"/>
                  <a:gd name="T4" fmla="*/ 51 w 132"/>
                  <a:gd name="T5" fmla="*/ 117 h 139"/>
                  <a:gd name="T6" fmla="*/ 132 w 132"/>
                  <a:gd name="T7" fmla="*/ 44 h 139"/>
                  <a:gd name="T8" fmla="*/ 85 w 132"/>
                  <a:gd name="T9" fmla="*/ 0 h 139"/>
                  <a:gd name="T10" fmla="*/ 25 w 132"/>
                  <a:gd name="T11" fmla="*/ 77 h 139"/>
                  <a:gd name="T12" fmla="*/ 52 w 132"/>
                  <a:gd name="T13" fmla="*/ 55 h 139"/>
                  <a:gd name="T14" fmla="*/ 0 w 132"/>
                  <a:gd name="T15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2" h="139">
                    <a:moveTo>
                      <a:pt x="0" y="139"/>
                    </a:moveTo>
                    <a:cubicBezTo>
                      <a:pt x="27" y="123"/>
                      <a:pt x="37" y="115"/>
                      <a:pt x="61" y="98"/>
                    </a:cubicBezTo>
                    <a:cubicBezTo>
                      <a:pt x="60" y="103"/>
                      <a:pt x="53" y="112"/>
                      <a:pt x="51" y="117"/>
                    </a:cubicBezTo>
                    <a:cubicBezTo>
                      <a:pt x="97" y="95"/>
                      <a:pt x="121" y="77"/>
                      <a:pt x="132" y="44"/>
                    </a:cubicBezTo>
                    <a:cubicBezTo>
                      <a:pt x="119" y="44"/>
                      <a:pt x="89" y="15"/>
                      <a:pt x="85" y="0"/>
                    </a:cubicBezTo>
                    <a:cubicBezTo>
                      <a:pt x="61" y="9"/>
                      <a:pt x="42" y="30"/>
                      <a:pt x="25" y="77"/>
                    </a:cubicBezTo>
                    <a:cubicBezTo>
                      <a:pt x="32" y="73"/>
                      <a:pt x="47" y="56"/>
                      <a:pt x="52" y="55"/>
                    </a:cubicBezTo>
                    <a:cubicBezTo>
                      <a:pt x="34" y="84"/>
                      <a:pt x="17" y="111"/>
                      <a:pt x="0" y="1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82">
                <a:extLst>
                  <a:ext uri="{FF2B5EF4-FFF2-40B4-BE49-F238E27FC236}">
                    <a16:creationId xmlns:a16="http://schemas.microsoft.com/office/drawing/2014/main" id="{0A170C37-853C-4A5D-A421-35A0B97A75B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6194088" y="1563688"/>
                <a:ext cx="649288" cy="647700"/>
              </a:xfrm>
              <a:custGeom>
                <a:avLst/>
                <a:gdLst>
                  <a:gd name="T0" fmla="*/ 354 w 354"/>
                  <a:gd name="T1" fmla="*/ 0 h 353"/>
                  <a:gd name="T2" fmla="*/ 192 w 354"/>
                  <a:gd name="T3" fmla="*/ 74 h 353"/>
                  <a:gd name="T4" fmla="*/ 71 w 354"/>
                  <a:gd name="T5" fmla="*/ 219 h 353"/>
                  <a:gd name="T6" fmla="*/ 94 w 354"/>
                  <a:gd name="T7" fmla="*/ 260 h 353"/>
                  <a:gd name="T8" fmla="*/ 135 w 354"/>
                  <a:gd name="T9" fmla="*/ 283 h 353"/>
                  <a:gd name="T10" fmla="*/ 279 w 354"/>
                  <a:gd name="T11" fmla="*/ 162 h 353"/>
                  <a:gd name="T12" fmla="*/ 354 w 354"/>
                  <a:gd name="T13" fmla="*/ 0 h 353"/>
                  <a:gd name="T14" fmla="*/ 219 w 354"/>
                  <a:gd name="T15" fmla="*/ 135 h 353"/>
                  <a:gd name="T16" fmla="*/ 219 w 354"/>
                  <a:gd name="T17" fmla="*/ 84 h 353"/>
                  <a:gd name="T18" fmla="*/ 270 w 354"/>
                  <a:gd name="T19" fmla="*/ 84 h 353"/>
                  <a:gd name="T20" fmla="*/ 270 w 354"/>
                  <a:gd name="T21" fmla="*/ 135 h 353"/>
                  <a:gd name="T22" fmla="*/ 219 w 354"/>
                  <a:gd name="T23" fmla="*/ 135 h 353"/>
                  <a:gd name="T24" fmla="*/ 216 w 354"/>
                  <a:gd name="T25" fmla="*/ 241 h 353"/>
                  <a:gd name="T26" fmla="*/ 147 w 354"/>
                  <a:gd name="T27" fmla="*/ 294 h 353"/>
                  <a:gd name="T28" fmla="*/ 155 w 354"/>
                  <a:gd name="T29" fmla="*/ 353 h 353"/>
                  <a:gd name="T30" fmla="*/ 186 w 354"/>
                  <a:gd name="T31" fmla="*/ 331 h 353"/>
                  <a:gd name="T32" fmla="*/ 216 w 354"/>
                  <a:gd name="T33" fmla="*/ 241 h 353"/>
                  <a:gd name="T34" fmla="*/ 22 w 354"/>
                  <a:gd name="T35" fmla="*/ 168 h 353"/>
                  <a:gd name="T36" fmla="*/ 0 w 354"/>
                  <a:gd name="T37" fmla="*/ 199 h 353"/>
                  <a:gd name="T38" fmla="*/ 59 w 354"/>
                  <a:gd name="T39" fmla="*/ 207 h 353"/>
                  <a:gd name="T40" fmla="*/ 113 w 354"/>
                  <a:gd name="T41" fmla="*/ 138 h 353"/>
                  <a:gd name="T42" fmla="*/ 22 w 354"/>
                  <a:gd name="T43" fmla="*/ 168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353">
                    <a:moveTo>
                      <a:pt x="354" y="0"/>
                    </a:moveTo>
                    <a:cubicBezTo>
                      <a:pt x="306" y="11"/>
                      <a:pt x="241" y="26"/>
                      <a:pt x="192" y="74"/>
                    </a:cubicBezTo>
                    <a:cubicBezTo>
                      <a:pt x="144" y="123"/>
                      <a:pt x="117" y="156"/>
                      <a:pt x="71" y="219"/>
                    </a:cubicBezTo>
                    <a:cubicBezTo>
                      <a:pt x="71" y="228"/>
                      <a:pt x="80" y="246"/>
                      <a:pt x="94" y="260"/>
                    </a:cubicBezTo>
                    <a:cubicBezTo>
                      <a:pt x="108" y="274"/>
                      <a:pt x="126" y="283"/>
                      <a:pt x="135" y="283"/>
                    </a:cubicBezTo>
                    <a:cubicBezTo>
                      <a:pt x="197" y="237"/>
                      <a:pt x="231" y="210"/>
                      <a:pt x="279" y="162"/>
                    </a:cubicBezTo>
                    <a:cubicBezTo>
                      <a:pt x="328" y="113"/>
                      <a:pt x="343" y="48"/>
                      <a:pt x="354" y="0"/>
                    </a:cubicBezTo>
                    <a:close/>
                    <a:moveTo>
                      <a:pt x="219" y="135"/>
                    </a:moveTo>
                    <a:cubicBezTo>
                      <a:pt x="205" y="121"/>
                      <a:pt x="205" y="98"/>
                      <a:pt x="219" y="84"/>
                    </a:cubicBezTo>
                    <a:cubicBezTo>
                      <a:pt x="233" y="70"/>
                      <a:pt x="256" y="70"/>
                      <a:pt x="270" y="84"/>
                    </a:cubicBezTo>
                    <a:cubicBezTo>
                      <a:pt x="284" y="98"/>
                      <a:pt x="284" y="121"/>
                      <a:pt x="270" y="135"/>
                    </a:cubicBezTo>
                    <a:cubicBezTo>
                      <a:pt x="256" y="149"/>
                      <a:pt x="233" y="149"/>
                      <a:pt x="219" y="135"/>
                    </a:cubicBezTo>
                    <a:close/>
                    <a:moveTo>
                      <a:pt x="216" y="241"/>
                    </a:moveTo>
                    <a:cubicBezTo>
                      <a:pt x="189" y="264"/>
                      <a:pt x="173" y="276"/>
                      <a:pt x="147" y="294"/>
                    </a:cubicBezTo>
                    <a:cubicBezTo>
                      <a:pt x="153" y="325"/>
                      <a:pt x="155" y="353"/>
                      <a:pt x="155" y="353"/>
                    </a:cubicBezTo>
                    <a:cubicBezTo>
                      <a:pt x="155" y="353"/>
                      <a:pt x="166" y="347"/>
                      <a:pt x="186" y="331"/>
                    </a:cubicBezTo>
                    <a:cubicBezTo>
                      <a:pt x="203" y="298"/>
                      <a:pt x="209" y="272"/>
                      <a:pt x="216" y="241"/>
                    </a:cubicBezTo>
                    <a:close/>
                    <a:moveTo>
                      <a:pt x="22" y="168"/>
                    </a:moveTo>
                    <a:cubicBezTo>
                      <a:pt x="7" y="188"/>
                      <a:pt x="0" y="199"/>
                      <a:pt x="0" y="199"/>
                    </a:cubicBezTo>
                    <a:cubicBezTo>
                      <a:pt x="0" y="199"/>
                      <a:pt x="29" y="201"/>
                      <a:pt x="59" y="207"/>
                    </a:cubicBezTo>
                    <a:cubicBezTo>
                      <a:pt x="78" y="181"/>
                      <a:pt x="90" y="165"/>
                      <a:pt x="113" y="138"/>
                    </a:cubicBezTo>
                    <a:cubicBezTo>
                      <a:pt x="81" y="145"/>
                      <a:pt x="56" y="151"/>
                      <a:pt x="22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3" name="Freeform 47">
              <a:extLst>
                <a:ext uri="{FF2B5EF4-FFF2-40B4-BE49-F238E27FC236}">
                  <a16:creationId xmlns:a16="http://schemas.microsoft.com/office/drawing/2014/main" id="{DA1FD08E-1B8F-4D25-96F9-987E359462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74523" y="2993212"/>
              <a:ext cx="263146" cy="331754"/>
            </a:xfrm>
            <a:custGeom>
              <a:avLst/>
              <a:gdLst>
                <a:gd name="T0" fmla="*/ 16 w 128"/>
                <a:gd name="T1" fmla="*/ 132 h 162"/>
                <a:gd name="T2" fmla="*/ 20 w 128"/>
                <a:gd name="T3" fmla="*/ 140 h 162"/>
                <a:gd name="T4" fmla="*/ 19 w 128"/>
                <a:gd name="T5" fmla="*/ 137 h 162"/>
                <a:gd name="T6" fmla="*/ 94 w 128"/>
                <a:gd name="T7" fmla="*/ 46 h 162"/>
                <a:gd name="T8" fmla="*/ 83 w 128"/>
                <a:gd name="T9" fmla="*/ 0 h 162"/>
                <a:gd name="T10" fmla="*/ 0 w 128"/>
                <a:gd name="T11" fmla="*/ 9 h 162"/>
                <a:gd name="T12" fmla="*/ 7 w 128"/>
                <a:gd name="T13" fmla="*/ 162 h 162"/>
                <a:gd name="T14" fmla="*/ 128 w 128"/>
                <a:gd name="T15" fmla="*/ 153 h 162"/>
                <a:gd name="T16" fmla="*/ 94 w 128"/>
                <a:gd name="T17" fmla="*/ 46 h 162"/>
                <a:gd name="T18" fmla="*/ 20 w 128"/>
                <a:gd name="T19" fmla="*/ 59 h 162"/>
                <a:gd name="T20" fmla="*/ 43 w 128"/>
                <a:gd name="T21" fmla="*/ 65 h 162"/>
                <a:gd name="T22" fmla="*/ 37 w 128"/>
                <a:gd name="T23" fmla="*/ 89 h 162"/>
                <a:gd name="T24" fmla="*/ 14 w 128"/>
                <a:gd name="T25" fmla="*/ 83 h 162"/>
                <a:gd name="T26" fmla="*/ 42 w 128"/>
                <a:gd name="T27" fmla="*/ 115 h 162"/>
                <a:gd name="T28" fmla="*/ 43 w 128"/>
                <a:gd name="T29" fmla="*/ 137 h 162"/>
                <a:gd name="T30" fmla="*/ 20 w 128"/>
                <a:gd name="T31" fmla="*/ 143 h 162"/>
                <a:gd name="T32" fmla="*/ 14 w 128"/>
                <a:gd name="T33" fmla="*/ 128 h 162"/>
                <a:gd name="T34" fmla="*/ 14 w 128"/>
                <a:gd name="T35" fmla="*/ 126 h 162"/>
                <a:gd name="T36" fmla="*/ 20 w 128"/>
                <a:gd name="T37" fmla="*/ 113 h 162"/>
                <a:gd name="T38" fmla="*/ 39 w 128"/>
                <a:gd name="T39" fmla="*/ 114 h 162"/>
                <a:gd name="T40" fmla="*/ 52 w 128"/>
                <a:gd name="T41" fmla="*/ 106 h 162"/>
                <a:gd name="T42" fmla="*/ 109 w 128"/>
                <a:gd name="T43" fmla="*/ 139 h 162"/>
                <a:gd name="T44" fmla="*/ 58 w 128"/>
                <a:gd name="T45" fmla="*/ 118 h 162"/>
                <a:gd name="T46" fmla="*/ 109 w 128"/>
                <a:gd name="T47" fmla="*/ 139 h 162"/>
                <a:gd name="T48" fmla="*/ 58 w 128"/>
                <a:gd name="T49" fmla="*/ 85 h 162"/>
                <a:gd name="T50" fmla="*/ 109 w 128"/>
                <a:gd name="T51" fmla="*/ 63 h 162"/>
                <a:gd name="T52" fmla="*/ 94 w 128"/>
                <a:gd name="T53" fmla="*/ 41 h 162"/>
                <a:gd name="T54" fmla="*/ 88 w 128"/>
                <a:gd name="T55" fmla="*/ 5 h 162"/>
                <a:gd name="T56" fmla="*/ 94 w 128"/>
                <a:gd name="T57" fmla="*/ 41 h 162"/>
                <a:gd name="T58" fmla="*/ 37 w 128"/>
                <a:gd name="T59" fmla="*/ 86 h 162"/>
                <a:gd name="T60" fmla="*/ 40 w 128"/>
                <a:gd name="T61" fmla="*/ 65 h 162"/>
                <a:gd name="T62" fmla="*/ 20 w 128"/>
                <a:gd name="T63" fmla="*/ 62 h 162"/>
                <a:gd name="T64" fmla="*/ 16 w 128"/>
                <a:gd name="T65" fmla="*/ 83 h 162"/>
                <a:gd name="T66" fmla="*/ 38 w 128"/>
                <a:gd name="T67" fmla="*/ 120 h 162"/>
                <a:gd name="T68" fmla="*/ 24 w 128"/>
                <a:gd name="T69" fmla="*/ 139 h 162"/>
                <a:gd name="T70" fmla="*/ 37 w 128"/>
                <a:gd name="T71" fmla="*/ 140 h 162"/>
                <a:gd name="T72" fmla="*/ 40 w 128"/>
                <a:gd name="T73" fmla="*/ 119 h 162"/>
                <a:gd name="T74" fmla="*/ 38 w 128"/>
                <a:gd name="T75" fmla="*/ 120 h 162"/>
                <a:gd name="T76" fmla="*/ 20 w 128"/>
                <a:gd name="T77" fmla="*/ 116 h 162"/>
                <a:gd name="T78" fmla="*/ 16 w 128"/>
                <a:gd name="T79" fmla="*/ 124 h 162"/>
                <a:gd name="T80" fmla="*/ 22 w 128"/>
                <a:gd name="T81" fmla="*/ 130 h 162"/>
                <a:gd name="T82" fmla="*/ 36 w 128"/>
                <a:gd name="T83" fmla="*/ 1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8" h="162">
                  <a:moveTo>
                    <a:pt x="18" y="136"/>
                  </a:moveTo>
                  <a:cubicBezTo>
                    <a:pt x="18" y="134"/>
                    <a:pt x="17" y="133"/>
                    <a:pt x="16" y="132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9"/>
                    <a:pt x="18" y="140"/>
                    <a:pt x="20" y="140"/>
                  </a:cubicBezTo>
                  <a:cubicBezTo>
                    <a:pt x="20" y="140"/>
                    <a:pt x="20" y="140"/>
                    <a:pt x="20" y="140"/>
                  </a:cubicBezTo>
                  <a:cubicBezTo>
                    <a:pt x="20" y="140"/>
                    <a:pt x="19" y="139"/>
                    <a:pt x="19" y="137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94" y="46"/>
                  </a:moveTo>
                  <a:cubicBezTo>
                    <a:pt x="88" y="46"/>
                    <a:pt x="83" y="41"/>
                    <a:pt x="83" y="33"/>
                  </a:cubicBezTo>
                  <a:cubicBezTo>
                    <a:pt x="83" y="33"/>
                    <a:pt x="83" y="3"/>
                    <a:pt x="83" y="0"/>
                  </a:cubicBezTo>
                  <a:cubicBezTo>
                    <a:pt x="81" y="0"/>
                    <a:pt x="7" y="0"/>
                    <a:pt x="7" y="0"/>
                  </a:cubicBezTo>
                  <a:cubicBezTo>
                    <a:pt x="2" y="0"/>
                    <a:pt x="0" y="4"/>
                    <a:pt x="0" y="9"/>
                  </a:cubicBezTo>
                  <a:cubicBezTo>
                    <a:pt x="0" y="9"/>
                    <a:pt x="0" y="9"/>
                    <a:pt x="0" y="153"/>
                  </a:cubicBezTo>
                  <a:cubicBezTo>
                    <a:pt x="0" y="158"/>
                    <a:pt x="2" y="162"/>
                    <a:pt x="7" y="162"/>
                  </a:cubicBezTo>
                  <a:cubicBezTo>
                    <a:pt x="7" y="162"/>
                    <a:pt x="7" y="162"/>
                    <a:pt x="121" y="162"/>
                  </a:cubicBezTo>
                  <a:cubicBezTo>
                    <a:pt x="125" y="162"/>
                    <a:pt x="128" y="158"/>
                    <a:pt x="128" y="153"/>
                  </a:cubicBezTo>
                  <a:cubicBezTo>
                    <a:pt x="128" y="153"/>
                    <a:pt x="128" y="48"/>
                    <a:pt x="128" y="46"/>
                  </a:cubicBezTo>
                  <a:cubicBezTo>
                    <a:pt x="126" y="46"/>
                    <a:pt x="94" y="46"/>
                    <a:pt x="94" y="46"/>
                  </a:cubicBezTo>
                  <a:close/>
                  <a:moveTo>
                    <a:pt x="14" y="65"/>
                  </a:moveTo>
                  <a:cubicBezTo>
                    <a:pt x="14" y="62"/>
                    <a:pt x="16" y="59"/>
                    <a:pt x="20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41" y="59"/>
                    <a:pt x="43" y="62"/>
                    <a:pt x="43" y="65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6"/>
                    <a:pt x="41" y="89"/>
                    <a:pt x="37" y="89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16" y="89"/>
                    <a:pt x="14" y="86"/>
                    <a:pt x="14" y="83"/>
                  </a:cubicBezTo>
                  <a:lnTo>
                    <a:pt x="14" y="65"/>
                  </a:lnTo>
                  <a:close/>
                  <a:moveTo>
                    <a:pt x="42" y="115"/>
                  </a:moveTo>
                  <a:cubicBezTo>
                    <a:pt x="43" y="116"/>
                    <a:pt x="43" y="118"/>
                    <a:pt x="43" y="119"/>
                  </a:cubicBezTo>
                  <a:cubicBezTo>
                    <a:pt x="43" y="137"/>
                    <a:pt x="43" y="137"/>
                    <a:pt x="43" y="137"/>
                  </a:cubicBezTo>
                  <a:cubicBezTo>
                    <a:pt x="43" y="141"/>
                    <a:pt x="41" y="143"/>
                    <a:pt x="37" y="143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16" y="143"/>
                    <a:pt x="14" y="141"/>
                    <a:pt x="14" y="137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3" y="128"/>
                    <a:pt x="12" y="127"/>
                    <a:pt x="12" y="127"/>
                  </a:cubicBezTo>
                  <a:cubicBezTo>
                    <a:pt x="12" y="127"/>
                    <a:pt x="13" y="126"/>
                    <a:pt x="14" y="126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6"/>
                    <a:pt x="16" y="113"/>
                    <a:pt x="20" y="113"/>
                  </a:cubicBezTo>
                  <a:cubicBezTo>
                    <a:pt x="37" y="113"/>
                    <a:pt x="37" y="113"/>
                    <a:pt x="37" y="113"/>
                  </a:cubicBezTo>
                  <a:cubicBezTo>
                    <a:pt x="38" y="113"/>
                    <a:pt x="38" y="113"/>
                    <a:pt x="39" y="114"/>
                  </a:cubicBezTo>
                  <a:cubicBezTo>
                    <a:pt x="43" y="110"/>
                    <a:pt x="47" y="106"/>
                    <a:pt x="50" y="104"/>
                  </a:cubicBezTo>
                  <a:cubicBezTo>
                    <a:pt x="52" y="106"/>
                    <a:pt x="52" y="106"/>
                    <a:pt x="52" y="106"/>
                  </a:cubicBezTo>
                  <a:cubicBezTo>
                    <a:pt x="49" y="108"/>
                    <a:pt x="45" y="111"/>
                    <a:pt x="42" y="115"/>
                  </a:cubicBezTo>
                  <a:close/>
                  <a:moveTo>
                    <a:pt x="109" y="139"/>
                  </a:moveTo>
                  <a:cubicBezTo>
                    <a:pt x="58" y="139"/>
                    <a:pt x="58" y="139"/>
                    <a:pt x="58" y="139"/>
                  </a:cubicBezTo>
                  <a:cubicBezTo>
                    <a:pt x="58" y="118"/>
                    <a:pt x="58" y="118"/>
                    <a:pt x="58" y="118"/>
                  </a:cubicBezTo>
                  <a:cubicBezTo>
                    <a:pt x="109" y="118"/>
                    <a:pt x="109" y="118"/>
                    <a:pt x="109" y="118"/>
                  </a:cubicBezTo>
                  <a:lnTo>
                    <a:pt x="109" y="139"/>
                  </a:lnTo>
                  <a:close/>
                  <a:moveTo>
                    <a:pt x="109" y="85"/>
                  </a:moveTo>
                  <a:cubicBezTo>
                    <a:pt x="58" y="85"/>
                    <a:pt x="58" y="85"/>
                    <a:pt x="58" y="85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109" y="63"/>
                    <a:pt x="109" y="63"/>
                    <a:pt x="109" y="63"/>
                  </a:cubicBezTo>
                  <a:lnTo>
                    <a:pt x="109" y="85"/>
                  </a:lnTo>
                  <a:close/>
                  <a:moveTo>
                    <a:pt x="94" y="41"/>
                  </a:moveTo>
                  <a:cubicBezTo>
                    <a:pt x="94" y="41"/>
                    <a:pt x="119" y="41"/>
                    <a:pt x="124" y="41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10"/>
                    <a:pt x="88" y="33"/>
                    <a:pt x="88" y="33"/>
                  </a:cubicBezTo>
                  <a:cubicBezTo>
                    <a:pt x="88" y="38"/>
                    <a:pt x="91" y="41"/>
                    <a:pt x="94" y="41"/>
                  </a:cubicBezTo>
                  <a:close/>
                  <a:moveTo>
                    <a:pt x="20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39" y="86"/>
                    <a:pt x="40" y="85"/>
                    <a:pt x="40" y="83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0" y="63"/>
                    <a:pt x="39" y="62"/>
                    <a:pt x="37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8" y="62"/>
                    <a:pt x="16" y="63"/>
                    <a:pt x="16" y="65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5"/>
                    <a:pt x="18" y="86"/>
                    <a:pt x="20" y="86"/>
                  </a:cubicBezTo>
                  <a:close/>
                  <a:moveTo>
                    <a:pt x="38" y="120"/>
                  </a:moveTo>
                  <a:cubicBezTo>
                    <a:pt x="33" y="126"/>
                    <a:pt x="29" y="132"/>
                    <a:pt x="26" y="138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24" y="140"/>
                    <a:pt x="23" y="140"/>
                    <a:pt x="23" y="140"/>
                  </a:cubicBezTo>
                  <a:cubicBezTo>
                    <a:pt x="37" y="140"/>
                    <a:pt x="37" y="140"/>
                    <a:pt x="37" y="140"/>
                  </a:cubicBezTo>
                  <a:cubicBezTo>
                    <a:pt x="39" y="140"/>
                    <a:pt x="40" y="139"/>
                    <a:pt x="40" y="137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40" y="118"/>
                    <a:pt x="40" y="118"/>
                  </a:cubicBezTo>
                  <a:cubicBezTo>
                    <a:pt x="39" y="118"/>
                    <a:pt x="39" y="119"/>
                    <a:pt x="38" y="120"/>
                  </a:cubicBezTo>
                  <a:close/>
                  <a:moveTo>
                    <a:pt x="36" y="116"/>
                  </a:moveTo>
                  <a:cubicBezTo>
                    <a:pt x="20" y="116"/>
                    <a:pt x="20" y="116"/>
                    <a:pt x="20" y="116"/>
                  </a:cubicBezTo>
                  <a:cubicBezTo>
                    <a:pt x="18" y="116"/>
                    <a:pt x="16" y="118"/>
                    <a:pt x="16" y="119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9" y="124"/>
                    <a:pt x="21" y="126"/>
                    <a:pt x="22" y="130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26" y="126"/>
                    <a:pt x="31" y="121"/>
                    <a:pt x="36" y="1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myP_Data tool">
              <a:extLst>
                <a:ext uri="{FF2B5EF4-FFF2-40B4-BE49-F238E27FC236}">
                  <a16:creationId xmlns:a16="http://schemas.microsoft.com/office/drawing/2014/main" id="{D21FA75F-E9AC-4F20-83E0-A8AE4E3633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2183" y="3640298"/>
              <a:ext cx="343292" cy="353844"/>
            </a:xfrm>
            <a:custGeom>
              <a:avLst/>
              <a:gdLst>
                <a:gd name="T0" fmla="*/ 770 w 891"/>
                <a:gd name="T1" fmla="*/ 485 h 914"/>
                <a:gd name="T2" fmla="*/ 799 w 891"/>
                <a:gd name="T3" fmla="*/ 675 h 914"/>
                <a:gd name="T4" fmla="*/ 883 w 891"/>
                <a:gd name="T5" fmla="*/ 817 h 914"/>
                <a:gd name="T6" fmla="*/ 683 w 891"/>
                <a:gd name="T7" fmla="*/ 828 h 914"/>
                <a:gd name="T8" fmla="*/ 766 w 891"/>
                <a:gd name="T9" fmla="*/ 661 h 914"/>
                <a:gd name="T10" fmla="*/ 744 w 891"/>
                <a:gd name="T11" fmla="*/ 519 h 914"/>
                <a:gd name="T12" fmla="*/ 576 w 891"/>
                <a:gd name="T13" fmla="*/ 540 h 914"/>
                <a:gd name="T14" fmla="*/ 542 w 891"/>
                <a:gd name="T15" fmla="*/ 635 h 914"/>
                <a:gd name="T16" fmla="*/ 460 w 891"/>
                <a:gd name="T17" fmla="*/ 654 h 914"/>
                <a:gd name="T18" fmla="*/ 486 w 891"/>
                <a:gd name="T19" fmla="*/ 708 h 914"/>
                <a:gd name="T20" fmla="*/ 438 w 891"/>
                <a:gd name="T21" fmla="*/ 903 h 914"/>
                <a:gd name="T22" fmla="*/ 407 w 891"/>
                <a:gd name="T23" fmla="*/ 705 h 914"/>
                <a:gd name="T24" fmla="*/ 426 w 891"/>
                <a:gd name="T25" fmla="*/ 658 h 914"/>
                <a:gd name="T26" fmla="*/ 342 w 891"/>
                <a:gd name="T27" fmla="*/ 635 h 914"/>
                <a:gd name="T28" fmla="*/ 310 w 891"/>
                <a:gd name="T29" fmla="*/ 537 h 914"/>
                <a:gd name="T30" fmla="*/ 148 w 891"/>
                <a:gd name="T31" fmla="*/ 519 h 914"/>
                <a:gd name="T32" fmla="*/ 132 w 891"/>
                <a:gd name="T33" fmla="*/ 683 h 914"/>
                <a:gd name="T34" fmla="*/ 219 w 891"/>
                <a:gd name="T35" fmla="*/ 805 h 914"/>
                <a:gd name="T36" fmla="*/ 18 w 891"/>
                <a:gd name="T37" fmla="*/ 834 h 914"/>
                <a:gd name="T38" fmla="*/ 98 w 891"/>
                <a:gd name="T39" fmla="*/ 674 h 914"/>
                <a:gd name="T40" fmla="*/ 132 w 891"/>
                <a:gd name="T41" fmla="*/ 485 h 914"/>
                <a:gd name="T42" fmla="*/ 310 w 891"/>
                <a:gd name="T43" fmla="*/ 463 h 914"/>
                <a:gd name="T44" fmla="*/ 351 w 891"/>
                <a:gd name="T45" fmla="*/ 369 h 914"/>
                <a:gd name="T46" fmla="*/ 426 w 891"/>
                <a:gd name="T47" fmla="*/ 352 h 914"/>
                <a:gd name="T48" fmla="*/ 276 w 891"/>
                <a:gd name="T49" fmla="*/ 303 h 914"/>
                <a:gd name="T50" fmla="*/ 284 w 891"/>
                <a:gd name="T51" fmla="*/ 113 h 914"/>
                <a:gd name="T52" fmla="*/ 502 w 891"/>
                <a:gd name="T53" fmla="*/ 59 h 914"/>
                <a:gd name="T54" fmla="*/ 635 w 891"/>
                <a:gd name="T55" fmla="*/ 126 h 914"/>
                <a:gd name="T56" fmla="*/ 694 w 891"/>
                <a:gd name="T57" fmla="*/ 240 h 914"/>
                <a:gd name="T58" fmla="*/ 480 w 891"/>
                <a:gd name="T59" fmla="*/ 303 h 914"/>
                <a:gd name="T60" fmla="*/ 504 w 891"/>
                <a:gd name="T61" fmla="*/ 369 h 914"/>
                <a:gd name="T62" fmla="*/ 576 w 891"/>
                <a:gd name="T63" fmla="*/ 398 h 914"/>
                <a:gd name="T64" fmla="*/ 598 w 891"/>
                <a:gd name="T65" fmla="*/ 485 h 914"/>
                <a:gd name="T66" fmla="*/ 440 w 891"/>
                <a:gd name="T67" fmla="*/ 261 h 914"/>
                <a:gd name="T68" fmla="*/ 633 w 891"/>
                <a:gd name="T69" fmla="*/ 254 h 914"/>
                <a:gd name="T70" fmla="*/ 622 w 891"/>
                <a:gd name="T71" fmla="*/ 182 h 914"/>
                <a:gd name="T72" fmla="*/ 576 w 891"/>
                <a:gd name="T73" fmla="*/ 112 h 914"/>
                <a:gd name="T74" fmla="*/ 534 w 891"/>
                <a:gd name="T75" fmla="*/ 135 h 914"/>
                <a:gd name="T76" fmla="*/ 511 w 891"/>
                <a:gd name="T77" fmla="*/ 170 h 914"/>
                <a:gd name="T78" fmla="*/ 489 w 891"/>
                <a:gd name="T79" fmla="*/ 130 h 914"/>
                <a:gd name="T80" fmla="*/ 339 w 891"/>
                <a:gd name="T81" fmla="*/ 140 h 914"/>
                <a:gd name="T82" fmla="*/ 285 w 891"/>
                <a:gd name="T83" fmla="*/ 159 h 914"/>
                <a:gd name="T84" fmla="*/ 282 w 891"/>
                <a:gd name="T85" fmla="*/ 260 h 914"/>
                <a:gd name="T86" fmla="*/ 354 w 891"/>
                <a:gd name="T87" fmla="*/ 500 h 914"/>
                <a:gd name="T88" fmla="*/ 373 w 891"/>
                <a:gd name="T89" fmla="*/ 593 h 914"/>
                <a:gd name="T90" fmla="*/ 533 w 891"/>
                <a:gd name="T91" fmla="*/ 577 h 914"/>
                <a:gd name="T92" fmla="*/ 517 w 891"/>
                <a:gd name="T93" fmla="*/ 411 h 914"/>
                <a:gd name="T94" fmla="*/ 354 w 891"/>
                <a:gd name="T95" fmla="*/ 428 h 914"/>
                <a:gd name="T96" fmla="*/ 444 w 891"/>
                <a:gd name="T97" fmla="*/ 742 h 914"/>
                <a:gd name="T98" fmla="*/ 443 w 891"/>
                <a:gd name="T99" fmla="*/ 860 h 914"/>
                <a:gd name="T100" fmla="*/ 444 w 891"/>
                <a:gd name="T101" fmla="*/ 742 h 914"/>
                <a:gd name="T102" fmla="*/ 56 w 891"/>
                <a:gd name="T103" fmla="*/ 800 h 914"/>
                <a:gd name="T104" fmla="*/ 174 w 891"/>
                <a:gd name="T105" fmla="*/ 799 h 914"/>
                <a:gd name="T106" fmla="*/ 723 w 891"/>
                <a:gd name="T107" fmla="*/ 801 h 914"/>
                <a:gd name="T108" fmla="*/ 841 w 891"/>
                <a:gd name="T109" fmla="*/ 800 h 914"/>
                <a:gd name="T110" fmla="*/ 723 w 891"/>
                <a:gd name="T111" fmla="*/ 801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1" h="914">
                  <a:moveTo>
                    <a:pt x="684" y="485"/>
                  </a:moveTo>
                  <a:cubicBezTo>
                    <a:pt x="712" y="485"/>
                    <a:pt x="741" y="485"/>
                    <a:pt x="770" y="485"/>
                  </a:cubicBezTo>
                  <a:cubicBezTo>
                    <a:pt x="794" y="485"/>
                    <a:pt x="799" y="490"/>
                    <a:pt x="799" y="515"/>
                  </a:cubicBezTo>
                  <a:cubicBezTo>
                    <a:pt x="799" y="568"/>
                    <a:pt x="799" y="621"/>
                    <a:pt x="799" y="675"/>
                  </a:cubicBezTo>
                  <a:cubicBezTo>
                    <a:pt x="798" y="691"/>
                    <a:pt x="802" y="699"/>
                    <a:pt x="819" y="705"/>
                  </a:cubicBezTo>
                  <a:cubicBezTo>
                    <a:pt x="865" y="721"/>
                    <a:pt x="891" y="768"/>
                    <a:pt x="883" y="817"/>
                  </a:cubicBezTo>
                  <a:cubicBezTo>
                    <a:pt x="876" y="863"/>
                    <a:pt x="835" y="901"/>
                    <a:pt x="788" y="903"/>
                  </a:cubicBezTo>
                  <a:cubicBezTo>
                    <a:pt x="740" y="906"/>
                    <a:pt x="695" y="874"/>
                    <a:pt x="683" y="828"/>
                  </a:cubicBezTo>
                  <a:cubicBezTo>
                    <a:pt x="670" y="780"/>
                    <a:pt x="690" y="728"/>
                    <a:pt x="736" y="710"/>
                  </a:cubicBezTo>
                  <a:cubicBezTo>
                    <a:pt x="762" y="699"/>
                    <a:pt x="767" y="685"/>
                    <a:pt x="766" y="661"/>
                  </a:cubicBezTo>
                  <a:cubicBezTo>
                    <a:pt x="764" y="621"/>
                    <a:pt x="765" y="581"/>
                    <a:pt x="765" y="541"/>
                  </a:cubicBezTo>
                  <a:cubicBezTo>
                    <a:pt x="766" y="525"/>
                    <a:pt x="761" y="518"/>
                    <a:pt x="744" y="519"/>
                  </a:cubicBezTo>
                  <a:cubicBezTo>
                    <a:pt x="695" y="520"/>
                    <a:pt x="646" y="520"/>
                    <a:pt x="596" y="519"/>
                  </a:cubicBezTo>
                  <a:cubicBezTo>
                    <a:pt x="579" y="518"/>
                    <a:pt x="576" y="525"/>
                    <a:pt x="576" y="540"/>
                  </a:cubicBezTo>
                  <a:cubicBezTo>
                    <a:pt x="577" y="560"/>
                    <a:pt x="577" y="581"/>
                    <a:pt x="577" y="602"/>
                  </a:cubicBezTo>
                  <a:cubicBezTo>
                    <a:pt x="576" y="631"/>
                    <a:pt x="571" y="635"/>
                    <a:pt x="542" y="635"/>
                  </a:cubicBezTo>
                  <a:cubicBezTo>
                    <a:pt x="521" y="635"/>
                    <a:pt x="500" y="636"/>
                    <a:pt x="478" y="635"/>
                  </a:cubicBezTo>
                  <a:cubicBezTo>
                    <a:pt x="464" y="635"/>
                    <a:pt x="458" y="640"/>
                    <a:pt x="460" y="654"/>
                  </a:cubicBezTo>
                  <a:cubicBezTo>
                    <a:pt x="460" y="658"/>
                    <a:pt x="460" y="662"/>
                    <a:pt x="460" y="666"/>
                  </a:cubicBezTo>
                  <a:cubicBezTo>
                    <a:pt x="456" y="688"/>
                    <a:pt x="464" y="699"/>
                    <a:pt x="486" y="708"/>
                  </a:cubicBezTo>
                  <a:cubicBezTo>
                    <a:pt x="533" y="727"/>
                    <a:pt x="555" y="778"/>
                    <a:pt x="543" y="827"/>
                  </a:cubicBezTo>
                  <a:cubicBezTo>
                    <a:pt x="531" y="873"/>
                    <a:pt x="486" y="905"/>
                    <a:pt x="438" y="903"/>
                  </a:cubicBezTo>
                  <a:cubicBezTo>
                    <a:pt x="391" y="901"/>
                    <a:pt x="350" y="864"/>
                    <a:pt x="342" y="818"/>
                  </a:cubicBezTo>
                  <a:cubicBezTo>
                    <a:pt x="334" y="770"/>
                    <a:pt x="360" y="721"/>
                    <a:pt x="407" y="705"/>
                  </a:cubicBezTo>
                  <a:cubicBezTo>
                    <a:pt x="421" y="700"/>
                    <a:pt x="428" y="693"/>
                    <a:pt x="426" y="678"/>
                  </a:cubicBezTo>
                  <a:cubicBezTo>
                    <a:pt x="425" y="671"/>
                    <a:pt x="425" y="665"/>
                    <a:pt x="426" y="658"/>
                  </a:cubicBezTo>
                  <a:cubicBezTo>
                    <a:pt x="428" y="641"/>
                    <a:pt x="421" y="634"/>
                    <a:pt x="403" y="635"/>
                  </a:cubicBezTo>
                  <a:cubicBezTo>
                    <a:pt x="383" y="636"/>
                    <a:pt x="362" y="636"/>
                    <a:pt x="342" y="635"/>
                  </a:cubicBezTo>
                  <a:cubicBezTo>
                    <a:pt x="317" y="635"/>
                    <a:pt x="310" y="628"/>
                    <a:pt x="310" y="603"/>
                  </a:cubicBezTo>
                  <a:cubicBezTo>
                    <a:pt x="309" y="581"/>
                    <a:pt x="309" y="559"/>
                    <a:pt x="310" y="537"/>
                  </a:cubicBezTo>
                  <a:cubicBezTo>
                    <a:pt x="310" y="524"/>
                    <a:pt x="305" y="519"/>
                    <a:pt x="292" y="519"/>
                  </a:cubicBezTo>
                  <a:cubicBezTo>
                    <a:pt x="244" y="519"/>
                    <a:pt x="196" y="519"/>
                    <a:pt x="148" y="519"/>
                  </a:cubicBezTo>
                  <a:cubicBezTo>
                    <a:pt x="136" y="519"/>
                    <a:pt x="132" y="523"/>
                    <a:pt x="132" y="535"/>
                  </a:cubicBezTo>
                  <a:cubicBezTo>
                    <a:pt x="132" y="585"/>
                    <a:pt x="132" y="634"/>
                    <a:pt x="132" y="683"/>
                  </a:cubicBezTo>
                  <a:cubicBezTo>
                    <a:pt x="131" y="698"/>
                    <a:pt x="141" y="700"/>
                    <a:pt x="151" y="704"/>
                  </a:cubicBezTo>
                  <a:cubicBezTo>
                    <a:pt x="193" y="721"/>
                    <a:pt x="221" y="762"/>
                    <a:pt x="219" y="805"/>
                  </a:cubicBezTo>
                  <a:cubicBezTo>
                    <a:pt x="216" y="849"/>
                    <a:pt x="186" y="887"/>
                    <a:pt x="143" y="899"/>
                  </a:cubicBezTo>
                  <a:cubicBezTo>
                    <a:pt x="91" y="914"/>
                    <a:pt x="36" y="886"/>
                    <a:pt x="18" y="834"/>
                  </a:cubicBezTo>
                  <a:cubicBezTo>
                    <a:pt x="0" y="782"/>
                    <a:pt x="26" y="724"/>
                    <a:pt x="77" y="706"/>
                  </a:cubicBezTo>
                  <a:cubicBezTo>
                    <a:pt x="94" y="699"/>
                    <a:pt x="99" y="691"/>
                    <a:pt x="98" y="674"/>
                  </a:cubicBezTo>
                  <a:cubicBezTo>
                    <a:pt x="97" y="622"/>
                    <a:pt x="98" y="570"/>
                    <a:pt x="98" y="518"/>
                  </a:cubicBezTo>
                  <a:cubicBezTo>
                    <a:pt x="98" y="489"/>
                    <a:pt x="103" y="485"/>
                    <a:pt x="132" y="485"/>
                  </a:cubicBezTo>
                  <a:cubicBezTo>
                    <a:pt x="184" y="485"/>
                    <a:pt x="236" y="484"/>
                    <a:pt x="288" y="485"/>
                  </a:cubicBezTo>
                  <a:cubicBezTo>
                    <a:pt x="305" y="486"/>
                    <a:pt x="311" y="480"/>
                    <a:pt x="310" y="463"/>
                  </a:cubicBezTo>
                  <a:cubicBezTo>
                    <a:pt x="309" y="446"/>
                    <a:pt x="309" y="428"/>
                    <a:pt x="310" y="410"/>
                  </a:cubicBezTo>
                  <a:cubicBezTo>
                    <a:pt x="310" y="373"/>
                    <a:pt x="314" y="369"/>
                    <a:pt x="351" y="369"/>
                  </a:cubicBezTo>
                  <a:cubicBezTo>
                    <a:pt x="371" y="369"/>
                    <a:pt x="390" y="368"/>
                    <a:pt x="409" y="369"/>
                  </a:cubicBezTo>
                  <a:cubicBezTo>
                    <a:pt x="421" y="369"/>
                    <a:pt x="426" y="364"/>
                    <a:pt x="426" y="352"/>
                  </a:cubicBezTo>
                  <a:cubicBezTo>
                    <a:pt x="426" y="292"/>
                    <a:pt x="432" y="304"/>
                    <a:pt x="380" y="303"/>
                  </a:cubicBezTo>
                  <a:cubicBezTo>
                    <a:pt x="345" y="303"/>
                    <a:pt x="311" y="303"/>
                    <a:pt x="276" y="303"/>
                  </a:cubicBezTo>
                  <a:cubicBezTo>
                    <a:pt x="223" y="303"/>
                    <a:pt x="189" y="270"/>
                    <a:pt x="190" y="217"/>
                  </a:cubicBezTo>
                  <a:cubicBezTo>
                    <a:pt x="191" y="158"/>
                    <a:pt x="229" y="113"/>
                    <a:pt x="284" y="113"/>
                  </a:cubicBezTo>
                  <a:cubicBezTo>
                    <a:pt x="295" y="113"/>
                    <a:pt x="299" y="108"/>
                    <a:pt x="302" y="99"/>
                  </a:cubicBezTo>
                  <a:cubicBezTo>
                    <a:pt x="330" y="19"/>
                    <a:pt x="443" y="0"/>
                    <a:pt x="502" y="59"/>
                  </a:cubicBezTo>
                  <a:cubicBezTo>
                    <a:pt x="510" y="68"/>
                    <a:pt x="516" y="70"/>
                    <a:pt x="529" y="66"/>
                  </a:cubicBezTo>
                  <a:cubicBezTo>
                    <a:pt x="576" y="50"/>
                    <a:pt x="623" y="77"/>
                    <a:pt x="635" y="126"/>
                  </a:cubicBezTo>
                  <a:cubicBezTo>
                    <a:pt x="637" y="135"/>
                    <a:pt x="641" y="139"/>
                    <a:pt x="649" y="143"/>
                  </a:cubicBezTo>
                  <a:cubicBezTo>
                    <a:pt x="686" y="162"/>
                    <a:pt x="703" y="200"/>
                    <a:pt x="694" y="240"/>
                  </a:cubicBezTo>
                  <a:cubicBezTo>
                    <a:pt x="686" y="278"/>
                    <a:pt x="654" y="302"/>
                    <a:pt x="612" y="303"/>
                  </a:cubicBezTo>
                  <a:cubicBezTo>
                    <a:pt x="568" y="304"/>
                    <a:pt x="524" y="304"/>
                    <a:pt x="480" y="303"/>
                  </a:cubicBezTo>
                  <a:cubicBezTo>
                    <a:pt x="464" y="303"/>
                    <a:pt x="459" y="308"/>
                    <a:pt x="460" y="324"/>
                  </a:cubicBezTo>
                  <a:cubicBezTo>
                    <a:pt x="461" y="378"/>
                    <a:pt x="454" y="367"/>
                    <a:pt x="504" y="369"/>
                  </a:cubicBezTo>
                  <a:cubicBezTo>
                    <a:pt x="518" y="369"/>
                    <a:pt x="532" y="369"/>
                    <a:pt x="546" y="369"/>
                  </a:cubicBezTo>
                  <a:cubicBezTo>
                    <a:pt x="570" y="369"/>
                    <a:pt x="576" y="374"/>
                    <a:pt x="576" y="398"/>
                  </a:cubicBezTo>
                  <a:cubicBezTo>
                    <a:pt x="576" y="420"/>
                    <a:pt x="577" y="442"/>
                    <a:pt x="576" y="464"/>
                  </a:cubicBezTo>
                  <a:cubicBezTo>
                    <a:pt x="575" y="481"/>
                    <a:pt x="581" y="486"/>
                    <a:pt x="598" y="485"/>
                  </a:cubicBezTo>
                  <a:cubicBezTo>
                    <a:pt x="626" y="484"/>
                    <a:pt x="655" y="485"/>
                    <a:pt x="684" y="485"/>
                  </a:cubicBezTo>
                  <a:close/>
                  <a:moveTo>
                    <a:pt x="440" y="261"/>
                  </a:moveTo>
                  <a:cubicBezTo>
                    <a:pt x="493" y="261"/>
                    <a:pt x="547" y="260"/>
                    <a:pt x="600" y="261"/>
                  </a:cubicBezTo>
                  <a:cubicBezTo>
                    <a:pt x="612" y="261"/>
                    <a:pt x="623" y="260"/>
                    <a:pt x="633" y="254"/>
                  </a:cubicBezTo>
                  <a:cubicBezTo>
                    <a:pt x="650" y="245"/>
                    <a:pt x="656" y="230"/>
                    <a:pt x="652" y="212"/>
                  </a:cubicBezTo>
                  <a:cubicBezTo>
                    <a:pt x="649" y="196"/>
                    <a:pt x="641" y="184"/>
                    <a:pt x="622" y="182"/>
                  </a:cubicBezTo>
                  <a:cubicBezTo>
                    <a:pt x="585" y="178"/>
                    <a:pt x="585" y="177"/>
                    <a:pt x="591" y="141"/>
                  </a:cubicBezTo>
                  <a:cubicBezTo>
                    <a:pt x="593" y="128"/>
                    <a:pt x="587" y="119"/>
                    <a:pt x="576" y="112"/>
                  </a:cubicBezTo>
                  <a:cubicBezTo>
                    <a:pt x="565" y="105"/>
                    <a:pt x="552" y="104"/>
                    <a:pt x="540" y="109"/>
                  </a:cubicBezTo>
                  <a:cubicBezTo>
                    <a:pt x="527" y="114"/>
                    <a:pt x="533" y="126"/>
                    <a:pt x="534" y="135"/>
                  </a:cubicBezTo>
                  <a:cubicBezTo>
                    <a:pt x="534" y="140"/>
                    <a:pt x="534" y="145"/>
                    <a:pt x="533" y="149"/>
                  </a:cubicBezTo>
                  <a:cubicBezTo>
                    <a:pt x="531" y="162"/>
                    <a:pt x="525" y="171"/>
                    <a:pt x="511" y="170"/>
                  </a:cubicBezTo>
                  <a:cubicBezTo>
                    <a:pt x="498" y="170"/>
                    <a:pt x="491" y="160"/>
                    <a:pt x="490" y="148"/>
                  </a:cubicBezTo>
                  <a:cubicBezTo>
                    <a:pt x="489" y="142"/>
                    <a:pt x="490" y="136"/>
                    <a:pt x="489" y="130"/>
                  </a:cubicBezTo>
                  <a:cubicBezTo>
                    <a:pt x="486" y="103"/>
                    <a:pt x="472" y="84"/>
                    <a:pt x="447" y="74"/>
                  </a:cubicBezTo>
                  <a:cubicBezTo>
                    <a:pt x="402" y="56"/>
                    <a:pt x="336" y="80"/>
                    <a:pt x="339" y="140"/>
                  </a:cubicBezTo>
                  <a:cubicBezTo>
                    <a:pt x="340" y="158"/>
                    <a:pt x="329" y="165"/>
                    <a:pt x="310" y="163"/>
                  </a:cubicBezTo>
                  <a:cubicBezTo>
                    <a:pt x="302" y="161"/>
                    <a:pt x="293" y="159"/>
                    <a:pt x="285" y="159"/>
                  </a:cubicBezTo>
                  <a:cubicBezTo>
                    <a:pt x="254" y="159"/>
                    <a:pt x="232" y="185"/>
                    <a:pt x="233" y="218"/>
                  </a:cubicBezTo>
                  <a:cubicBezTo>
                    <a:pt x="234" y="246"/>
                    <a:pt x="250" y="260"/>
                    <a:pt x="282" y="260"/>
                  </a:cubicBezTo>
                  <a:cubicBezTo>
                    <a:pt x="335" y="261"/>
                    <a:pt x="387" y="261"/>
                    <a:pt x="440" y="261"/>
                  </a:cubicBezTo>
                  <a:close/>
                  <a:moveTo>
                    <a:pt x="354" y="500"/>
                  </a:moveTo>
                  <a:cubicBezTo>
                    <a:pt x="354" y="525"/>
                    <a:pt x="355" y="549"/>
                    <a:pt x="354" y="574"/>
                  </a:cubicBezTo>
                  <a:cubicBezTo>
                    <a:pt x="354" y="587"/>
                    <a:pt x="359" y="593"/>
                    <a:pt x="373" y="593"/>
                  </a:cubicBezTo>
                  <a:cubicBezTo>
                    <a:pt x="421" y="592"/>
                    <a:pt x="468" y="592"/>
                    <a:pt x="516" y="593"/>
                  </a:cubicBezTo>
                  <a:cubicBezTo>
                    <a:pt x="528" y="593"/>
                    <a:pt x="534" y="589"/>
                    <a:pt x="533" y="577"/>
                  </a:cubicBezTo>
                  <a:cubicBezTo>
                    <a:pt x="533" y="527"/>
                    <a:pt x="533" y="477"/>
                    <a:pt x="533" y="427"/>
                  </a:cubicBezTo>
                  <a:cubicBezTo>
                    <a:pt x="534" y="415"/>
                    <a:pt x="528" y="411"/>
                    <a:pt x="517" y="411"/>
                  </a:cubicBezTo>
                  <a:cubicBezTo>
                    <a:pt x="468" y="412"/>
                    <a:pt x="419" y="412"/>
                    <a:pt x="371" y="411"/>
                  </a:cubicBezTo>
                  <a:cubicBezTo>
                    <a:pt x="359" y="411"/>
                    <a:pt x="354" y="417"/>
                    <a:pt x="354" y="428"/>
                  </a:cubicBezTo>
                  <a:cubicBezTo>
                    <a:pt x="355" y="452"/>
                    <a:pt x="354" y="476"/>
                    <a:pt x="354" y="500"/>
                  </a:cubicBezTo>
                  <a:close/>
                  <a:moveTo>
                    <a:pt x="444" y="742"/>
                  </a:moveTo>
                  <a:cubicBezTo>
                    <a:pt x="410" y="742"/>
                    <a:pt x="384" y="768"/>
                    <a:pt x="384" y="801"/>
                  </a:cubicBezTo>
                  <a:cubicBezTo>
                    <a:pt x="384" y="832"/>
                    <a:pt x="412" y="860"/>
                    <a:pt x="443" y="860"/>
                  </a:cubicBezTo>
                  <a:cubicBezTo>
                    <a:pt x="476" y="860"/>
                    <a:pt x="502" y="833"/>
                    <a:pt x="502" y="800"/>
                  </a:cubicBezTo>
                  <a:cubicBezTo>
                    <a:pt x="502" y="766"/>
                    <a:pt x="477" y="742"/>
                    <a:pt x="444" y="742"/>
                  </a:cubicBezTo>
                  <a:close/>
                  <a:moveTo>
                    <a:pt x="114" y="742"/>
                  </a:moveTo>
                  <a:cubicBezTo>
                    <a:pt x="81" y="742"/>
                    <a:pt x="56" y="768"/>
                    <a:pt x="56" y="800"/>
                  </a:cubicBezTo>
                  <a:cubicBezTo>
                    <a:pt x="56" y="833"/>
                    <a:pt x="84" y="861"/>
                    <a:pt x="116" y="860"/>
                  </a:cubicBezTo>
                  <a:cubicBezTo>
                    <a:pt x="149" y="860"/>
                    <a:pt x="175" y="832"/>
                    <a:pt x="174" y="799"/>
                  </a:cubicBezTo>
                  <a:cubicBezTo>
                    <a:pt x="173" y="766"/>
                    <a:pt x="148" y="742"/>
                    <a:pt x="114" y="742"/>
                  </a:cubicBezTo>
                  <a:close/>
                  <a:moveTo>
                    <a:pt x="723" y="801"/>
                  </a:moveTo>
                  <a:cubicBezTo>
                    <a:pt x="723" y="834"/>
                    <a:pt x="750" y="861"/>
                    <a:pt x="783" y="860"/>
                  </a:cubicBezTo>
                  <a:cubicBezTo>
                    <a:pt x="814" y="860"/>
                    <a:pt x="842" y="831"/>
                    <a:pt x="841" y="800"/>
                  </a:cubicBezTo>
                  <a:cubicBezTo>
                    <a:pt x="840" y="766"/>
                    <a:pt x="815" y="742"/>
                    <a:pt x="780" y="742"/>
                  </a:cubicBezTo>
                  <a:cubicBezTo>
                    <a:pt x="747" y="743"/>
                    <a:pt x="723" y="767"/>
                    <a:pt x="723" y="8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5" name="myP_Gear">
              <a:extLst>
                <a:ext uri="{FF2B5EF4-FFF2-40B4-BE49-F238E27FC236}">
                  <a16:creationId xmlns:a16="http://schemas.microsoft.com/office/drawing/2014/main" id="{A311A645-0F3A-49A7-B8F0-A3134A32483B}"/>
                </a:ext>
              </a:extLst>
            </p:cNvPr>
            <p:cNvGrpSpPr>
              <a:grpSpLocks/>
            </p:cNvGrpSpPr>
            <p:nvPr/>
          </p:nvGrpSpPr>
          <p:grpSpPr>
            <a:xfrm>
              <a:off x="4285452" y="2940137"/>
              <a:ext cx="338082" cy="437902"/>
              <a:chOff x="6074146" y="4571873"/>
              <a:chExt cx="680014" cy="880788"/>
            </a:xfrm>
            <a:solidFill>
              <a:schemeClr val="bg1"/>
            </a:solidFill>
          </p:grpSpPr>
          <p:sp>
            <p:nvSpPr>
              <p:cNvPr id="126" name="Freeform 7">
                <a:extLst>
                  <a:ext uri="{FF2B5EF4-FFF2-40B4-BE49-F238E27FC236}">
                    <a16:creationId xmlns:a16="http://schemas.microsoft.com/office/drawing/2014/main" id="{CDC4544E-680A-4FA2-A92E-1AE6E69C5EA1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111921" y="4897821"/>
                <a:ext cx="633823" cy="475858"/>
              </a:xfrm>
              <a:custGeom>
                <a:avLst/>
                <a:gdLst>
                  <a:gd name="T0" fmla="*/ 1 w 743"/>
                  <a:gd name="T1" fmla="*/ 392 h 558"/>
                  <a:gd name="T2" fmla="*/ 20 w 743"/>
                  <a:gd name="T3" fmla="*/ 379 h 558"/>
                  <a:gd name="T4" fmla="*/ 92 w 743"/>
                  <a:gd name="T5" fmla="*/ 377 h 558"/>
                  <a:gd name="T6" fmla="*/ 118 w 743"/>
                  <a:gd name="T7" fmla="*/ 397 h 558"/>
                  <a:gd name="T8" fmla="*/ 91 w 743"/>
                  <a:gd name="T9" fmla="*/ 416 h 558"/>
                  <a:gd name="T10" fmla="*/ 71 w 743"/>
                  <a:gd name="T11" fmla="*/ 416 h 558"/>
                  <a:gd name="T12" fmla="*/ 79 w 743"/>
                  <a:gd name="T13" fmla="*/ 428 h 558"/>
                  <a:gd name="T14" fmla="*/ 254 w 743"/>
                  <a:gd name="T15" fmla="*/ 508 h 558"/>
                  <a:gd name="T16" fmla="*/ 668 w 743"/>
                  <a:gd name="T17" fmla="*/ 201 h 558"/>
                  <a:gd name="T18" fmla="*/ 672 w 743"/>
                  <a:gd name="T19" fmla="*/ 184 h 558"/>
                  <a:gd name="T20" fmla="*/ 672 w 743"/>
                  <a:gd name="T21" fmla="*/ 168 h 558"/>
                  <a:gd name="T22" fmla="*/ 672 w 743"/>
                  <a:gd name="T23" fmla="*/ 136 h 558"/>
                  <a:gd name="T24" fmla="*/ 672 w 743"/>
                  <a:gd name="T25" fmla="*/ 120 h 558"/>
                  <a:gd name="T26" fmla="*/ 652 w 743"/>
                  <a:gd name="T27" fmla="*/ 33 h 558"/>
                  <a:gd name="T28" fmla="*/ 662 w 743"/>
                  <a:gd name="T29" fmla="*/ 5 h 558"/>
                  <a:gd name="T30" fmla="*/ 689 w 743"/>
                  <a:gd name="T31" fmla="*/ 21 h 558"/>
                  <a:gd name="T32" fmla="*/ 578 w 743"/>
                  <a:gd name="T33" fmla="*/ 451 h 558"/>
                  <a:gd name="T34" fmla="*/ 284 w 743"/>
                  <a:gd name="T35" fmla="*/ 551 h 558"/>
                  <a:gd name="T36" fmla="*/ 62 w 743"/>
                  <a:gd name="T37" fmla="*/ 464 h 558"/>
                  <a:gd name="T38" fmla="*/ 40 w 743"/>
                  <a:gd name="T39" fmla="*/ 447 h 558"/>
                  <a:gd name="T40" fmla="*/ 21 w 743"/>
                  <a:gd name="T41" fmla="*/ 495 h 558"/>
                  <a:gd name="T42" fmla="*/ 0 w 743"/>
                  <a:gd name="T43" fmla="*/ 479 h 558"/>
                  <a:gd name="T44" fmla="*/ 1 w 743"/>
                  <a:gd name="T45" fmla="*/ 392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43" h="558">
                    <a:moveTo>
                      <a:pt x="1" y="392"/>
                    </a:moveTo>
                    <a:cubicBezTo>
                      <a:pt x="3" y="382"/>
                      <a:pt x="10" y="379"/>
                      <a:pt x="20" y="379"/>
                    </a:cubicBezTo>
                    <a:cubicBezTo>
                      <a:pt x="44" y="378"/>
                      <a:pt x="68" y="378"/>
                      <a:pt x="92" y="377"/>
                    </a:cubicBezTo>
                    <a:cubicBezTo>
                      <a:pt x="106" y="376"/>
                      <a:pt x="118" y="381"/>
                      <a:pt x="118" y="397"/>
                    </a:cubicBezTo>
                    <a:cubicBezTo>
                      <a:pt x="118" y="413"/>
                      <a:pt x="106" y="417"/>
                      <a:pt x="91" y="416"/>
                    </a:cubicBezTo>
                    <a:cubicBezTo>
                      <a:pt x="85" y="415"/>
                      <a:pt x="78" y="416"/>
                      <a:pt x="71" y="416"/>
                    </a:cubicBezTo>
                    <a:cubicBezTo>
                      <a:pt x="69" y="423"/>
                      <a:pt x="76" y="425"/>
                      <a:pt x="79" y="428"/>
                    </a:cubicBezTo>
                    <a:cubicBezTo>
                      <a:pt x="130" y="470"/>
                      <a:pt x="189" y="497"/>
                      <a:pt x="254" y="508"/>
                    </a:cubicBezTo>
                    <a:cubicBezTo>
                      <a:pt x="461" y="540"/>
                      <a:pt x="643" y="394"/>
                      <a:pt x="668" y="201"/>
                    </a:cubicBezTo>
                    <a:cubicBezTo>
                      <a:pt x="669" y="195"/>
                      <a:pt x="671" y="189"/>
                      <a:pt x="672" y="184"/>
                    </a:cubicBezTo>
                    <a:cubicBezTo>
                      <a:pt x="677" y="178"/>
                      <a:pt x="677" y="173"/>
                      <a:pt x="672" y="168"/>
                    </a:cubicBezTo>
                    <a:cubicBezTo>
                      <a:pt x="672" y="157"/>
                      <a:pt x="672" y="146"/>
                      <a:pt x="672" y="136"/>
                    </a:cubicBezTo>
                    <a:cubicBezTo>
                      <a:pt x="677" y="130"/>
                      <a:pt x="677" y="125"/>
                      <a:pt x="672" y="120"/>
                    </a:cubicBezTo>
                    <a:cubicBezTo>
                      <a:pt x="666" y="91"/>
                      <a:pt x="662" y="61"/>
                      <a:pt x="652" y="33"/>
                    </a:cubicBezTo>
                    <a:cubicBezTo>
                      <a:pt x="647" y="21"/>
                      <a:pt x="650" y="9"/>
                      <a:pt x="662" y="5"/>
                    </a:cubicBezTo>
                    <a:cubicBezTo>
                      <a:pt x="676" y="0"/>
                      <a:pt x="684" y="8"/>
                      <a:pt x="689" y="21"/>
                    </a:cubicBezTo>
                    <a:cubicBezTo>
                      <a:pt x="743" y="166"/>
                      <a:pt x="696" y="348"/>
                      <a:pt x="578" y="451"/>
                    </a:cubicBezTo>
                    <a:cubicBezTo>
                      <a:pt x="493" y="524"/>
                      <a:pt x="396" y="558"/>
                      <a:pt x="284" y="551"/>
                    </a:cubicBezTo>
                    <a:cubicBezTo>
                      <a:pt x="201" y="546"/>
                      <a:pt x="127" y="516"/>
                      <a:pt x="62" y="464"/>
                    </a:cubicBezTo>
                    <a:cubicBezTo>
                      <a:pt x="55" y="459"/>
                      <a:pt x="48" y="453"/>
                      <a:pt x="40" y="447"/>
                    </a:cubicBezTo>
                    <a:cubicBezTo>
                      <a:pt x="35" y="465"/>
                      <a:pt x="48" y="489"/>
                      <a:pt x="21" y="495"/>
                    </a:cubicBezTo>
                    <a:cubicBezTo>
                      <a:pt x="10" y="498"/>
                      <a:pt x="2" y="491"/>
                      <a:pt x="0" y="479"/>
                    </a:cubicBezTo>
                    <a:cubicBezTo>
                      <a:pt x="6" y="450"/>
                      <a:pt x="6" y="421"/>
                      <a:pt x="1" y="3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8">
                <a:extLst>
                  <a:ext uri="{FF2B5EF4-FFF2-40B4-BE49-F238E27FC236}">
                    <a16:creationId xmlns:a16="http://schemas.microsoft.com/office/drawing/2014/main" id="{0E1D4BA0-8CB6-4A4B-BD19-8F4D20092285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175769" y="4658705"/>
                <a:ext cx="657371" cy="483707"/>
              </a:xfrm>
              <a:custGeom>
                <a:avLst/>
                <a:gdLst>
                  <a:gd name="T0" fmla="*/ 730 w 770"/>
                  <a:gd name="T1" fmla="*/ 122 h 567"/>
                  <a:gd name="T2" fmla="*/ 730 w 770"/>
                  <a:gd name="T3" fmla="*/ 89 h 567"/>
                  <a:gd name="T4" fmla="*/ 748 w 770"/>
                  <a:gd name="T5" fmla="*/ 69 h 567"/>
                  <a:gd name="T6" fmla="*/ 769 w 770"/>
                  <a:gd name="T7" fmla="*/ 87 h 567"/>
                  <a:gd name="T8" fmla="*/ 768 w 770"/>
                  <a:gd name="T9" fmla="*/ 175 h 567"/>
                  <a:gd name="T10" fmla="*/ 747 w 770"/>
                  <a:gd name="T11" fmla="*/ 190 h 567"/>
                  <a:gd name="T12" fmla="*/ 673 w 770"/>
                  <a:gd name="T13" fmla="*/ 190 h 567"/>
                  <a:gd name="T14" fmla="*/ 653 w 770"/>
                  <a:gd name="T15" fmla="*/ 172 h 567"/>
                  <a:gd name="T16" fmla="*/ 671 w 770"/>
                  <a:gd name="T17" fmla="*/ 151 h 567"/>
                  <a:gd name="T18" fmla="*/ 701 w 770"/>
                  <a:gd name="T19" fmla="*/ 150 h 567"/>
                  <a:gd name="T20" fmla="*/ 576 w 770"/>
                  <a:gd name="T21" fmla="*/ 74 h 567"/>
                  <a:gd name="T22" fmla="*/ 101 w 770"/>
                  <a:gd name="T23" fmla="*/ 359 h 567"/>
                  <a:gd name="T24" fmla="*/ 115 w 770"/>
                  <a:gd name="T25" fmla="*/ 528 h 567"/>
                  <a:gd name="T26" fmla="*/ 105 w 770"/>
                  <a:gd name="T27" fmla="*/ 561 h 567"/>
                  <a:gd name="T28" fmla="*/ 78 w 770"/>
                  <a:gd name="T29" fmla="*/ 540 h 567"/>
                  <a:gd name="T30" fmla="*/ 399 w 770"/>
                  <a:gd name="T31" fmla="*/ 19 h 567"/>
                  <a:gd name="T32" fmla="*/ 574 w 770"/>
                  <a:gd name="T33" fmla="*/ 32 h 567"/>
                  <a:gd name="T34" fmla="*/ 730 w 770"/>
                  <a:gd name="T35" fmla="*/ 122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70" h="567">
                    <a:moveTo>
                      <a:pt x="730" y="122"/>
                    </a:moveTo>
                    <a:cubicBezTo>
                      <a:pt x="730" y="108"/>
                      <a:pt x="729" y="99"/>
                      <a:pt x="730" y="89"/>
                    </a:cubicBezTo>
                    <a:cubicBezTo>
                      <a:pt x="730" y="77"/>
                      <a:pt x="737" y="70"/>
                      <a:pt x="748" y="69"/>
                    </a:cubicBezTo>
                    <a:cubicBezTo>
                      <a:pt x="760" y="69"/>
                      <a:pt x="768" y="76"/>
                      <a:pt x="769" y="87"/>
                    </a:cubicBezTo>
                    <a:cubicBezTo>
                      <a:pt x="770" y="116"/>
                      <a:pt x="770" y="146"/>
                      <a:pt x="768" y="175"/>
                    </a:cubicBezTo>
                    <a:cubicBezTo>
                      <a:pt x="768" y="184"/>
                      <a:pt x="757" y="190"/>
                      <a:pt x="747" y="190"/>
                    </a:cubicBezTo>
                    <a:cubicBezTo>
                      <a:pt x="722" y="190"/>
                      <a:pt x="698" y="190"/>
                      <a:pt x="673" y="190"/>
                    </a:cubicBezTo>
                    <a:cubicBezTo>
                      <a:pt x="661" y="190"/>
                      <a:pt x="654" y="185"/>
                      <a:pt x="653" y="172"/>
                    </a:cubicBezTo>
                    <a:cubicBezTo>
                      <a:pt x="652" y="159"/>
                      <a:pt x="659" y="152"/>
                      <a:pt x="671" y="151"/>
                    </a:cubicBezTo>
                    <a:cubicBezTo>
                      <a:pt x="679" y="150"/>
                      <a:pt x="688" y="150"/>
                      <a:pt x="701" y="150"/>
                    </a:cubicBezTo>
                    <a:cubicBezTo>
                      <a:pt x="663" y="114"/>
                      <a:pt x="621" y="90"/>
                      <a:pt x="576" y="74"/>
                    </a:cubicBezTo>
                    <a:cubicBezTo>
                      <a:pt x="364" y="0"/>
                      <a:pt x="136" y="136"/>
                      <a:pt x="101" y="359"/>
                    </a:cubicBezTo>
                    <a:cubicBezTo>
                      <a:pt x="92" y="416"/>
                      <a:pt x="97" y="473"/>
                      <a:pt x="115" y="528"/>
                    </a:cubicBezTo>
                    <a:cubicBezTo>
                      <a:pt x="119" y="542"/>
                      <a:pt x="122" y="556"/>
                      <a:pt x="105" y="561"/>
                    </a:cubicBezTo>
                    <a:cubicBezTo>
                      <a:pt x="89" y="567"/>
                      <a:pt x="82" y="554"/>
                      <a:pt x="78" y="540"/>
                    </a:cubicBezTo>
                    <a:cubicBezTo>
                      <a:pt x="0" y="305"/>
                      <a:pt x="154" y="55"/>
                      <a:pt x="399" y="19"/>
                    </a:cubicBezTo>
                    <a:cubicBezTo>
                      <a:pt x="457" y="11"/>
                      <a:pt x="516" y="14"/>
                      <a:pt x="574" y="32"/>
                    </a:cubicBezTo>
                    <a:cubicBezTo>
                      <a:pt x="631" y="50"/>
                      <a:pt x="682" y="79"/>
                      <a:pt x="730" y="1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9">
                <a:extLst>
                  <a:ext uri="{FF2B5EF4-FFF2-40B4-BE49-F238E27FC236}">
                    <a16:creationId xmlns:a16="http://schemas.microsoft.com/office/drawing/2014/main" id="{BC737843-F28D-4D68-9778-8CBCF40EC792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87176" y="5148005"/>
                <a:ext cx="31397" cy="32378"/>
              </a:xfrm>
              <a:custGeom>
                <a:avLst/>
                <a:gdLst>
                  <a:gd name="T0" fmla="*/ 37 w 37"/>
                  <a:gd name="T1" fmla="*/ 19 h 37"/>
                  <a:gd name="T2" fmla="*/ 16 w 37"/>
                  <a:gd name="T3" fmla="*/ 36 h 37"/>
                  <a:gd name="T4" fmla="*/ 0 w 37"/>
                  <a:gd name="T5" fmla="*/ 18 h 37"/>
                  <a:gd name="T6" fmla="*/ 20 w 37"/>
                  <a:gd name="T7" fmla="*/ 1 h 37"/>
                  <a:gd name="T8" fmla="*/ 37 w 37"/>
                  <a:gd name="T9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cubicBezTo>
                      <a:pt x="35" y="30"/>
                      <a:pt x="28" y="37"/>
                      <a:pt x="16" y="36"/>
                    </a:cubicBezTo>
                    <a:cubicBezTo>
                      <a:pt x="6" y="35"/>
                      <a:pt x="0" y="28"/>
                      <a:pt x="0" y="18"/>
                    </a:cubicBezTo>
                    <a:cubicBezTo>
                      <a:pt x="0" y="7"/>
                      <a:pt x="8" y="0"/>
                      <a:pt x="20" y="1"/>
                    </a:cubicBezTo>
                    <a:cubicBezTo>
                      <a:pt x="30" y="1"/>
                      <a:pt x="36" y="8"/>
                      <a:pt x="3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0">
                <a:extLst>
                  <a:ext uri="{FF2B5EF4-FFF2-40B4-BE49-F238E27FC236}">
                    <a16:creationId xmlns:a16="http://schemas.microsoft.com/office/drawing/2014/main" id="{EE622237-4419-4553-B2CF-F06A7A59E154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400849" y="5275457"/>
                <a:ext cx="32379" cy="31397"/>
              </a:xfrm>
              <a:custGeom>
                <a:avLst/>
                <a:gdLst>
                  <a:gd name="T0" fmla="*/ 19 w 37"/>
                  <a:gd name="T1" fmla="*/ 37 h 37"/>
                  <a:gd name="T2" fmla="*/ 1 w 37"/>
                  <a:gd name="T3" fmla="*/ 17 h 37"/>
                  <a:gd name="T4" fmla="*/ 19 w 37"/>
                  <a:gd name="T5" fmla="*/ 0 h 37"/>
                  <a:gd name="T6" fmla="*/ 36 w 37"/>
                  <a:gd name="T7" fmla="*/ 20 h 37"/>
                  <a:gd name="T8" fmla="*/ 1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19" y="37"/>
                    </a:moveTo>
                    <a:cubicBezTo>
                      <a:pt x="8" y="34"/>
                      <a:pt x="0" y="28"/>
                      <a:pt x="1" y="17"/>
                    </a:cubicBezTo>
                    <a:cubicBezTo>
                      <a:pt x="2" y="7"/>
                      <a:pt x="8" y="0"/>
                      <a:pt x="19" y="0"/>
                    </a:cubicBezTo>
                    <a:cubicBezTo>
                      <a:pt x="31" y="1"/>
                      <a:pt x="37" y="7"/>
                      <a:pt x="36" y="20"/>
                    </a:cubicBezTo>
                    <a:cubicBezTo>
                      <a:pt x="36" y="31"/>
                      <a:pt x="27" y="34"/>
                      <a:pt x="1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id="{934307B0-F7FA-445D-8518-647AA940526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477452" y="4735004"/>
                <a:ext cx="30416" cy="31397"/>
              </a:xfrm>
              <a:custGeom>
                <a:avLst/>
                <a:gdLst>
                  <a:gd name="T0" fmla="*/ 36 w 36"/>
                  <a:gd name="T1" fmla="*/ 18 h 36"/>
                  <a:gd name="T2" fmla="*/ 19 w 36"/>
                  <a:gd name="T3" fmla="*/ 35 h 36"/>
                  <a:gd name="T4" fmla="*/ 1 w 36"/>
                  <a:gd name="T5" fmla="*/ 16 h 36"/>
                  <a:gd name="T6" fmla="*/ 20 w 36"/>
                  <a:gd name="T7" fmla="*/ 0 h 36"/>
                  <a:gd name="T8" fmla="*/ 36 w 36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cubicBezTo>
                      <a:pt x="36" y="29"/>
                      <a:pt x="29" y="36"/>
                      <a:pt x="19" y="35"/>
                    </a:cubicBezTo>
                    <a:cubicBezTo>
                      <a:pt x="8" y="35"/>
                      <a:pt x="0" y="28"/>
                      <a:pt x="1" y="16"/>
                    </a:cubicBezTo>
                    <a:cubicBezTo>
                      <a:pt x="2" y="6"/>
                      <a:pt x="9" y="0"/>
                      <a:pt x="20" y="0"/>
                    </a:cubicBezTo>
                    <a:cubicBezTo>
                      <a:pt x="31" y="1"/>
                      <a:pt x="36" y="8"/>
                      <a:pt x="3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2">
                <a:extLst>
                  <a:ext uri="{FF2B5EF4-FFF2-40B4-BE49-F238E27FC236}">
                    <a16:creationId xmlns:a16="http://schemas.microsoft.com/office/drawing/2014/main" id="{BB4C88FB-4770-416A-B6FA-7C63BB40D3A4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73829" y="4803138"/>
                <a:ext cx="30416" cy="30416"/>
              </a:xfrm>
              <a:custGeom>
                <a:avLst/>
                <a:gdLst>
                  <a:gd name="T0" fmla="*/ 17 w 36"/>
                  <a:gd name="T1" fmla="*/ 36 h 36"/>
                  <a:gd name="T2" fmla="*/ 1 w 36"/>
                  <a:gd name="T3" fmla="*/ 20 h 36"/>
                  <a:gd name="T4" fmla="*/ 16 w 36"/>
                  <a:gd name="T5" fmla="*/ 1 h 36"/>
                  <a:gd name="T6" fmla="*/ 36 w 36"/>
                  <a:gd name="T7" fmla="*/ 18 h 36"/>
                  <a:gd name="T8" fmla="*/ 17 w 3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7" y="36"/>
                    </a:moveTo>
                    <a:cubicBezTo>
                      <a:pt x="9" y="35"/>
                      <a:pt x="1" y="31"/>
                      <a:pt x="1" y="20"/>
                    </a:cubicBezTo>
                    <a:cubicBezTo>
                      <a:pt x="0" y="9"/>
                      <a:pt x="4" y="2"/>
                      <a:pt x="16" y="1"/>
                    </a:cubicBezTo>
                    <a:cubicBezTo>
                      <a:pt x="28" y="0"/>
                      <a:pt x="35" y="7"/>
                      <a:pt x="36" y="18"/>
                    </a:cubicBezTo>
                    <a:cubicBezTo>
                      <a:pt x="36" y="28"/>
                      <a:pt x="29" y="34"/>
                      <a:pt x="17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3">
                <a:extLst>
                  <a:ext uri="{FF2B5EF4-FFF2-40B4-BE49-F238E27FC236}">
                    <a16:creationId xmlns:a16="http://schemas.microsoft.com/office/drawing/2014/main" id="{C54D7C56-8FB2-4F0B-B427-4235F5F9BFA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99008" y="5232790"/>
                <a:ext cx="31397" cy="31397"/>
              </a:xfrm>
              <a:custGeom>
                <a:avLst/>
                <a:gdLst>
                  <a:gd name="T0" fmla="*/ 37 w 37"/>
                  <a:gd name="T1" fmla="*/ 20 h 37"/>
                  <a:gd name="T2" fmla="*/ 20 w 37"/>
                  <a:gd name="T3" fmla="*/ 36 h 37"/>
                  <a:gd name="T4" fmla="*/ 2 w 37"/>
                  <a:gd name="T5" fmla="*/ 17 h 37"/>
                  <a:gd name="T6" fmla="*/ 21 w 37"/>
                  <a:gd name="T7" fmla="*/ 1 h 37"/>
                  <a:gd name="T8" fmla="*/ 37 w 37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7" y="20"/>
                    </a:moveTo>
                    <a:cubicBezTo>
                      <a:pt x="36" y="30"/>
                      <a:pt x="30" y="37"/>
                      <a:pt x="20" y="36"/>
                    </a:cubicBezTo>
                    <a:cubicBezTo>
                      <a:pt x="8" y="36"/>
                      <a:pt x="0" y="29"/>
                      <a:pt x="2" y="17"/>
                    </a:cubicBezTo>
                    <a:cubicBezTo>
                      <a:pt x="3" y="7"/>
                      <a:pt x="9" y="0"/>
                      <a:pt x="21" y="1"/>
                    </a:cubicBezTo>
                    <a:cubicBezTo>
                      <a:pt x="31" y="2"/>
                      <a:pt x="37" y="9"/>
                      <a:pt x="37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4">
                <a:extLst>
                  <a:ext uri="{FF2B5EF4-FFF2-40B4-BE49-F238E27FC236}">
                    <a16:creationId xmlns:a16="http://schemas.microsoft.com/office/drawing/2014/main" id="{63DDD46D-0A4D-4AC4-B817-B7C39F998BA1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58075" y="5198795"/>
                <a:ext cx="31397" cy="31397"/>
              </a:xfrm>
              <a:custGeom>
                <a:avLst/>
                <a:gdLst>
                  <a:gd name="T0" fmla="*/ 17 w 36"/>
                  <a:gd name="T1" fmla="*/ 37 h 37"/>
                  <a:gd name="T2" fmla="*/ 0 w 36"/>
                  <a:gd name="T3" fmla="*/ 19 h 37"/>
                  <a:gd name="T4" fmla="*/ 17 w 36"/>
                  <a:gd name="T5" fmla="*/ 1 h 37"/>
                  <a:gd name="T6" fmla="*/ 35 w 36"/>
                  <a:gd name="T7" fmla="*/ 19 h 37"/>
                  <a:gd name="T8" fmla="*/ 17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17" y="37"/>
                    </a:moveTo>
                    <a:cubicBezTo>
                      <a:pt x="7" y="35"/>
                      <a:pt x="0" y="30"/>
                      <a:pt x="0" y="19"/>
                    </a:cubicBezTo>
                    <a:cubicBezTo>
                      <a:pt x="0" y="8"/>
                      <a:pt x="6" y="2"/>
                      <a:pt x="17" y="1"/>
                    </a:cubicBezTo>
                    <a:cubicBezTo>
                      <a:pt x="29" y="0"/>
                      <a:pt x="36" y="8"/>
                      <a:pt x="35" y="19"/>
                    </a:cubicBezTo>
                    <a:cubicBezTo>
                      <a:pt x="35" y="29"/>
                      <a:pt x="27" y="35"/>
                      <a:pt x="17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5">
                <a:extLst>
                  <a:ext uri="{FF2B5EF4-FFF2-40B4-BE49-F238E27FC236}">
                    <a16:creationId xmlns:a16="http://schemas.microsoft.com/office/drawing/2014/main" id="{520609D8-200B-4B69-9425-B80B531FD104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512487" y="5273519"/>
                <a:ext cx="30416" cy="30416"/>
              </a:xfrm>
              <a:custGeom>
                <a:avLst/>
                <a:gdLst>
                  <a:gd name="T0" fmla="*/ 36 w 36"/>
                  <a:gd name="T1" fmla="*/ 17 h 36"/>
                  <a:gd name="T2" fmla="*/ 20 w 36"/>
                  <a:gd name="T3" fmla="*/ 36 h 36"/>
                  <a:gd name="T4" fmla="*/ 0 w 36"/>
                  <a:gd name="T5" fmla="*/ 16 h 36"/>
                  <a:gd name="T6" fmla="*/ 17 w 36"/>
                  <a:gd name="T7" fmla="*/ 0 h 36"/>
                  <a:gd name="T8" fmla="*/ 36 w 36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36" y="17"/>
                    </a:moveTo>
                    <a:cubicBezTo>
                      <a:pt x="36" y="29"/>
                      <a:pt x="31" y="35"/>
                      <a:pt x="20" y="36"/>
                    </a:cubicBezTo>
                    <a:cubicBezTo>
                      <a:pt x="8" y="36"/>
                      <a:pt x="0" y="29"/>
                      <a:pt x="0" y="16"/>
                    </a:cubicBezTo>
                    <a:cubicBezTo>
                      <a:pt x="0" y="5"/>
                      <a:pt x="6" y="0"/>
                      <a:pt x="17" y="0"/>
                    </a:cubicBezTo>
                    <a:cubicBezTo>
                      <a:pt x="29" y="0"/>
                      <a:pt x="35" y="6"/>
                      <a:pt x="3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6">
                <a:extLst>
                  <a:ext uri="{FF2B5EF4-FFF2-40B4-BE49-F238E27FC236}">
                    <a16:creationId xmlns:a16="http://schemas.microsoft.com/office/drawing/2014/main" id="{AD25E4D3-9ED5-4619-A08B-8877F07E278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582907" y="4766918"/>
                <a:ext cx="30416" cy="31397"/>
              </a:xfrm>
              <a:custGeom>
                <a:avLst/>
                <a:gdLst>
                  <a:gd name="T0" fmla="*/ 18 w 36"/>
                  <a:gd name="T1" fmla="*/ 0 h 36"/>
                  <a:gd name="T2" fmla="*/ 36 w 36"/>
                  <a:gd name="T3" fmla="*/ 17 h 36"/>
                  <a:gd name="T4" fmla="*/ 17 w 36"/>
                  <a:gd name="T5" fmla="*/ 35 h 36"/>
                  <a:gd name="T6" fmla="*/ 0 w 36"/>
                  <a:gd name="T7" fmla="*/ 17 h 36"/>
                  <a:gd name="T8" fmla="*/ 18 w 36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cubicBezTo>
                      <a:pt x="28" y="2"/>
                      <a:pt x="36" y="6"/>
                      <a:pt x="36" y="17"/>
                    </a:cubicBezTo>
                    <a:cubicBezTo>
                      <a:pt x="36" y="30"/>
                      <a:pt x="28" y="36"/>
                      <a:pt x="17" y="35"/>
                    </a:cubicBezTo>
                    <a:cubicBezTo>
                      <a:pt x="7" y="35"/>
                      <a:pt x="0" y="29"/>
                      <a:pt x="0" y="17"/>
                    </a:cubicBezTo>
                    <a:cubicBezTo>
                      <a:pt x="1" y="6"/>
                      <a:pt x="8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7">
                <a:extLst>
                  <a:ext uri="{FF2B5EF4-FFF2-40B4-BE49-F238E27FC236}">
                    <a16:creationId xmlns:a16="http://schemas.microsoft.com/office/drawing/2014/main" id="{5E4D2F3A-22B5-47A5-9AC6-BCF2454F1F6D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723253" y="5044919"/>
                <a:ext cx="31397" cy="30416"/>
              </a:xfrm>
              <a:custGeom>
                <a:avLst/>
                <a:gdLst>
                  <a:gd name="T0" fmla="*/ 36 w 36"/>
                  <a:gd name="T1" fmla="*/ 19 h 36"/>
                  <a:gd name="T2" fmla="*/ 19 w 36"/>
                  <a:gd name="T3" fmla="*/ 36 h 36"/>
                  <a:gd name="T4" fmla="*/ 0 w 36"/>
                  <a:gd name="T5" fmla="*/ 17 h 36"/>
                  <a:gd name="T6" fmla="*/ 18 w 36"/>
                  <a:gd name="T7" fmla="*/ 0 h 36"/>
                  <a:gd name="T8" fmla="*/ 36 w 36"/>
                  <a:gd name="T9" fmla="*/ 1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36" y="19"/>
                    </a:moveTo>
                    <a:cubicBezTo>
                      <a:pt x="35" y="30"/>
                      <a:pt x="30" y="36"/>
                      <a:pt x="19" y="36"/>
                    </a:cubicBezTo>
                    <a:cubicBezTo>
                      <a:pt x="7" y="35"/>
                      <a:pt x="0" y="28"/>
                      <a:pt x="0" y="17"/>
                    </a:cubicBezTo>
                    <a:cubicBezTo>
                      <a:pt x="0" y="8"/>
                      <a:pt x="7" y="0"/>
                      <a:pt x="18" y="0"/>
                    </a:cubicBezTo>
                    <a:cubicBezTo>
                      <a:pt x="30" y="0"/>
                      <a:pt x="36" y="7"/>
                      <a:pt x="3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DDE55C0A-20D7-4C08-ADD6-B9A769A73AA3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35383" y="4843377"/>
                <a:ext cx="32379" cy="30416"/>
              </a:xfrm>
              <a:custGeom>
                <a:avLst/>
                <a:gdLst>
                  <a:gd name="T0" fmla="*/ 18 w 37"/>
                  <a:gd name="T1" fmla="*/ 0 h 36"/>
                  <a:gd name="T2" fmla="*/ 36 w 37"/>
                  <a:gd name="T3" fmla="*/ 16 h 36"/>
                  <a:gd name="T4" fmla="*/ 19 w 37"/>
                  <a:gd name="T5" fmla="*/ 36 h 36"/>
                  <a:gd name="T6" fmla="*/ 0 w 37"/>
                  <a:gd name="T7" fmla="*/ 18 h 36"/>
                  <a:gd name="T8" fmla="*/ 18 w 37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6">
                    <a:moveTo>
                      <a:pt x="18" y="0"/>
                    </a:moveTo>
                    <a:cubicBezTo>
                      <a:pt x="27" y="2"/>
                      <a:pt x="35" y="5"/>
                      <a:pt x="36" y="16"/>
                    </a:cubicBezTo>
                    <a:cubicBezTo>
                      <a:pt x="37" y="28"/>
                      <a:pt x="31" y="36"/>
                      <a:pt x="19" y="36"/>
                    </a:cubicBezTo>
                    <a:cubicBezTo>
                      <a:pt x="9" y="36"/>
                      <a:pt x="0" y="30"/>
                      <a:pt x="0" y="18"/>
                    </a:cubicBezTo>
                    <a:cubicBezTo>
                      <a:pt x="0" y="7"/>
                      <a:pt x="8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9">
                <a:extLst>
                  <a:ext uri="{FF2B5EF4-FFF2-40B4-BE49-F238E27FC236}">
                    <a16:creationId xmlns:a16="http://schemas.microsoft.com/office/drawing/2014/main" id="{809F5F54-DECD-4EB7-8495-8DEF1A46718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12045" y="5228974"/>
                <a:ext cx="30416" cy="31397"/>
              </a:xfrm>
              <a:custGeom>
                <a:avLst/>
                <a:gdLst>
                  <a:gd name="T0" fmla="*/ 36 w 36"/>
                  <a:gd name="T1" fmla="*/ 18 h 37"/>
                  <a:gd name="T2" fmla="*/ 20 w 36"/>
                  <a:gd name="T3" fmla="*/ 36 h 37"/>
                  <a:gd name="T4" fmla="*/ 1 w 36"/>
                  <a:gd name="T5" fmla="*/ 20 h 37"/>
                  <a:gd name="T6" fmla="*/ 18 w 36"/>
                  <a:gd name="T7" fmla="*/ 0 h 37"/>
                  <a:gd name="T8" fmla="*/ 36 w 36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36" y="18"/>
                    </a:moveTo>
                    <a:cubicBezTo>
                      <a:pt x="36" y="28"/>
                      <a:pt x="32" y="35"/>
                      <a:pt x="20" y="36"/>
                    </a:cubicBezTo>
                    <a:cubicBezTo>
                      <a:pt x="9" y="37"/>
                      <a:pt x="3" y="30"/>
                      <a:pt x="1" y="20"/>
                    </a:cubicBezTo>
                    <a:cubicBezTo>
                      <a:pt x="0" y="9"/>
                      <a:pt x="6" y="1"/>
                      <a:pt x="18" y="0"/>
                    </a:cubicBezTo>
                    <a:cubicBezTo>
                      <a:pt x="29" y="0"/>
                      <a:pt x="35" y="7"/>
                      <a:pt x="3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0">
                <a:extLst>
                  <a:ext uri="{FF2B5EF4-FFF2-40B4-BE49-F238E27FC236}">
                    <a16:creationId xmlns:a16="http://schemas.microsoft.com/office/drawing/2014/main" id="{57C38BF1-0CAF-4B7E-88AA-B81F0B99D87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564869" y="5256725"/>
                <a:ext cx="30416" cy="31397"/>
              </a:xfrm>
              <a:custGeom>
                <a:avLst/>
                <a:gdLst>
                  <a:gd name="T0" fmla="*/ 18 w 36"/>
                  <a:gd name="T1" fmla="*/ 0 h 36"/>
                  <a:gd name="T2" fmla="*/ 36 w 36"/>
                  <a:gd name="T3" fmla="*/ 17 h 36"/>
                  <a:gd name="T4" fmla="*/ 19 w 36"/>
                  <a:gd name="T5" fmla="*/ 35 h 36"/>
                  <a:gd name="T6" fmla="*/ 0 w 36"/>
                  <a:gd name="T7" fmla="*/ 17 h 36"/>
                  <a:gd name="T8" fmla="*/ 18 w 36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cubicBezTo>
                      <a:pt x="28" y="1"/>
                      <a:pt x="35" y="6"/>
                      <a:pt x="36" y="17"/>
                    </a:cubicBezTo>
                    <a:cubicBezTo>
                      <a:pt x="36" y="29"/>
                      <a:pt x="29" y="35"/>
                      <a:pt x="19" y="35"/>
                    </a:cubicBezTo>
                    <a:cubicBezTo>
                      <a:pt x="8" y="36"/>
                      <a:pt x="0" y="29"/>
                      <a:pt x="0" y="17"/>
                    </a:cubicBezTo>
                    <a:cubicBezTo>
                      <a:pt x="0" y="5"/>
                      <a:pt x="8" y="1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21">
                <a:extLst>
                  <a:ext uri="{FF2B5EF4-FFF2-40B4-BE49-F238E27FC236}">
                    <a16:creationId xmlns:a16="http://schemas.microsoft.com/office/drawing/2014/main" id="{FBDCEBBD-9318-43E2-9CA3-5A3644314438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67894" y="4837827"/>
                <a:ext cx="30416" cy="30416"/>
              </a:xfrm>
              <a:custGeom>
                <a:avLst/>
                <a:gdLst>
                  <a:gd name="T0" fmla="*/ 36 w 36"/>
                  <a:gd name="T1" fmla="*/ 18 h 36"/>
                  <a:gd name="T2" fmla="*/ 19 w 36"/>
                  <a:gd name="T3" fmla="*/ 36 h 36"/>
                  <a:gd name="T4" fmla="*/ 0 w 36"/>
                  <a:gd name="T5" fmla="*/ 20 h 36"/>
                  <a:gd name="T6" fmla="*/ 18 w 36"/>
                  <a:gd name="T7" fmla="*/ 0 h 36"/>
                  <a:gd name="T8" fmla="*/ 36 w 36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36" y="18"/>
                    </a:moveTo>
                    <a:cubicBezTo>
                      <a:pt x="34" y="27"/>
                      <a:pt x="30" y="35"/>
                      <a:pt x="19" y="36"/>
                    </a:cubicBezTo>
                    <a:cubicBezTo>
                      <a:pt x="8" y="36"/>
                      <a:pt x="1" y="31"/>
                      <a:pt x="0" y="20"/>
                    </a:cubicBezTo>
                    <a:cubicBezTo>
                      <a:pt x="0" y="8"/>
                      <a:pt x="6" y="1"/>
                      <a:pt x="18" y="0"/>
                    </a:cubicBezTo>
                    <a:cubicBezTo>
                      <a:pt x="28" y="0"/>
                      <a:pt x="34" y="8"/>
                      <a:pt x="3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22">
                <a:extLst>
                  <a:ext uri="{FF2B5EF4-FFF2-40B4-BE49-F238E27FC236}">
                    <a16:creationId xmlns:a16="http://schemas.microsoft.com/office/drawing/2014/main" id="{A45538CC-C35B-4D8B-95B6-5BA015D5AC0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531914" y="4746248"/>
                <a:ext cx="30416" cy="30416"/>
              </a:xfrm>
              <a:custGeom>
                <a:avLst/>
                <a:gdLst>
                  <a:gd name="T0" fmla="*/ 36 w 36"/>
                  <a:gd name="T1" fmla="*/ 17 h 35"/>
                  <a:gd name="T2" fmla="*/ 20 w 36"/>
                  <a:gd name="T3" fmla="*/ 35 h 35"/>
                  <a:gd name="T4" fmla="*/ 1 w 36"/>
                  <a:gd name="T5" fmla="*/ 17 h 35"/>
                  <a:gd name="T6" fmla="*/ 18 w 36"/>
                  <a:gd name="T7" fmla="*/ 0 h 35"/>
                  <a:gd name="T8" fmla="*/ 36 w 36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5">
                    <a:moveTo>
                      <a:pt x="36" y="17"/>
                    </a:moveTo>
                    <a:cubicBezTo>
                      <a:pt x="36" y="28"/>
                      <a:pt x="30" y="35"/>
                      <a:pt x="20" y="35"/>
                    </a:cubicBezTo>
                    <a:cubicBezTo>
                      <a:pt x="8" y="35"/>
                      <a:pt x="1" y="29"/>
                      <a:pt x="1" y="17"/>
                    </a:cubicBezTo>
                    <a:cubicBezTo>
                      <a:pt x="0" y="5"/>
                      <a:pt x="9" y="0"/>
                      <a:pt x="18" y="0"/>
                    </a:cubicBezTo>
                    <a:cubicBezTo>
                      <a:pt x="28" y="0"/>
                      <a:pt x="36" y="5"/>
                      <a:pt x="3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23">
                <a:extLst>
                  <a:ext uri="{FF2B5EF4-FFF2-40B4-BE49-F238E27FC236}">
                    <a16:creationId xmlns:a16="http://schemas.microsoft.com/office/drawing/2014/main" id="{FF026748-B477-4FA3-BE4A-8D7F60A27386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07082" y="4890900"/>
                <a:ext cx="31397" cy="30416"/>
              </a:xfrm>
              <a:custGeom>
                <a:avLst/>
                <a:gdLst>
                  <a:gd name="T0" fmla="*/ 17 w 36"/>
                  <a:gd name="T1" fmla="*/ 0 h 36"/>
                  <a:gd name="T2" fmla="*/ 35 w 36"/>
                  <a:gd name="T3" fmla="*/ 20 h 36"/>
                  <a:gd name="T4" fmla="*/ 17 w 36"/>
                  <a:gd name="T5" fmla="*/ 36 h 36"/>
                  <a:gd name="T6" fmla="*/ 0 w 36"/>
                  <a:gd name="T7" fmla="*/ 18 h 36"/>
                  <a:gd name="T8" fmla="*/ 17 w 36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cubicBezTo>
                      <a:pt x="30" y="2"/>
                      <a:pt x="36" y="8"/>
                      <a:pt x="35" y="20"/>
                    </a:cubicBezTo>
                    <a:cubicBezTo>
                      <a:pt x="34" y="31"/>
                      <a:pt x="27" y="36"/>
                      <a:pt x="17" y="36"/>
                    </a:cubicBezTo>
                    <a:cubicBezTo>
                      <a:pt x="6" y="35"/>
                      <a:pt x="0" y="29"/>
                      <a:pt x="0" y="18"/>
                    </a:cubicBezTo>
                    <a:cubicBezTo>
                      <a:pt x="0" y="7"/>
                      <a:pt x="8" y="2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24">
                <a:extLst>
                  <a:ext uri="{FF2B5EF4-FFF2-40B4-BE49-F238E27FC236}">
                    <a16:creationId xmlns:a16="http://schemas.microsoft.com/office/drawing/2014/main" id="{03EE2E95-504D-4CBB-8E23-06DCC778A1CC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199248" y="5104788"/>
                <a:ext cx="30416" cy="31397"/>
              </a:xfrm>
              <a:custGeom>
                <a:avLst/>
                <a:gdLst>
                  <a:gd name="T0" fmla="*/ 36 w 36"/>
                  <a:gd name="T1" fmla="*/ 20 h 36"/>
                  <a:gd name="T2" fmla="*/ 19 w 36"/>
                  <a:gd name="T3" fmla="*/ 36 h 36"/>
                  <a:gd name="T4" fmla="*/ 1 w 36"/>
                  <a:gd name="T5" fmla="*/ 20 h 36"/>
                  <a:gd name="T6" fmla="*/ 19 w 36"/>
                  <a:gd name="T7" fmla="*/ 1 h 36"/>
                  <a:gd name="T8" fmla="*/ 36 w 36"/>
                  <a:gd name="T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36" y="20"/>
                    </a:moveTo>
                    <a:cubicBezTo>
                      <a:pt x="35" y="30"/>
                      <a:pt x="30" y="36"/>
                      <a:pt x="19" y="36"/>
                    </a:cubicBezTo>
                    <a:cubicBezTo>
                      <a:pt x="7" y="36"/>
                      <a:pt x="1" y="29"/>
                      <a:pt x="1" y="20"/>
                    </a:cubicBezTo>
                    <a:cubicBezTo>
                      <a:pt x="0" y="8"/>
                      <a:pt x="7" y="0"/>
                      <a:pt x="19" y="1"/>
                    </a:cubicBezTo>
                    <a:cubicBezTo>
                      <a:pt x="30" y="1"/>
                      <a:pt x="35" y="8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5">
                <a:extLst>
                  <a:ext uri="{FF2B5EF4-FFF2-40B4-BE49-F238E27FC236}">
                    <a16:creationId xmlns:a16="http://schemas.microsoft.com/office/drawing/2014/main" id="{F25F7060-7D67-40A5-8A17-39A46BBD492D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29736" y="4798282"/>
                <a:ext cx="30416" cy="30416"/>
              </a:xfrm>
              <a:custGeom>
                <a:avLst/>
                <a:gdLst>
                  <a:gd name="T0" fmla="*/ 15 w 36"/>
                  <a:gd name="T1" fmla="*/ 1 h 36"/>
                  <a:gd name="T2" fmla="*/ 35 w 36"/>
                  <a:gd name="T3" fmla="*/ 17 h 36"/>
                  <a:gd name="T4" fmla="*/ 17 w 36"/>
                  <a:gd name="T5" fmla="*/ 36 h 36"/>
                  <a:gd name="T6" fmla="*/ 1 w 36"/>
                  <a:gd name="T7" fmla="*/ 18 h 36"/>
                  <a:gd name="T8" fmla="*/ 15 w 36"/>
                  <a:gd name="T9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5" y="1"/>
                    </a:moveTo>
                    <a:cubicBezTo>
                      <a:pt x="28" y="0"/>
                      <a:pt x="35" y="8"/>
                      <a:pt x="35" y="17"/>
                    </a:cubicBezTo>
                    <a:cubicBezTo>
                      <a:pt x="36" y="28"/>
                      <a:pt x="30" y="36"/>
                      <a:pt x="17" y="36"/>
                    </a:cubicBezTo>
                    <a:cubicBezTo>
                      <a:pt x="6" y="36"/>
                      <a:pt x="1" y="29"/>
                      <a:pt x="1" y="18"/>
                    </a:cubicBezTo>
                    <a:cubicBezTo>
                      <a:pt x="0" y="7"/>
                      <a:pt x="7" y="2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26">
                <a:extLst>
                  <a:ext uri="{FF2B5EF4-FFF2-40B4-BE49-F238E27FC236}">
                    <a16:creationId xmlns:a16="http://schemas.microsoft.com/office/drawing/2014/main" id="{1E2E266B-007B-4726-8077-D2E0C42F403F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717500" y="4934812"/>
                <a:ext cx="30416" cy="31397"/>
              </a:xfrm>
              <a:custGeom>
                <a:avLst/>
                <a:gdLst>
                  <a:gd name="T0" fmla="*/ 17 w 36"/>
                  <a:gd name="T1" fmla="*/ 37 h 37"/>
                  <a:gd name="T2" fmla="*/ 0 w 36"/>
                  <a:gd name="T3" fmla="*/ 19 h 37"/>
                  <a:gd name="T4" fmla="*/ 20 w 36"/>
                  <a:gd name="T5" fmla="*/ 2 h 37"/>
                  <a:gd name="T6" fmla="*/ 35 w 36"/>
                  <a:gd name="T7" fmla="*/ 20 h 37"/>
                  <a:gd name="T8" fmla="*/ 17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17" y="37"/>
                    </a:moveTo>
                    <a:cubicBezTo>
                      <a:pt x="7" y="36"/>
                      <a:pt x="0" y="30"/>
                      <a:pt x="0" y="19"/>
                    </a:cubicBezTo>
                    <a:cubicBezTo>
                      <a:pt x="0" y="7"/>
                      <a:pt x="8" y="0"/>
                      <a:pt x="20" y="2"/>
                    </a:cubicBezTo>
                    <a:cubicBezTo>
                      <a:pt x="29" y="2"/>
                      <a:pt x="36" y="9"/>
                      <a:pt x="35" y="20"/>
                    </a:cubicBezTo>
                    <a:cubicBezTo>
                      <a:pt x="34" y="31"/>
                      <a:pt x="28" y="37"/>
                      <a:pt x="17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7">
                <a:extLst>
                  <a:ext uri="{FF2B5EF4-FFF2-40B4-BE49-F238E27FC236}">
                    <a16:creationId xmlns:a16="http://schemas.microsoft.com/office/drawing/2014/main" id="{A1B2628B-35FE-4D4B-8853-B93D6B10E560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421950" y="4736391"/>
                <a:ext cx="30416" cy="31397"/>
              </a:xfrm>
              <a:custGeom>
                <a:avLst/>
                <a:gdLst>
                  <a:gd name="T0" fmla="*/ 16 w 36"/>
                  <a:gd name="T1" fmla="*/ 0 h 36"/>
                  <a:gd name="T2" fmla="*/ 36 w 36"/>
                  <a:gd name="T3" fmla="*/ 15 h 36"/>
                  <a:gd name="T4" fmla="*/ 19 w 36"/>
                  <a:gd name="T5" fmla="*/ 35 h 36"/>
                  <a:gd name="T6" fmla="*/ 1 w 36"/>
                  <a:gd name="T7" fmla="*/ 19 h 36"/>
                  <a:gd name="T8" fmla="*/ 16 w 36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6" y="0"/>
                    </a:moveTo>
                    <a:cubicBezTo>
                      <a:pt x="29" y="0"/>
                      <a:pt x="35" y="4"/>
                      <a:pt x="36" y="15"/>
                    </a:cubicBezTo>
                    <a:cubicBezTo>
                      <a:pt x="36" y="27"/>
                      <a:pt x="31" y="34"/>
                      <a:pt x="19" y="35"/>
                    </a:cubicBezTo>
                    <a:cubicBezTo>
                      <a:pt x="8" y="36"/>
                      <a:pt x="2" y="28"/>
                      <a:pt x="1" y="19"/>
                    </a:cubicBezTo>
                    <a:cubicBezTo>
                      <a:pt x="0" y="8"/>
                      <a:pt x="6" y="1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8">
                <a:extLst>
                  <a:ext uri="{FF2B5EF4-FFF2-40B4-BE49-F238E27FC236}">
                    <a16:creationId xmlns:a16="http://schemas.microsoft.com/office/drawing/2014/main" id="{4B58A34E-5EBE-4BED-87F1-8354C2983A21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367692" y="4747839"/>
                <a:ext cx="31397" cy="31397"/>
              </a:xfrm>
              <a:custGeom>
                <a:avLst/>
                <a:gdLst>
                  <a:gd name="T0" fmla="*/ 36 w 36"/>
                  <a:gd name="T1" fmla="*/ 19 h 37"/>
                  <a:gd name="T2" fmla="*/ 20 w 36"/>
                  <a:gd name="T3" fmla="*/ 36 h 37"/>
                  <a:gd name="T4" fmla="*/ 1 w 36"/>
                  <a:gd name="T5" fmla="*/ 18 h 37"/>
                  <a:gd name="T6" fmla="*/ 20 w 36"/>
                  <a:gd name="T7" fmla="*/ 1 h 37"/>
                  <a:gd name="T8" fmla="*/ 36 w 36"/>
                  <a:gd name="T9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36" y="19"/>
                    </a:moveTo>
                    <a:cubicBezTo>
                      <a:pt x="36" y="29"/>
                      <a:pt x="30" y="35"/>
                      <a:pt x="20" y="36"/>
                    </a:cubicBezTo>
                    <a:cubicBezTo>
                      <a:pt x="8" y="37"/>
                      <a:pt x="0" y="28"/>
                      <a:pt x="1" y="18"/>
                    </a:cubicBezTo>
                    <a:cubicBezTo>
                      <a:pt x="1" y="8"/>
                      <a:pt x="8" y="0"/>
                      <a:pt x="20" y="1"/>
                    </a:cubicBezTo>
                    <a:cubicBezTo>
                      <a:pt x="31" y="1"/>
                      <a:pt x="36" y="8"/>
                      <a:pt x="3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9">
                <a:extLst>
                  <a:ext uri="{FF2B5EF4-FFF2-40B4-BE49-F238E27FC236}">
                    <a16:creationId xmlns:a16="http://schemas.microsoft.com/office/drawing/2014/main" id="{76AA2C74-612A-4044-AB9C-783F84866AF8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710908" y="5098688"/>
                <a:ext cx="30416" cy="30416"/>
              </a:xfrm>
              <a:custGeom>
                <a:avLst/>
                <a:gdLst>
                  <a:gd name="T0" fmla="*/ 36 w 36"/>
                  <a:gd name="T1" fmla="*/ 17 h 35"/>
                  <a:gd name="T2" fmla="*/ 19 w 36"/>
                  <a:gd name="T3" fmla="*/ 35 h 35"/>
                  <a:gd name="T4" fmla="*/ 0 w 36"/>
                  <a:gd name="T5" fmla="*/ 19 h 35"/>
                  <a:gd name="T6" fmla="*/ 19 w 36"/>
                  <a:gd name="T7" fmla="*/ 0 h 35"/>
                  <a:gd name="T8" fmla="*/ 36 w 36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5">
                    <a:moveTo>
                      <a:pt x="36" y="17"/>
                    </a:moveTo>
                    <a:cubicBezTo>
                      <a:pt x="35" y="28"/>
                      <a:pt x="30" y="35"/>
                      <a:pt x="19" y="35"/>
                    </a:cubicBezTo>
                    <a:cubicBezTo>
                      <a:pt x="8" y="35"/>
                      <a:pt x="1" y="30"/>
                      <a:pt x="0" y="19"/>
                    </a:cubicBezTo>
                    <a:cubicBezTo>
                      <a:pt x="0" y="7"/>
                      <a:pt x="8" y="0"/>
                      <a:pt x="19" y="0"/>
                    </a:cubicBezTo>
                    <a:cubicBezTo>
                      <a:pt x="28" y="0"/>
                      <a:pt x="35" y="7"/>
                      <a:pt x="3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30">
                <a:extLst>
                  <a:ext uri="{FF2B5EF4-FFF2-40B4-BE49-F238E27FC236}">
                    <a16:creationId xmlns:a16="http://schemas.microsoft.com/office/drawing/2014/main" id="{C0C79051-D4E2-4123-A263-0A9F81B9C790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188841" y="4943137"/>
                <a:ext cx="30416" cy="31397"/>
              </a:xfrm>
              <a:custGeom>
                <a:avLst/>
                <a:gdLst>
                  <a:gd name="T0" fmla="*/ 17 w 36"/>
                  <a:gd name="T1" fmla="*/ 37 h 37"/>
                  <a:gd name="T2" fmla="*/ 1 w 36"/>
                  <a:gd name="T3" fmla="*/ 19 h 37"/>
                  <a:gd name="T4" fmla="*/ 17 w 36"/>
                  <a:gd name="T5" fmla="*/ 1 h 37"/>
                  <a:gd name="T6" fmla="*/ 36 w 36"/>
                  <a:gd name="T7" fmla="*/ 19 h 37"/>
                  <a:gd name="T8" fmla="*/ 17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17" y="37"/>
                    </a:moveTo>
                    <a:cubicBezTo>
                      <a:pt x="8" y="35"/>
                      <a:pt x="1" y="30"/>
                      <a:pt x="1" y="19"/>
                    </a:cubicBezTo>
                    <a:cubicBezTo>
                      <a:pt x="0" y="8"/>
                      <a:pt x="5" y="1"/>
                      <a:pt x="17" y="1"/>
                    </a:cubicBezTo>
                    <a:cubicBezTo>
                      <a:pt x="29" y="0"/>
                      <a:pt x="36" y="8"/>
                      <a:pt x="36" y="19"/>
                    </a:cubicBezTo>
                    <a:cubicBezTo>
                      <a:pt x="36" y="29"/>
                      <a:pt x="28" y="35"/>
                      <a:pt x="17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31">
                <a:extLst>
                  <a:ext uri="{FF2B5EF4-FFF2-40B4-BE49-F238E27FC236}">
                    <a16:creationId xmlns:a16="http://schemas.microsoft.com/office/drawing/2014/main" id="{EE610433-2567-4A52-89AE-D0DCF087D776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318433" y="4770733"/>
                <a:ext cx="31397" cy="31397"/>
              </a:xfrm>
              <a:custGeom>
                <a:avLst/>
                <a:gdLst>
                  <a:gd name="T0" fmla="*/ 17 w 36"/>
                  <a:gd name="T1" fmla="*/ 36 h 36"/>
                  <a:gd name="T2" fmla="*/ 0 w 36"/>
                  <a:gd name="T3" fmla="*/ 18 h 36"/>
                  <a:gd name="T4" fmla="*/ 17 w 36"/>
                  <a:gd name="T5" fmla="*/ 1 h 36"/>
                  <a:gd name="T6" fmla="*/ 35 w 36"/>
                  <a:gd name="T7" fmla="*/ 20 h 36"/>
                  <a:gd name="T8" fmla="*/ 17 w 3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7" y="36"/>
                    </a:moveTo>
                    <a:cubicBezTo>
                      <a:pt x="6" y="34"/>
                      <a:pt x="0" y="29"/>
                      <a:pt x="0" y="18"/>
                    </a:cubicBezTo>
                    <a:cubicBezTo>
                      <a:pt x="0" y="7"/>
                      <a:pt x="6" y="0"/>
                      <a:pt x="17" y="1"/>
                    </a:cubicBezTo>
                    <a:cubicBezTo>
                      <a:pt x="29" y="1"/>
                      <a:pt x="36" y="9"/>
                      <a:pt x="35" y="20"/>
                    </a:cubicBezTo>
                    <a:cubicBezTo>
                      <a:pt x="35" y="30"/>
                      <a:pt x="27" y="35"/>
                      <a:pt x="17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32">
                <a:extLst>
                  <a:ext uri="{FF2B5EF4-FFF2-40B4-BE49-F238E27FC236}">
                    <a16:creationId xmlns:a16="http://schemas.microsoft.com/office/drawing/2014/main" id="{6295CD15-E7DE-40F0-A1CD-898BB8208783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349103" y="5261175"/>
                <a:ext cx="30416" cy="29435"/>
              </a:xfrm>
              <a:custGeom>
                <a:avLst/>
                <a:gdLst>
                  <a:gd name="T0" fmla="*/ 17 w 36"/>
                  <a:gd name="T1" fmla="*/ 0 h 35"/>
                  <a:gd name="T2" fmla="*/ 35 w 36"/>
                  <a:gd name="T3" fmla="*/ 16 h 35"/>
                  <a:gd name="T4" fmla="*/ 17 w 36"/>
                  <a:gd name="T5" fmla="*/ 35 h 35"/>
                  <a:gd name="T6" fmla="*/ 0 w 36"/>
                  <a:gd name="T7" fmla="*/ 16 h 35"/>
                  <a:gd name="T8" fmla="*/ 17 w 36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5">
                    <a:moveTo>
                      <a:pt x="17" y="0"/>
                    </a:moveTo>
                    <a:cubicBezTo>
                      <a:pt x="28" y="0"/>
                      <a:pt x="35" y="6"/>
                      <a:pt x="35" y="16"/>
                    </a:cubicBezTo>
                    <a:cubicBezTo>
                      <a:pt x="36" y="28"/>
                      <a:pt x="28" y="35"/>
                      <a:pt x="17" y="35"/>
                    </a:cubicBezTo>
                    <a:cubicBezTo>
                      <a:pt x="7" y="34"/>
                      <a:pt x="0" y="28"/>
                      <a:pt x="0" y="16"/>
                    </a:cubicBezTo>
                    <a:cubicBezTo>
                      <a:pt x="1" y="5"/>
                      <a:pt x="7" y="0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33">
                <a:extLst>
                  <a:ext uri="{FF2B5EF4-FFF2-40B4-BE49-F238E27FC236}">
                    <a16:creationId xmlns:a16="http://schemas.microsoft.com/office/drawing/2014/main" id="{9158D4C7-EF4F-4243-A292-CFFE04687693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97379" y="4882778"/>
                <a:ext cx="30416" cy="31397"/>
              </a:xfrm>
              <a:custGeom>
                <a:avLst/>
                <a:gdLst>
                  <a:gd name="T0" fmla="*/ 17 w 36"/>
                  <a:gd name="T1" fmla="*/ 37 h 37"/>
                  <a:gd name="T2" fmla="*/ 1 w 36"/>
                  <a:gd name="T3" fmla="*/ 19 h 37"/>
                  <a:gd name="T4" fmla="*/ 20 w 36"/>
                  <a:gd name="T5" fmla="*/ 2 h 37"/>
                  <a:gd name="T6" fmla="*/ 35 w 36"/>
                  <a:gd name="T7" fmla="*/ 21 h 37"/>
                  <a:gd name="T8" fmla="*/ 17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17" y="37"/>
                    </a:moveTo>
                    <a:cubicBezTo>
                      <a:pt x="7" y="35"/>
                      <a:pt x="0" y="29"/>
                      <a:pt x="1" y="19"/>
                    </a:cubicBezTo>
                    <a:cubicBezTo>
                      <a:pt x="1" y="8"/>
                      <a:pt x="8" y="0"/>
                      <a:pt x="20" y="2"/>
                    </a:cubicBezTo>
                    <a:cubicBezTo>
                      <a:pt x="31" y="3"/>
                      <a:pt x="36" y="10"/>
                      <a:pt x="35" y="21"/>
                    </a:cubicBezTo>
                    <a:cubicBezTo>
                      <a:pt x="34" y="31"/>
                      <a:pt x="28" y="36"/>
                      <a:pt x="17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34">
                <a:extLst>
                  <a:ext uri="{FF2B5EF4-FFF2-40B4-BE49-F238E27FC236}">
                    <a16:creationId xmlns:a16="http://schemas.microsoft.com/office/drawing/2014/main" id="{99C2AD2C-3DE1-426F-9397-8E264A637528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457333" y="5279620"/>
                <a:ext cx="30416" cy="31397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9 h 36"/>
                  <a:gd name="T4" fmla="*/ 20 w 36"/>
                  <a:gd name="T5" fmla="*/ 1 h 36"/>
                  <a:gd name="T6" fmla="*/ 36 w 36"/>
                  <a:gd name="T7" fmla="*/ 20 h 36"/>
                  <a:gd name="T8" fmla="*/ 18 w 3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7" y="35"/>
                      <a:pt x="0" y="29"/>
                      <a:pt x="0" y="19"/>
                    </a:cubicBezTo>
                    <a:cubicBezTo>
                      <a:pt x="0" y="7"/>
                      <a:pt x="9" y="0"/>
                      <a:pt x="20" y="1"/>
                    </a:cubicBezTo>
                    <a:cubicBezTo>
                      <a:pt x="29" y="2"/>
                      <a:pt x="36" y="8"/>
                      <a:pt x="36" y="20"/>
                    </a:cubicBezTo>
                    <a:cubicBezTo>
                      <a:pt x="35" y="31"/>
                      <a:pt x="29" y="36"/>
                      <a:pt x="1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35">
                <a:extLst>
                  <a:ext uri="{FF2B5EF4-FFF2-40B4-BE49-F238E27FC236}">
                    <a16:creationId xmlns:a16="http://schemas.microsoft.com/office/drawing/2014/main" id="{48B7473C-B0F3-4DBE-9C86-0B374D264FDE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225408" y="5155229"/>
                <a:ext cx="29435" cy="30416"/>
              </a:xfrm>
              <a:custGeom>
                <a:avLst/>
                <a:gdLst>
                  <a:gd name="T0" fmla="*/ 35 w 35"/>
                  <a:gd name="T1" fmla="*/ 18 h 36"/>
                  <a:gd name="T2" fmla="*/ 17 w 35"/>
                  <a:gd name="T3" fmla="*/ 36 h 36"/>
                  <a:gd name="T4" fmla="*/ 0 w 35"/>
                  <a:gd name="T5" fmla="*/ 19 h 36"/>
                  <a:gd name="T6" fmla="*/ 17 w 35"/>
                  <a:gd name="T7" fmla="*/ 1 h 36"/>
                  <a:gd name="T8" fmla="*/ 35 w 35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35" y="18"/>
                    </a:moveTo>
                    <a:cubicBezTo>
                      <a:pt x="32" y="27"/>
                      <a:pt x="29" y="36"/>
                      <a:pt x="17" y="36"/>
                    </a:cubicBezTo>
                    <a:cubicBezTo>
                      <a:pt x="6" y="36"/>
                      <a:pt x="0" y="30"/>
                      <a:pt x="0" y="19"/>
                    </a:cubicBezTo>
                    <a:cubicBezTo>
                      <a:pt x="0" y="8"/>
                      <a:pt x="7" y="2"/>
                      <a:pt x="17" y="1"/>
                    </a:cubicBezTo>
                    <a:cubicBezTo>
                      <a:pt x="27" y="0"/>
                      <a:pt x="32" y="9"/>
                      <a:pt x="35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36">
                <a:extLst>
                  <a:ext uri="{FF2B5EF4-FFF2-40B4-BE49-F238E27FC236}">
                    <a16:creationId xmlns:a16="http://schemas.microsoft.com/office/drawing/2014/main" id="{89327A56-809D-4FD0-BCAA-20C0C0D3D4CA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54509" y="5191857"/>
                <a:ext cx="29435" cy="31397"/>
              </a:xfrm>
              <a:custGeom>
                <a:avLst/>
                <a:gdLst>
                  <a:gd name="T0" fmla="*/ 17 w 35"/>
                  <a:gd name="T1" fmla="*/ 0 h 37"/>
                  <a:gd name="T2" fmla="*/ 34 w 35"/>
                  <a:gd name="T3" fmla="*/ 17 h 37"/>
                  <a:gd name="T4" fmla="*/ 19 w 35"/>
                  <a:gd name="T5" fmla="*/ 36 h 37"/>
                  <a:gd name="T6" fmla="*/ 1 w 35"/>
                  <a:gd name="T7" fmla="*/ 20 h 37"/>
                  <a:gd name="T8" fmla="*/ 17 w 35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7">
                    <a:moveTo>
                      <a:pt x="17" y="0"/>
                    </a:moveTo>
                    <a:cubicBezTo>
                      <a:pt x="26" y="2"/>
                      <a:pt x="34" y="7"/>
                      <a:pt x="34" y="17"/>
                    </a:cubicBezTo>
                    <a:cubicBezTo>
                      <a:pt x="35" y="28"/>
                      <a:pt x="30" y="35"/>
                      <a:pt x="19" y="36"/>
                    </a:cubicBezTo>
                    <a:cubicBezTo>
                      <a:pt x="8" y="37"/>
                      <a:pt x="2" y="29"/>
                      <a:pt x="1" y="20"/>
                    </a:cubicBezTo>
                    <a:cubicBezTo>
                      <a:pt x="0" y="10"/>
                      <a:pt x="7" y="3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37">
                <a:extLst>
                  <a:ext uri="{FF2B5EF4-FFF2-40B4-BE49-F238E27FC236}">
                    <a16:creationId xmlns:a16="http://schemas.microsoft.com/office/drawing/2014/main" id="{698D99F6-2F34-4019-B9A2-867DFCBFCFF6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108486" y="4970463"/>
                <a:ext cx="5887" cy="74567"/>
              </a:xfrm>
              <a:custGeom>
                <a:avLst/>
                <a:gdLst>
                  <a:gd name="T0" fmla="*/ 3 w 8"/>
                  <a:gd name="T1" fmla="*/ 0 h 87"/>
                  <a:gd name="T2" fmla="*/ 2 w 8"/>
                  <a:gd name="T3" fmla="*/ 87 h 87"/>
                  <a:gd name="T4" fmla="*/ 3 w 8"/>
                  <a:gd name="T5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7">
                    <a:moveTo>
                      <a:pt x="3" y="0"/>
                    </a:moveTo>
                    <a:cubicBezTo>
                      <a:pt x="8" y="29"/>
                      <a:pt x="8" y="58"/>
                      <a:pt x="2" y="87"/>
                    </a:cubicBezTo>
                    <a:cubicBezTo>
                      <a:pt x="1" y="58"/>
                      <a:pt x="0" y="29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38">
                <a:extLst>
                  <a:ext uri="{FF2B5EF4-FFF2-40B4-BE49-F238E27FC236}">
                    <a16:creationId xmlns:a16="http://schemas.microsoft.com/office/drawing/2014/main" id="{20D76BFA-045A-4E43-8D2A-A07E6C15F687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671283" y="5249599"/>
                <a:ext cx="4906" cy="13736"/>
              </a:xfrm>
              <a:custGeom>
                <a:avLst/>
                <a:gdLst>
                  <a:gd name="T0" fmla="*/ 0 w 5"/>
                  <a:gd name="T1" fmla="*/ 0 h 16"/>
                  <a:gd name="T2" fmla="*/ 0 w 5"/>
                  <a:gd name="T3" fmla="*/ 16 h 16"/>
                  <a:gd name="T4" fmla="*/ 0 w 5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6">
                    <a:moveTo>
                      <a:pt x="0" y="0"/>
                    </a:moveTo>
                    <a:cubicBezTo>
                      <a:pt x="5" y="5"/>
                      <a:pt x="5" y="10"/>
                      <a:pt x="0" y="16"/>
                    </a:cubicBezTo>
                    <a:cubicBezTo>
                      <a:pt x="0" y="10"/>
                      <a:pt x="0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39">
                <a:extLst>
                  <a:ext uri="{FF2B5EF4-FFF2-40B4-BE49-F238E27FC236}">
                    <a16:creationId xmlns:a16="http://schemas.microsoft.com/office/drawing/2014/main" id="{9631E4F8-08EB-4ABF-A5F9-0250223FF2E0}"/>
                  </a:ext>
                </a:extLst>
              </p:cNvPr>
              <p:cNvSpPr>
                <a:spLocks/>
              </p:cNvSpPr>
              <p:nvPr/>
            </p:nvSpPr>
            <p:spPr bwMode="auto">
              <a:xfrm rot="2700000">
                <a:off x="6700422" y="5220460"/>
                <a:ext cx="4906" cy="13736"/>
              </a:xfrm>
              <a:custGeom>
                <a:avLst/>
                <a:gdLst>
                  <a:gd name="T0" fmla="*/ 0 w 5"/>
                  <a:gd name="T1" fmla="*/ 0 h 16"/>
                  <a:gd name="T2" fmla="*/ 0 w 5"/>
                  <a:gd name="T3" fmla="*/ 16 h 16"/>
                  <a:gd name="T4" fmla="*/ 0 w 5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6">
                    <a:moveTo>
                      <a:pt x="0" y="0"/>
                    </a:moveTo>
                    <a:cubicBezTo>
                      <a:pt x="5" y="5"/>
                      <a:pt x="5" y="10"/>
                      <a:pt x="0" y="16"/>
                    </a:cubicBezTo>
                    <a:cubicBezTo>
                      <a:pt x="0" y="10"/>
                      <a:pt x="0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0">
                <a:extLst>
                  <a:ext uri="{FF2B5EF4-FFF2-40B4-BE49-F238E27FC236}">
                    <a16:creationId xmlns:a16="http://schemas.microsoft.com/office/drawing/2014/main" id="{9AB0F6CA-7A3B-4C66-AB23-523830D9D2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8900000">
                <a:off x="6241754" y="4894971"/>
                <a:ext cx="262948" cy="266873"/>
              </a:xfrm>
              <a:custGeom>
                <a:avLst/>
                <a:gdLst>
                  <a:gd name="T0" fmla="*/ 281 w 309"/>
                  <a:gd name="T1" fmla="*/ 244 h 313"/>
                  <a:gd name="T2" fmla="*/ 261 w 309"/>
                  <a:gd name="T3" fmla="*/ 266 h 313"/>
                  <a:gd name="T4" fmla="*/ 221 w 309"/>
                  <a:gd name="T5" fmla="*/ 270 h 313"/>
                  <a:gd name="T6" fmla="*/ 186 w 309"/>
                  <a:gd name="T7" fmla="*/ 285 h 313"/>
                  <a:gd name="T8" fmla="*/ 155 w 309"/>
                  <a:gd name="T9" fmla="*/ 310 h 313"/>
                  <a:gd name="T10" fmla="*/ 122 w 309"/>
                  <a:gd name="T11" fmla="*/ 286 h 313"/>
                  <a:gd name="T12" fmla="*/ 93 w 309"/>
                  <a:gd name="T13" fmla="*/ 265 h 313"/>
                  <a:gd name="T14" fmla="*/ 36 w 309"/>
                  <a:gd name="T15" fmla="*/ 254 h 313"/>
                  <a:gd name="T16" fmla="*/ 29 w 309"/>
                  <a:gd name="T17" fmla="*/ 244 h 313"/>
                  <a:gd name="T18" fmla="*/ 3 w 309"/>
                  <a:gd name="T19" fmla="*/ 181 h 313"/>
                  <a:gd name="T20" fmla="*/ 1 w 309"/>
                  <a:gd name="T21" fmla="*/ 166 h 313"/>
                  <a:gd name="T22" fmla="*/ 1 w 309"/>
                  <a:gd name="T23" fmla="*/ 129 h 313"/>
                  <a:gd name="T24" fmla="*/ 15 w 309"/>
                  <a:gd name="T25" fmla="*/ 126 h 313"/>
                  <a:gd name="T26" fmla="*/ 34 w 309"/>
                  <a:gd name="T27" fmla="*/ 81 h 313"/>
                  <a:gd name="T28" fmla="*/ 44 w 309"/>
                  <a:gd name="T29" fmla="*/ 49 h 313"/>
                  <a:gd name="T30" fmla="*/ 79 w 309"/>
                  <a:gd name="T31" fmla="*/ 36 h 313"/>
                  <a:gd name="T32" fmla="*/ 124 w 309"/>
                  <a:gd name="T33" fmla="*/ 20 h 313"/>
                  <a:gd name="T34" fmla="*/ 143 w 309"/>
                  <a:gd name="T35" fmla="*/ 3 h 313"/>
                  <a:gd name="T36" fmla="*/ 179 w 309"/>
                  <a:gd name="T37" fmla="*/ 2 h 313"/>
                  <a:gd name="T38" fmla="*/ 183 w 309"/>
                  <a:gd name="T39" fmla="*/ 14 h 313"/>
                  <a:gd name="T40" fmla="*/ 230 w 309"/>
                  <a:gd name="T41" fmla="*/ 35 h 313"/>
                  <a:gd name="T42" fmla="*/ 264 w 309"/>
                  <a:gd name="T43" fmla="*/ 51 h 313"/>
                  <a:gd name="T44" fmla="*/ 272 w 309"/>
                  <a:gd name="T45" fmla="*/ 82 h 313"/>
                  <a:gd name="T46" fmla="*/ 291 w 309"/>
                  <a:gd name="T47" fmla="*/ 127 h 313"/>
                  <a:gd name="T48" fmla="*/ 307 w 309"/>
                  <a:gd name="T49" fmla="*/ 144 h 313"/>
                  <a:gd name="T50" fmla="*/ 307 w 309"/>
                  <a:gd name="T51" fmla="*/ 180 h 313"/>
                  <a:gd name="T52" fmla="*/ 281 w 309"/>
                  <a:gd name="T53" fmla="*/ 244 h 313"/>
                  <a:gd name="T54" fmla="*/ 153 w 309"/>
                  <a:gd name="T55" fmla="*/ 94 h 313"/>
                  <a:gd name="T56" fmla="*/ 91 w 309"/>
                  <a:gd name="T57" fmla="*/ 155 h 313"/>
                  <a:gd name="T58" fmla="*/ 154 w 309"/>
                  <a:gd name="T59" fmla="*/ 218 h 313"/>
                  <a:gd name="T60" fmla="*/ 217 w 309"/>
                  <a:gd name="T61" fmla="*/ 156 h 313"/>
                  <a:gd name="T62" fmla="*/ 153 w 309"/>
                  <a:gd name="T63" fmla="*/ 94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09" h="313">
                    <a:moveTo>
                      <a:pt x="281" y="244"/>
                    </a:moveTo>
                    <a:cubicBezTo>
                      <a:pt x="273" y="252"/>
                      <a:pt x="267" y="259"/>
                      <a:pt x="261" y="266"/>
                    </a:cubicBezTo>
                    <a:cubicBezTo>
                      <a:pt x="249" y="281"/>
                      <a:pt x="237" y="284"/>
                      <a:pt x="221" y="270"/>
                    </a:cubicBezTo>
                    <a:cubicBezTo>
                      <a:pt x="202" y="253"/>
                      <a:pt x="190" y="258"/>
                      <a:pt x="186" y="285"/>
                    </a:cubicBezTo>
                    <a:cubicBezTo>
                      <a:pt x="184" y="305"/>
                      <a:pt x="175" y="311"/>
                      <a:pt x="155" y="310"/>
                    </a:cubicBezTo>
                    <a:cubicBezTo>
                      <a:pt x="138" y="309"/>
                      <a:pt x="123" y="313"/>
                      <a:pt x="122" y="286"/>
                    </a:cubicBezTo>
                    <a:cubicBezTo>
                      <a:pt x="121" y="263"/>
                      <a:pt x="106" y="253"/>
                      <a:pt x="93" y="265"/>
                    </a:cubicBezTo>
                    <a:cubicBezTo>
                      <a:pt x="67" y="290"/>
                      <a:pt x="52" y="273"/>
                      <a:pt x="36" y="254"/>
                    </a:cubicBezTo>
                    <a:cubicBezTo>
                      <a:pt x="34" y="251"/>
                      <a:pt x="31" y="247"/>
                      <a:pt x="29" y="244"/>
                    </a:cubicBezTo>
                    <a:cubicBezTo>
                      <a:pt x="56" y="195"/>
                      <a:pt x="56" y="195"/>
                      <a:pt x="3" y="181"/>
                    </a:cubicBezTo>
                    <a:cubicBezTo>
                      <a:pt x="2" y="177"/>
                      <a:pt x="1" y="172"/>
                      <a:pt x="1" y="166"/>
                    </a:cubicBezTo>
                    <a:cubicBezTo>
                      <a:pt x="0" y="154"/>
                      <a:pt x="1" y="142"/>
                      <a:pt x="1" y="129"/>
                    </a:cubicBezTo>
                    <a:cubicBezTo>
                      <a:pt x="7" y="127"/>
                      <a:pt x="11" y="127"/>
                      <a:pt x="15" y="126"/>
                    </a:cubicBezTo>
                    <a:cubicBezTo>
                      <a:pt x="54" y="118"/>
                      <a:pt x="57" y="113"/>
                      <a:pt x="34" y="81"/>
                    </a:cubicBezTo>
                    <a:cubicBezTo>
                      <a:pt x="22" y="64"/>
                      <a:pt x="36" y="57"/>
                      <a:pt x="44" y="49"/>
                    </a:cubicBezTo>
                    <a:cubicBezTo>
                      <a:pt x="53" y="40"/>
                      <a:pt x="60" y="24"/>
                      <a:pt x="79" y="36"/>
                    </a:cubicBezTo>
                    <a:cubicBezTo>
                      <a:pt x="112" y="59"/>
                      <a:pt x="114" y="57"/>
                      <a:pt x="124" y="20"/>
                    </a:cubicBezTo>
                    <a:cubicBezTo>
                      <a:pt x="125" y="13"/>
                      <a:pt x="135" y="5"/>
                      <a:pt x="143" y="3"/>
                    </a:cubicBezTo>
                    <a:cubicBezTo>
                      <a:pt x="154" y="0"/>
                      <a:pt x="167" y="2"/>
                      <a:pt x="179" y="2"/>
                    </a:cubicBezTo>
                    <a:cubicBezTo>
                      <a:pt x="181" y="8"/>
                      <a:pt x="182" y="11"/>
                      <a:pt x="183" y="14"/>
                    </a:cubicBezTo>
                    <a:cubicBezTo>
                      <a:pt x="192" y="55"/>
                      <a:pt x="193" y="55"/>
                      <a:pt x="230" y="35"/>
                    </a:cubicBezTo>
                    <a:cubicBezTo>
                      <a:pt x="249" y="25"/>
                      <a:pt x="255" y="43"/>
                      <a:pt x="264" y="51"/>
                    </a:cubicBezTo>
                    <a:cubicBezTo>
                      <a:pt x="273" y="58"/>
                      <a:pt x="282" y="67"/>
                      <a:pt x="272" y="82"/>
                    </a:cubicBezTo>
                    <a:cubicBezTo>
                      <a:pt x="250" y="112"/>
                      <a:pt x="254" y="118"/>
                      <a:pt x="291" y="127"/>
                    </a:cubicBezTo>
                    <a:cubicBezTo>
                      <a:pt x="297" y="129"/>
                      <a:pt x="305" y="138"/>
                      <a:pt x="307" y="144"/>
                    </a:cubicBezTo>
                    <a:cubicBezTo>
                      <a:pt x="309" y="156"/>
                      <a:pt x="307" y="169"/>
                      <a:pt x="307" y="180"/>
                    </a:cubicBezTo>
                    <a:cubicBezTo>
                      <a:pt x="252" y="201"/>
                      <a:pt x="252" y="201"/>
                      <a:pt x="281" y="244"/>
                    </a:cubicBezTo>
                    <a:close/>
                    <a:moveTo>
                      <a:pt x="153" y="94"/>
                    </a:moveTo>
                    <a:cubicBezTo>
                      <a:pt x="118" y="94"/>
                      <a:pt x="92" y="121"/>
                      <a:pt x="91" y="155"/>
                    </a:cubicBezTo>
                    <a:cubicBezTo>
                      <a:pt x="91" y="191"/>
                      <a:pt x="119" y="218"/>
                      <a:pt x="154" y="218"/>
                    </a:cubicBezTo>
                    <a:cubicBezTo>
                      <a:pt x="188" y="217"/>
                      <a:pt x="216" y="190"/>
                      <a:pt x="217" y="156"/>
                    </a:cubicBezTo>
                    <a:cubicBezTo>
                      <a:pt x="217" y="122"/>
                      <a:pt x="188" y="93"/>
                      <a:pt x="153" y="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1">
                <a:extLst>
                  <a:ext uri="{FF2B5EF4-FFF2-40B4-BE49-F238E27FC236}">
                    <a16:creationId xmlns:a16="http://schemas.microsoft.com/office/drawing/2014/main" id="{E51ACE7D-4CFB-4CF6-A6CC-82FBA2A864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8900000">
                <a:off x="6500239" y="4894185"/>
                <a:ext cx="156003" cy="160908"/>
              </a:xfrm>
              <a:custGeom>
                <a:avLst/>
                <a:gdLst>
                  <a:gd name="T0" fmla="*/ 31 w 183"/>
                  <a:gd name="T1" fmla="*/ 23 h 189"/>
                  <a:gd name="T2" fmla="*/ 80 w 183"/>
                  <a:gd name="T3" fmla="*/ 24 h 189"/>
                  <a:gd name="T4" fmla="*/ 105 w 183"/>
                  <a:gd name="T5" fmla="*/ 23 h 189"/>
                  <a:gd name="T6" fmla="*/ 122 w 183"/>
                  <a:gd name="T7" fmla="*/ 5 h 189"/>
                  <a:gd name="T8" fmla="*/ 151 w 183"/>
                  <a:gd name="T9" fmla="*/ 21 h 189"/>
                  <a:gd name="T10" fmla="*/ 147 w 183"/>
                  <a:gd name="T11" fmla="*/ 38 h 189"/>
                  <a:gd name="T12" fmla="*/ 166 w 183"/>
                  <a:gd name="T13" fmla="*/ 72 h 189"/>
                  <a:gd name="T14" fmla="*/ 182 w 183"/>
                  <a:gd name="T15" fmla="*/ 91 h 189"/>
                  <a:gd name="T16" fmla="*/ 170 w 183"/>
                  <a:gd name="T17" fmla="*/ 112 h 189"/>
                  <a:gd name="T18" fmla="*/ 149 w 183"/>
                  <a:gd name="T19" fmla="*/ 152 h 189"/>
                  <a:gd name="T20" fmla="*/ 151 w 183"/>
                  <a:gd name="T21" fmla="*/ 163 h 189"/>
                  <a:gd name="T22" fmla="*/ 119 w 183"/>
                  <a:gd name="T23" fmla="*/ 183 h 189"/>
                  <a:gd name="T24" fmla="*/ 110 w 183"/>
                  <a:gd name="T25" fmla="*/ 167 h 189"/>
                  <a:gd name="T26" fmla="*/ 74 w 183"/>
                  <a:gd name="T27" fmla="*/ 166 h 189"/>
                  <a:gd name="T28" fmla="*/ 32 w 183"/>
                  <a:gd name="T29" fmla="*/ 163 h 189"/>
                  <a:gd name="T30" fmla="*/ 35 w 183"/>
                  <a:gd name="T31" fmla="*/ 149 h 189"/>
                  <a:gd name="T32" fmla="*/ 15 w 183"/>
                  <a:gd name="T33" fmla="*/ 112 h 189"/>
                  <a:gd name="T34" fmla="*/ 1 w 183"/>
                  <a:gd name="T35" fmla="*/ 91 h 189"/>
                  <a:gd name="T36" fmla="*/ 14 w 183"/>
                  <a:gd name="T37" fmla="*/ 72 h 189"/>
                  <a:gd name="T38" fmla="*/ 35 w 183"/>
                  <a:gd name="T39" fmla="*/ 34 h 189"/>
                  <a:gd name="T40" fmla="*/ 31 w 183"/>
                  <a:gd name="T41" fmla="*/ 23 h 189"/>
                  <a:gd name="T42" fmla="*/ 90 w 183"/>
                  <a:gd name="T43" fmla="*/ 124 h 189"/>
                  <a:gd name="T44" fmla="*/ 123 w 183"/>
                  <a:gd name="T45" fmla="*/ 93 h 189"/>
                  <a:gd name="T46" fmla="*/ 92 w 183"/>
                  <a:gd name="T47" fmla="*/ 61 h 189"/>
                  <a:gd name="T48" fmla="*/ 61 w 183"/>
                  <a:gd name="T49" fmla="*/ 92 h 189"/>
                  <a:gd name="T50" fmla="*/ 90 w 183"/>
                  <a:gd name="T51" fmla="*/ 124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83" h="189">
                    <a:moveTo>
                      <a:pt x="31" y="23"/>
                    </a:moveTo>
                    <a:cubicBezTo>
                      <a:pt x="49" y="7"/>
                      <a:pt x="64" y="0"/>
                      <a:pt x="80" y="24"/>
                    </a:cubicBezTo>
                    <a:cubicBezTo>
                      <a:pt x="82" y="28"/>
                      <a:pt x="98" y="26"/>
                      <a:pt x="105" y="23"/>
                    </a:cubicBezTo>
                    <a:cubicBezTo>
                      <a:pt x="112" y="20"/>
                      <a:pt x="116" y="12"/>
                      <a:pt x="122" y="5"/>
                    </a:cubicBezTo>
                    <a:cubicBezTo>
                      <a:pt x="132" y="10"/>
                      <a:pt x="141" y="15"/>
                      <a:pt x="151" y="21"/>
                    </a:cubicBezTo>
                    <a:cubicBezTo>
                      <a:pt x="150" y="27"/>
                      <a:pt x="149" y="33"/>
                      <a:pt x="147" y="38"/>
                    </a:cubicBezTo>
                    <a:cubicBezTo>
                      <a:pt x="138" y="58"/>
                      <a:pt x="142" y="69"/>
                      <a:pt x="166" y="72"/>
                    </a:cubicBezTo>
                    <a:cubicBezTo>
                      <a:pt x="172" y="73"/>
                      <a:pt x="181" y="84"/>
                      <a:pt x="182" y="91"/>
                    </a:cubicBezTo>
                    <a:cubicBezTo>
                      <a:pt x="183" y="98"/>
                      <a:pt x="175" y="111"/>
                      <a:pt x="170" y="112"/>
                    </a:cubicBezTo>
                    <a:cubicBezTo>
                      <a:pt x="140" y="114"/>
                      <a:pt x="137" y="128"/>
                      <a:pt x="149" y="152"/>
                    </a:cubicBezTo>
                    <a:cubicBezTo>
                      <a:pt x="151" y="155"/>
                      <a:pt x="150" y="158"/>
                      <a:pt x="151" y="163"/>
                    </a:cubicBezTo>
                    <a:cubicBezTo>
                      <a:pt x="142" y="168"/>
                      <a:pt x="133" y="174"/>
                      <a:pt x="119" y="183"/>
                    </a:cubicBezTo>
                    <a:cubicBezTo>
                      <a:pt x="116" y="178"/>
                      <a:pt x="113" y="172"/>
                      <a:pt x="110" y="167"/>
                    </a:cubicBezTo>
                    <a:cubicBezTo>
                      <a:pt x="99" y="150"/>
                      <a:pt x="87" y="146"/>
                      <a:pt x="74" y="166"/>
                    </a:cubicBezTo>
                    <a:cubicBezTo>
                      <a:pt x="59" y="189"/>
                      <a:pt x="47" y="171"/>
                      <a:pt x="32" y="163"/>
                    </a:cubicBezTo>
                    <a:cubicBezTo>
                      <a:pt x="33" y="158"/>
                      <a:pt x="33" y="153"/>
                      <a:pt x="35" y="149"/>
                    </a:cubicBezTo>
                    <a:cubicBezTo>
                      <a:pt x="46" y="127"/>
                      <a:pt x="42" y="115"/>
                      <a:pt x="15" y="112"/>
                    </a:cubicBezTo>
                    <a:cubicBezTo>
                      <a:pt x="9" y="111"/>
                      <a:pt x="1" y="99"/>
                      <a:pt x="1" y="91"/>
                    </a:cubicBezTo>
                    <a:cubicBezTo>
                      <a:pt x="0" y="85"/>
                      <a:pt x="8" y="74"/>
                      <a:pt x="14" y="72"/>
                    </a:cubicBezTo>
                    <a:cubicBezTo>
                      <a:pt x="45" y="63"/>
                      <a:pt x="45" y="63"/>
                      <a:pt x="35" y="34"/>
                    </a:cubicBezTo>
                    <a:cubicBezTo>
                      <a:pt x="34" y="31"/>
                      <a:pt x="32" y="27"/>
                      <a:pt x="31" y="23"/>
                    </a:cubicBezTo>
                    <a:close/>
                    <a:moveTo>
                      <a:pt x="90" y="124"/>
                    </a:moveTo>
                    <a:cubicBezTo>
                      <a:pt x="111" y="123"/>
                      <a:pt x="123" y="111"/>
                      <a:pt x="123" y="93"/>
                    </a:cubicBezTo>
                    <a:cubicBezTo>
                      <a:pt x="123" y="75"/>
                      <a:pt x="112" y="61"/>
                      <a:pt x="92" y="61"/>
                    </a:cubicBezTo>
                    <a:cubicBezTo>
                      <a:pt x="73" y="61"/>
                      <a:pt x="61" y="72"/>
                      <a:pt x="61" y="92"/>
                    </a:cubicBezTo>
                    <a:cubicBezTo>
                      <a:pt x="60" y="112"/>
                      <a:pt x="73" y="121"/>
                      <a:pt x="90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E7777AE0-2FD1-43B3-9BD9-6E79BDA9178D}"/>
              </a:ext>
            </a:extLst>
          </p:cNvPr>
          <p:cNvGrpSpPr>
            <a:grpSpLocks/>
          </p:cNvGrpSpPr>
          <p:nvPr/>
        </p:nvGrpSpPr>
        <p:grpSpPr>
          <a:xfrm rot="5400000">
            <a:off x="5069696" y="4561595"/>
            <a:ext cx="144000" cy="1332000"/>
            <a:chOff x="5688912" y="2372505"/>
            <a:chExt cx="712725" cy="1671702"/>
          </a:xfrm>
        </p:grpSpPr>
        <p:sp>
          <p:nvSpPr>
            <p:cNvPr id="219" name="Raute 132">
              <a:extLst>
                <a:ext uri="{FF2B5EF4-FFF2-40B4-BE49-F238E27FC236}">
                  <a16:creationId xmlns:a16="http://schemas.microsoft.com/office/drawing/2014/main" id="{FDE79BAC-940D-4C28-A904-F46BF6E67B06}"/>
                </a:ext>
              </a:extLst>
            </p:cNvPr>
            <p:cNvSpPr/>
            <p:nvPr/>
          </p:nvSpPr>
          <p:spPr bwMode="gray">
            <a:xfrm flipH="1">
              <a:off x="5859016" y="2372505"/>
              <a:ext cx="542621" cy="1671702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40000"/>
                  <a:lumOff val="6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  <p:sp>
          <p:nvSpPr>
            <p:cNvPr id="220" name="Raute 132">
              <a:extLst>
                <a:ext uri="{FF2B5EF4-FFF2-40B4-BE49-F238E27FC236}">
                  <a16:creationId xmlns:a16="http://schemas.microsoft.com/office/drawing/2014/main" id="{4D31699B-FF7F-462E-BE4A-AC34229E2099}"/>
                </a:ext>
              </a:extLst>
            </p:cNvPr>
            <p:cNvSpPr/>
            <p:nvPr/>
          </p:nvSpPr>
          <p:spPr bwMode="gray">
            <a:xfrm flipH="1">
              <a:off x="5688912" y="2651118"/>
              <a:ext cx="361754" cy="1114475"/>
            </a:xfrm>
            <a:custGeom>
              <a:avLst/>
              <a:gdLst>
                <a:gd name="connsiteX0" fmla="*/ 0 w 520862"/>
                <a:gd name="connsiteY0" fmla="*/ 457200 h 914400"/>
                <a:gd name="connsiteX1" fmla="*/ 260431 w 520862"/>
                <a:gd name="connsiteY1" fmla="*/ 0 h 914400"/>
                <a:gd name="connsiteX2" fmla="*/ 520862 w 520862"/>
                <a:gd name="connsiteY2" fmla="*/ 457200 h 914400"/>
                <a:gd name="connsiteX3" fmla="*/ 260431 w 520862"/>
                <a:gd name="connsiteY3" fmla="*/ 914400 h 914400"/>
                <a:gd name="connsiteX4" fmla="*/ 0 w 520862"/>
                <a:gd name="connsiteY4" fmla="*/ 457200 h 914400"/>
                <a:gd name="connsiteX0" fmla="*/ 260431 w 520862"/>
                <a:gd name="connsiteY0" fmla="*/ 914400 h 1005840"/>
                <a:gd name="connsiteX1" fmla="*/ 0 w 520862"/>
                <a:gd name="connsiteY1" fmla="*/ 457200 h 1005840"/>
                <a:gd name="connsiteX2" fmla="*/ 260431 w 520862"/>
                <a:gd name="connsiteY2" fmla="*/ 0 h 1005840"/>
                <a:gd name="connsiteX3" fmla="*/ 520862 w 520862"/>
                <a:gd name="connsiteY3" fmla="*/ 457200 h 1005840"/>
                <a:gd name="connsiteX4" fmla="*/ 351871 w 520862"/>
                <a:gd name="connsiteY4" fmla="*/ 1005840 h 1005840"/>
                <a:gd name="connsiteX0" fmla="*/ 260431 w 520862"/>
                <a:gd name="connsiteY0" fmla="*/ 914400 h 914400"/>
                <a:gd name="connsiteX1" fmla="*/ 0 w 520862"/>
                <a:gd name="connsiteY1" fmla="*/ 457200 h 914400"/>
                <a:gd name="connsiteX2" fmla="*/ 260431 w 520862"/>
                <a:gd name="connsiteY2" fmla="*/ 0 h 914400"/>
                <a:gd name="connsiteX3" fmla="*/ 520862 w 520862"/>
                <a:gd name="connsiteY3" fmla="*/ 457200 h 914400"/>
                <a:gd name="connsiteX0" fmla="*/ 260431 w 260431"/>
                <a:gd name="connsiteY0" fmla="*/ 914400 h 914400"/>
                <a:gd name="connsiteX1" fmla="*/ 0 w 260431"/>
                <a:gd name="connsiteY1" fmla="*/ 457200 h 914400"/>
                <a:gd name="connsiteX2" fmla="*/ 260431 w 260431"/>
                <a:gd name="connsiteY2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0431" h="914400">
                  <a:moveTo>
                    <a:pt x="260431" y="914400"/>
                  </a:moveTo>
                  <a:lnTo>
                    <a:pt x="0" y="457200"/>
                  </a:lnTo>
                  <a:lnTo>
                    <a:pt x="260431" y="0"/>
                  </a:lnTo>
                </a:path>
              </a:pathLst>
            </a:custGeom>
            <a:noFill/>
            <a:ln w="28575" cap="rnd" algn="ctr">
              <a:solidFill>
                <a:schemeClr val="accent6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hronicle Display Black"/>
                <a:ea typeface="Arial Unicode MS"/>
                <a:cs typeface="Arial"/>
              </a:endParaRPr>
            </a:p>
          </p:txBody>
        </p:sp>
      </p:grpSp>
      <p:sp>
        <p:nvSpPr>
          <p:cNvPr id="221" name="Rectangle 220">
            <a:extLst>
              <a:ext uri="{FF2B5EF4-FFF2-40B4-BE49-F238E27FC236}">
                <a16:creationId xmlns:a16="http://schemas.microsoft.com/office/drawing/2014/main" id="{CC575047-23B0-4426-82CA-BD0AC0262A43}"/>
              </a:ext>
            </a:extLst>
          </p:cNvPr>
          <p:cNvSpPr>
            <a:spLocks/>
          </p:cNvSpPr>
          <p:nvPr/>
        </p:nvSpPr>
        <p:spPr>
          <a:xfrm>
            <a:off x="1233402" y="5491846"/>
            <a:ext cx="7816589" cy="969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</a:rPr>
              <a:t>Currently, with last engineering activities still ongoing, the project is mainly validation driven. We are preparing for the Go-Live for one of the first in-house AI applications under </a:t>
            </a:r>
            <a:r>
              <a:rPr lang="en-GB" sz="1400" b="1" err="1">
                <a:solidFill>
                  <a:srgbClr val="000000"/>
                </a:solidFill>
              </a:rPr>
              <a:t>GxP</a:t>
            </a:r>
            <a:r>
              <a:rPr lang="en-GB" sz="1400" b="1">
                <a:solidFill>
                  <a:srgbClr val="000000"/>
                </a:solidFill>
              </a:rPr>
              <a:t> requirements at Bayer.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F7A1C2-8B50-4483-AA85-E524268CCBB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AFA6520-6586-48CD-BFE7-D7DED6A57605}"/>
              </a:ext>
            </a:extLst>
          </p:cNvPr>
          <p:cNvGrpSpPr/>
          <p:nvPr/>
        </p:nvGrpSpPr>
        <p:grpSpPr>
          <a:xfrm>
            <a:off x="1799266" y="3014682"/>
            <a:ext cx="2303441" cy="1898665"/>
            <a:chOff x="1799266" y="3014682"/>
            <a:chExt cx="2303441" cy="1898665"/>
          </a:xfrm>
        </p:grpSpPr>
        <p:sp>
          <p:nvSpPr>
            <p:cNvPr id="325" name="Hexagon 10">
              <a:extLst>
                <a:ext uri="{FF2B5EF4-FFF2-40B4-BE49-F238E27FC236}">
                  <a16:creationId xmlns:a16="http://schemas.microsoft.com/office/drawing/2014/main" id="{41B985E2-C1B8-4283-9830-0428DFEE9557}"/>
                </a:ext>
              </a:extLst>
            </p:cNvPr>
            <p:cNvSpPr/>
            <p:nvPr/>
          </p:nvSpPr>
          <p:spPr bwMode="gray">
            <a:xfrm rot="5400000" flipH="1">
              <a:off x="2288816" y="3231415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accent1"/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6" name="Hexagon 325">
              <a:extLst>
                <a:ext uri="{FF2B5EF4-FFF2-40B4-BE49-F238E27FC236}">
                  <a16:creationId xmlns:a16="http://schemas.microsoft.com/office/drawing/2014/main" id="{59560533-4038-4E72-82BF-215DAA1A560A}"/>
                </a:ext>
              </a:extLst>
            </p:cNvPr>
            <p:cNvSpPr/>
            <p:nvPr/>
          </p:nvSpPr>
          <p:spPr bwMode="gray">
            <a:xfrm rot="16200000">
              <a:off x="2391661" y="3328631"/>
              <a:ext cx="1110573" cy="1004584"/>
            </a:xfrm>
            <a:prstGeom prst="hexagon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312EE433-E3FF-41EB-82F4-74B2FC976CD0}"/>
                </a:ext>
              </a:extLst>
            </p:cNvPr>
            <p:cNvSpPr/>
            <p:nvPr/>
          </p:nvSpPr>
          <p:spPr>
            <a:xfrm>
              <a:off x="1799266" y="4659431"/>
              <a:ext cx="2303441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prstClr val="black"/>
                  </a:solidFill>
                </a:rPr>
                <a:t>Deployment</a:t>
              </a:r>
            </a:p>
          </p:txBody>
        </p:sp>
        <p:sp>
          <p:nvSpPr>
            <p:cNvPr id="328" name="Hexagon 58">
              <a:extLst>
                <a:ext uri="{FF2B5EF4-FFF2-40B4-BE49-F238E27FC236}">
                  <a16:creationId xmlns:a16="http://schemas.microsoft.com/office/drawing/2014/main" id="{2EBDA075-FDF9-4938-915C-5E1F9990324E}"/>
                </a:ext>
              </a:extLst>
            </p:cNvPr>
            <p:cNvSpPr/>
            <p:nvPr/>
          </p:nvSpPr>
          <p:spPr bwMode="gray">
            <a:xfrm rot="5400000" flipV="1">
              <a:off x="2781117" y="2551715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7AF0CCC7-B708-4BC5-97B9-1419C142C6F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45750" y="4480396"/>
              <a:ext cx="577" cy="166857"/>
            </a:xfrm>
            <a:prstGeom prst="line">
              <a:avLst/>
            </a:prstGeom>
            <a:ln>
              <a:solidFill>
                <a:schemeClr val="accent5"/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0" name="Gruppieren 215">
              <a:extLst>
                <a:ext uri="{FF2B5EF4-FFF2-40B4-BE49-F238E27FC236}">
                  <a16:creationId xmlns:a16="http://schemas.microsoft.com/office/drawing/2014/main" id="{736976D1-44B5-4AA8-AE0E-4317DB24F5F8}"/>
                </a:ext>
              </a:extLst>
            </p:cNvPr>
            <p:cNvGrpSpPr/>
            <p:nvPr/>
          </p:nvGrpSpPr>
          <p:grpSpPr bwMode="gray">
            <a:xfrm>
              <a:off x="2729941" y="3637385"/>
              <a:ext cx="362353" cy="372189"/>
              <a:chOff x="-16246475" y="1563688"/>
              <a:chExt cx="701675" cy="720725"/>
            </a:xfrm>
            <a:solidFill>
              <a:schemeClr val="tx1"/>
            </a:solidFill>
          </p:grpSpPr>
          <p:sp>
            <p:nvSpPr>
              <p:cNvPr id="331" name="Freeform 81">
                <a:extLst>
                  <a:ext uri="{FF2B5EF4-FFF2-40B4-BE49-F238E27FC236}">
                    <a16:creationId xmlns:a16="http://schemas.microsoft.com/office/drawing/2014/main" id="{435A895C-37C6-4A9B-8565-59B8D4E45D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246475" y="2030413"/>
                <a:ext cx="242888" cy="254000"/>
              </a:xfrm>
              <a:custGeom>
                <a:avLst/>
                <a:gdLst>
                  <a:gd name="T0" fmla="*/ 0 w 132"/>
                  <a:gd name="T1" fmla="*/ 139 h 139"/>
                  <a:gd name="T2" fmla="*/ 61 w 132"/>
                  <a:gd name="T3" fmla="*/ 98 h 139"/>
                  <a:gd name="T4" fmla="*/ 51 w 132"/>
                  <a:gd name="T5" fmla="*/ 117 h 139"/>
                  <a:gd name="T6" fmla="*/ 132 w 132"/>
                  <a:gd name="T7" fmla="*/ 44 h 139"/>
                  <a:gd name="T8" fmla="*/ 85 w 132"/>
                  <a:gd name="T9" fmla="*/ 0 h 139"/>
                  <a:gd name="T10" fmla="*/ 25 w 132"/>
                  <a:gd name="T11" fmla="*/ 77 h 139"/>
                  <a:gd name="T12" fmla="*/ 52 w 132"/>
                  <a:gd name="T13" fmla="*/ 55 h 139"/>
                  <a:gd name="T14" fmla="*/ 0 w 132"/>
                  <a:gd name="T15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2" h="139">
                    <a:moveTo>
                      <a:pt x="0" y="139"/>
                    </a:moveTo>
                    <a:cubicBezTo>
                      <a:pt x="27" y="123"/>
                      <a:pt x="37" y="115"/>
                      <a:pt x="61" y="98"/>
                    </a:cubicBezTo>
                    <a:cubicBezTo>
                      <a:pt x="60" y="103"/>
                      <a:pt x="53" y="112"/>
                      <a:pt x="51" y="117"/>
                    </a:cubicBezTo>
                    <a:cubicBezTo>
                      <a:pt x="97" y="95"/>
                      <a:pt x="121" y="77"/>
                      <a:pt x="132" y="44"/>
                    </a:cubicBezTo>
                    <a:cubicBezTo>
                      <a:pt x="119" y="44"/>
                      <a:pt x="89" y="15"/>
                      <a:pt x="85" y="0"/>
                    </a:cubicBezTo>
                    <a:cubicBezTo>
                      <a:pt x="61" y="9"/>
                      <a:pt x="42" y="30"/>
                      <a:pt x="25" y="77"/>
                    </a:cubicBezTo>
                    <a:cubicBezTo>
                      <a:pt x="32" y="73"/>
                      <a:pt x="47" y="56"/>
                      <a:pt x="52" y="55"/>
                    </a:cubicBezTo>
                    <a:cubicBezTo>
                      <a:pt x="34" y="84"/>
                      <a:pt x="17" y="111"/>
                      <a:pt x="0" y="1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82">
                <a:extLst>
                  <a:ext uri="{FF2B5EF4-FFF2-40B4-BE49-F238E27FC236}">
                    <a16:creationId xmlns:a16="http://schemas.microsoft.com/office/drawing/2014/main" id="{8C2FB56B-66A1-4CFF-A354-81B822EE574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6194088" y="1563688"/>
                <a:ext cx="649288" cy="647700"/>
              </a:xfrm>
              <a:custGeom>
                <a:avLst/>
                <a:gdLst>
                  <a:gd name="T0" fmla="*/ 354 w 354"/>
                  <a:gd name="T1" fmla="*/ 0 h 353"/>
                  <a:gd name="T2" fmla="*/ 192 w 354"/>
                  <a:gd name="T3" fmla="*/ 74 h 353"/>
                  <a:gd name="T4" fmla="*/ 71 w 354"/>
                  <a:gd name="T5" fmla="*/ 219 h 353"/>
                  <a:gd name="T6" fmla="*/ 94 w 354"/>
                  <a:gd name="T7" fmla="*/ 260 h 353"/>
                  <a:gd name="T8" fmla="*/ 135 w 354"/>
                  <a:gd name="T9" fmla="*/ 283 h 353"/>
                  <a:gd name="T10" fmla="*/ 279 w 354"/>
                  <a:gd name="T11" fmla="*/ 162 h 353"/>
                  <a:gd name="T12" fmla="*/ 354 w 354"/>
                  <a:gd name="T13" fmla="*/ 0 h 353"/>
                  <a:gd name="T14" fmla="*/ 219 w 354"/>
                  <a:gd name="T15" fmla="*/ 135 h 353"/>
                  <a:gd name="T16" fmla="*/ 219 w 354"/>
                  <a:gd name="T17" fmla="*/ 84 h 353"/>
                  <a:gd name="T18" fmla="*/ 270 w 354"/>
                  <a:gd name="T19" fmla="*/ 84 h 353"/>
                  <a:gd name="T20" fmla="*/ 270 w 354"/>
                  <a:gd name="T21" fmla="*/ 135 h 353"/>
                  <a:gd name="T22" fmla="*/ 219 w 354"/>
                  <a:gd name="T23" fmla="*/ 135 h 353"/>
                  <a:gd name="T24" fmla="*/ 216 w 354"/>
                  <a:gd name="T25" fmla="*/ 241 h 353"/>
                  <a:gd name="T26" fmla="*/ 147 w 354"/>
                  <a:gd name="T27" fmla="*/ 294 h 353"/>
                  <a:gd name="T28" fmla="*/ 155 w 354"/>
                  <a:gd name="T29" fmla="*/ 353 h 353"/>
                  <a:gd name="T30" fmla="*/ 186 w 354"/>
                  <a:gd name="T31" fmla="*/ 331 h 353"/>
                  <a:gd name="T32" fmla="*/ 216 w 354"/>
                  <a:gd name="T33" fmla="*/ 241 h 353"/>
                  <a:gd name="T34" fmla="*/ 22 w 354"/>
                  <a:gd name="T35" fmla="*/ 168 h 353"/>
                  <a:gd name="T36" fmla="*/ 0 w 354"/>
                  <a:gd name="T37" fmla="*/ 199 h 353"/>
                  <a:gd name="T38" fmla="*/ 59 w 354"/>
                  <a:gd name="T39" fmla="*/ 207 h 353"/>
                  <a:gd name="T40" fmla="*/ 113 w 354"/>
                  <a:gd name="T41" fmla="*/ 138 h 353"/>
                  <a:gd name="T42" fmla="*/ 22 w 354"/>
                  <a:gd name="T43" fmla="*/ 168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353">
                    <a:moveTo>
                      <a:pt x="354" y="0"/>
                    </a:moveTo>
                    <a:cubicBezTo>
                      <a:pt x="306" y="11"/>
                      <a:pt x="241" y="26"/>
                      <a:pt x="192" y="74"/>
                    </a:cubicBezTo>
                    <a:cubicBezTo>
                      <a:pt x="144" y="123"/>
                      <a:pt x="117" y="156"/>
                      <a:pt x="71" y="219"/>
                    </a:cubicBezTo>
                    <a:cubicBezTo>
                      <a:pt x="71" y="228"/>
                      <a:pt x="80" y="246"/>
                      <a:pt x="94" y="260"/>
                    </a:cubicBezTo>
                    <a:cubicBezTo>
                      <a:pt x="108" y="274"/>
                      <a:pt x="126" y="283"/>
                      <a:pt x="135" y="283"/>
                    </a:cubicBezTo>
                    <a:cubicBezTo>
                      <a:pt x="197" y="237"/>
                      <a:pt x="231" y="210"/>
                      <a:pt x="279" y="162"/>
                    </a:cubicBezTo>
                    <a:cubicBezTo>
                      <a:pt x="328" y="113"/>
                      <a:pt x="343" y="48"/>
                      <a:pt x="354" y="0"/>
                    </a:cubicBezTo>
                    <a:close/>
                    <a:moveTo>
                      <a:pt x="219" y="135"/>
                    </a:moveTo>
                    <a:cubicBezTo>
                      <a:pt x="205" y="121"/>
                      <a:pt x="205" y="98"/>
                      <a:pt x="219" y="84"/>
                    </a:cubicBezTo>
                    <a:cubicBezTo>
                      <a:pt x="233" y="70"/>
                      <a:pt x="256" y="70"/>
                      <a:pt x="270" y="84"/>
                    </a:cubicBezTo>
                    <a:cubicBezTo>
                      <a:pt x="284" y="98"/>
                      <a:pt x="284" y="121"/>
                      <a:pt x="270" y="135"/>
                    </a:cubicBezTo>
                    <a:cubicBezTo>
                      <a:pt x="256" y="149"/>
                      <a:pt x="233" y="149"/>
                      <a:pt x="219" y="135"/>
                    </a:cubicBezTo>
                    <a:close/>
                    <a:moveTo>
                      <a:pt x="216" y="241"/>
                    </a:moveTo>
                    <a:cubicBezTo>
                      <a:pt x="189" y="264"/>
                      <a:pt x="173" y="276"/>
                      <a:pt x="147" y="294"/>
                    </a:cubicBezTo>
                    <a:cubicBezTo>
                      <a:pt x="153" y="325"/>
                      <a:pt x="155" y="353"/>
                      <a:pt x="155" y="353"/>
                    </a:cubicBezTo>
                    <a:cubicBezTo>
                      <a:pt x="155" y="353"/>
                      <a:pt x="166" y="347"/>
                      <a:pt x="186" y="331"/>
                    </a:cubicBezTo>
                    <a:cubicBezTo>
                      <a:pt x="203" y="298"/>
                      <a:pt x="209" y="272"/>
                      <a:pt x="216" y="241"/>
                    </a:cubicBezTo>
                    <a:close/>
                    <a:moveTo>
                      <a:pt x="22" y="168"/>
                    </a:moveTo>
                    <a:cubicBezTo>
                      <a:pt x="7" y="188"/>
                      <a:pt x="0" y="199"/>
                      <a:pt x="0" y="199"/>
                    </a:cubicBezTo>
                    <a:cubicBezTo>
                      <a:pt x="0" y="199"/>
                      <a:pt x="29" y="201"/>
                      <a:pt x="59" y="207"/>
                    </a:cubicBezTo>
                    <a:cubicBezTo>
                      <a:pt x="78" y="181"/>
                      <a:pt x="90" y="165"/>
                      <a:pt x="113" y="138"/>
                    </a:cubicBezTo>
                    <a:cubicBezTo>
                      <a:pt x="81" y="145"/>
                      <a:pt x="56" y="151"/>
                      <a:pt x="22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28248ED5-02FE-4938-932B-B9F4C60B1A49}"/>
              </a:ext>
            </a:extLst>
          </p:cNvPr>
          <p:cNvGrpSpPr/>
          <p:nvPr/>
        </p:nvGrpSpPr>
        <p:grpSpPr>
          <a:xfrm>
            <a:off x="3640235" y="1973210"/>
            <a:ext cx="5286740" cy="3252356"/>
            <a:chOff x="3640235" y="1973210"/>
            <a:chExt cx="5286740" cy="3252356"/>
          </a:xfrm>
        </p:grpSpPr>
        <p:sp>
          <p:nvSpPr>
            <p:cNvPr id="168" name="Hexagon 10">
              <a:extLst>
                <a:ext uri="{FF2B5EF4-FFF2-40B4-BE49-F238E27FC236}">
                  <a16:creationId xmlns:a16="http://schemas.microsoft.com/office/drawing/2014/main" id="{FA354A3C-B286-4155-8ABD-02C05F4C6B8A}"/>
                </a:ext>
              </a:extLst>
            </p:cNvPr>
            <p:cNvSpPr/>
            <p:nvPr/>
          </p:nvSpPr>
          <p:spPr bwMode="gray">
            <a:xfrm rot="5400000">
              <a:off x="3599524" y="2557724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9" name="Hexagon 168">
              <a:extLst>
                <a:ext uri="{FF2B5EF4-FFF2-40B4-BE49-F238E27FC236}">
                  <a16:creationId xmlns:a16="http://schemas.microsoft.com/office/drawing/2014/main" id="{A5A3AED7-115B-44E8-8693-521F19993CF1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3702369" y="2654941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0" name="Hexagon 58">
              <a:extLst>
                <a:ext uri="{FF2B5EF4-FFF2-40B4-BE49-F238E27FC236}">
                  <a16:creationId xmlns:a16="http://schemas.microsoft.com/office/drawing/2014/main" id="{A5EB722F-AA4C-46CB-9037-8044AB651C7C}"/>
                </a:ext>
              </a:extLst>
            </p:cNvPr>
            <p:cNvSpPr/>
            <p:nvPr/>
          </p:nvSpPr>
          <p:spPr bwMode="gray">
            <a:xfrm rot="16200000">
              <a:off x="4103202" y="3196898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1" name="Hexagon 10">
              <a:extLst>
                <a:ext uri="{FF2B5EF4-FFF2-40B4-BE49-F238E27FC236}">
                  <a16:creationId xmlns:a16="http://schemas.microsoft.com/office/drawing/2014/main" id="{CC04A4A5-E54D-4995-9ED4-B50B31A55398}"/>
                </a:ext>
              </a:extLst>
            </p:cNvPr>
            <p:cNvSpPr/>
            <p:nvPr/>
          </p:nvSpPr>
          <p:spPr bwMode="gray">
            <a:xfrm rot="5400000" flipH="1">
              <a:off x="4920425" y="3229559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2" name="Hexagon 171">
              <a:extLst>
                <a:ext uri="{FF2B5EF4-FFF2-40B4-BE49-F238E27FC236}">
                  <a16:creationId xmlns:a16="http://schemas.microsoft.com/office/drawing/2014/main" id="{A5456B12-466C-48C4-817B-DA83AD799AB1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5023270" y="3326775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4ED8A84-75BA-4A91-B94B-05DF3F34D7E4}"/>
                </a:ext>
              </a:extLst>
            </p:cNvPr>
            <p:cNvSpPr/>
            <p:nvPr/>
          </p:nvSpPr>
          <p:spPr>
            <a:xfrm>
              <a:off x="4460283" y="2552898"/>
              <a:ext cx="2303441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Operations</a:t>
              </a:r>
            </a:p>
          </p:txBody>
        </p:sp>
        <p:sp>
          <p:nvSpPr>
            <p:cNvPr id="174" name="Hexagon 58">
              <a:extLst>
                <a:ext uri="{FF2B5EF4-FFF2-40B4-BE49-F238E27FC236}">
                  <a16:creationId xmlns:a16="http://schemas.microsoft.com/office/drawing/2014/main" id="{3EA3B8D2-9D05-4170-9714-B8A49F18BE29}"/>
                </a:ext>
              </a:extLst>
            </p:cNvPr>
            <p:cNvSpPr/>
            <p:nvPr/>
          </p:nvSpPr>
          <p:spPr bwMode="gray">
            <a:xfrm rot="5400000" flipV="1">
              <a:off x="5412726" y="2549859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FD36FF64-E6F5-4484-B466-2615BFC118B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47430" y="2303760"/>
              <a:ext cx="577" cy="1994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41C34613-CA46-4DD0-8CBA-96847B1751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56827" y="2820014"/>
              <a:ext cx="577" cy="1994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Hexagon 10">
              <a:extLst>
                <a:ext uri="{FF2B5EF4-FFF2-40B4-BE49-F238E27FC236}">
                  <a16:creationId xmlns:a16="http://schemas.microsoft.com/office/drawing/2014/main" id="{A6A1E41F-2175-4BF6-B567-347DF2F6FE48}"/>
                </a:ext>
              </a:extLst>
            </p:cNvPr>
            <p:cNvSpPr/>
            <p:nvPr/>
          </p:nvSpPr>
          <p:spPr bwMode="gray">
            <a:xfrm rot="5400000">
              <a:off x="6228542" y="2557724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miter lim="800000"/>
              <a:headEnd type="triangle" w="lg" len="lg"/>
              <a:tailEnd type="oval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8" name="Hexagon 177">
              <a:extLst>
                <a:ext uri="{FF2B5EF4-FFF2-40B4-BE49-F238E27FC236}">
                  <a16:creationId xmlns:a16="http://schemas.microsoft.com/office/drawing/2014/main" id="{5D826538-0F03-4743-9BC5-3FF417628287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6331387" y="2654941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F5A4D2AF-C341-4055-B120-F73DA1BBB109}"/>
                </a:ext>
              </a:extLst>
            </p:cNvPr>
            <p:cNvSpPr/>
            <p:nvPr/>
          </p:nvSpPr>
          <p:spPr>
            <a:xfrm>
              <a:off x="5749876" y="1973210"/>
              <a:ext cx="2303441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>
                  <a:solidFill>
                    <a:schemeClr val="bg1">
                      <a:lumMod val="95000"/>
                    </a:schemeClr>
                  </a:solidFill>
                </a:rPr>
                <a:t>Communications &amp; Marketing</a:t>
              </a:r>
            </a:p>
          </p:txBody>
        </p:sp>
        <p:sp>
          <p:nvSpPr>
            <p:cNvPr id="180" name="Hexagon 58">
              <a:extLst>
                <a:ext uri="{FF2B5EF4-FFF2-40B4-BE49-F238E27FC236}">
                  <a16:creationId xmlns:a16="http://schemas.microsoft.com/office/drawing/2014/main" id="{DF2C6064-5098-46AC-BDF3-553746353772}"/>
                </a:ext>
              </a:extLst>
            </p:cNvPr>
            <p:cNvSpPr/>
            <p:nvPr/>
          </p:nvSpPr>
          <p:spPr bwMode="gray">
            <a:xfrm rot="16200000">
              <a:off x="6732220" y="3196898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rgbClr val="A7A8AA"/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E5DCBA7A-0E69-48CB-B35D-F9162A5320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76448" y="2303760"/>
              <a:ext cx="577" cy="199404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sysDot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Hexagon 10">
              <a:extLst>
                <a:ext uri="{FF2B5EF4-FFF2-40B4-BE49-F238E27FC236}">
                  <a16:creationId xmlns:a16="http://schemas.microsoft.com/office/drawing/2014/main" id="{5634759F-65EF-473F-BF42-14F484016202}"/>
                </a:ext>
              </a:extLst>
            </p:cNvPr>
            <p:cNvSpPr/>
            <p:nvPr/>
          </p:nvSpPr>
          <p:spPr bwMode="gray">
            <a:xfrm rot="5400000" flipH="1">
              <a:off x="7577651" y="3215867"/>
              <a:ext cx="1316264" cy="1199016"/>
            </a:xfrm>
            <a:custGeom>
              <a:avLst/>
              <a:gdLst>
                <a:gd name="connsiteX0" fmla="*/ 0 w 1414272"/>
                <a:gd name="connsiteY0" fmla="*/ 609600 h 1219200"/>
                <a:gd name="connsiteX1" fmla="*/ 304800 w 1414272"/>
                <a:gd name="connsiteY1" fmla="*/ 0 h 1219200"/>
                <a:gd name="connsiteX2" fmla="*/ 1109472 w 1414272"/>
                <a:gd name="connsiteY2" fmla="*/ 0 h 1219200"/>
                <a:gd name="connsiteX3" fmla="*/ 1414272 w 1414272"/>
                <a:gd name="connsiteY3" fmla="*/ 609600 h 1219200"/>
                <a:gd name="connsiteX4" fmla="*/ 1109472 w 1414272"/>
                <a:gd name="connsiteY4" fmla="*/ 1219200 h 1219200"/>
                <a:gd name="connsiteX5" fmla="*/ 304800 w 1414272"/>
                <a:gd name="connsiteY5" fmla="*/ 1219200 h 1219200"/>
                <a:gd name="connsiteX6" fmla="*/ 0 w 1414272"/>
                <a:gd name="connsiteY6" fmla="*/ 609600 h 1219200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1200912 w 1414272"/>
                <a:gd name="connsiteY6" fmla="*/ 91440 h 1219200"/>
                <a:gd name="connsiteX0" fmla="*/ 1109472 w 1414272"/>
                <a:gd name="connsiteY0" fmla="*/ 13335 h 1232535"/>
                <a:gd name="connsiteX1" fmla="*/ 1414272 w 1414272"/>
                <a:gd name="connsiteY1" fmla="*/ 622935 h 1232535"/>
                <a:gd name="connsiteX2" fmla="*/ 1109472 w 1414272"/>
                <a:gd name="connsiteY2" fmla="*/ 1232535 h 1232535"/>
                <a:gd name="connsiteX3" fmla="*/ 304800 w 1414272"/>
                <a:gd name="connsiteY3" fmla="*/ 1232535 h 1232535"/>
                <a:gd name="connsiteX4" fmla="*/ 0 w 1414272"/>
                <a:gd name="connsiteY4" fmla="*/ 622935 h 1232535"/>
                <a:gd name="connsiteX5" fmla="*/ 304800 w 1414272"/>
                <a:gd name="connsiteY5" fmla="*/ 13335 h 1232535"/>
                <a:gd name="connsiteX6" fmla="*/ 958024 w 1414272"/>
                <a:gd name="connsiteY6" fmla="*/ 0 h 1232535"/>
                <a:gd name="connsiteX0" fmla="*/ 1109472 w 1414272"/>
                <a:gd name="connsiteY0" fmla="*/ 0 h 1219200"/>
                <a:gd name="connsiteX1" fmla="*/ 1414272 w 1414272"/>
                <a:gd name="connsiteY1" fmla="*/ 609600 h 1219200"/>
                <a:gd name="connsiteX2" fmla="*/ 1109472 w 1414272"/>
                <a:gd name="connsiteY2" fmla="*/ 1219200 h 1219200"/>
                <a:gd name="connsiteX3" fmla="*/ 304800 w 1414272"/>
                <a:gd name="connsiteY3" fmla="*/ 1219200 h 1219200"/>
                <a:gd name="connsiteX4" fmla="*/ 0 w 1414272"/>
                <a:gd name="connsiteY4" fmla="*/ 609600 h 1219200"/>
                <a:gd name="connsiteX5" fmla="*/ 304800 w 1414272"/>
                <a:gd name="connsiteY5" fmla="*/ 0 h 1219200"/>
                <a:gd name="connsiteX6" fmla="*/ 858015 w 1414272"/>
                <a:gd name="connsiteY6" fmla="*/ 10478 h 1219200"/>
                <a:gd name="connsiteX0" fmla="*/ 1109472 w 1414272"/>
                <a:gd name="connsiteY0" fmla="*/ 8572 h 1227772"/>
                <a:gd name="connsiteX1" fmla="*/ 1414272 w 1414272"/>
                <a:gd name="connsiteY1" fmla="*/ 618172 h 1227772"/>
                <a:gd name="connsiteX2" fmla="*/ 1109472 w 1414272"/>
                <a:gd name="connsiteY2" fmla="*/ 1227772 h 1227772"/>
                <a:gd name="connsiteX3" fmla="*/ 304800 w 1414272"/>
                <a:gd name="connsiteY3" fmla="*/ 1227772 h 1227772"/>
                <a:gd name="connsiteX4" fmla="*/ 0 w 1414272"/>
                <a:gd name="connsiteY4" fmla="*/ 618172 h 1227772"/>
                <a:gd name="connsiteX5" fmla="*/ 304800 w 1414272"/>
                <a:gd name="connsiteY5" fmla="*/ 8572 h 1227772"/>
                <a:gd name="connsiteX6" fmla="*/ 848490 w 1414272"/>
                <a:gd name="connsiteY6" fmla="*/ 0 h 12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272" h="1227772">
                  <a:moveTo>
                    <a:pt x="1109472" y="8572"/>
                  </a:moveTo>
                  <a:lnTo>
                    <a:pt x="1414272" y="618172"/>
                  </a:lnTo>
                  <a:lnTo>
                    <a:pt x="1109472" y="1227772"/>
                  </a:lnTo>
                  <a:lnTo>
                    <a:pt x="304800" y="1227772"/>
                  </a:lnTo>
                  <a:lnTo>
                    <a:pt x="0" y="618172"/>
                  </a:lnTo>
                  <a:lnTo>
                    <a:pt x="304800" y="8572"/>
                  </a:lnTo>
                  <a:cubicBezTo>
                    <a:pt x="573024" y="8572"/>
                    <a:pt x="848490" y="0"/>
                    <a:pt x="848490" y="0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triangle" w="lg" len="lg"/>
              <a:tailEnd type="oval" w="med" len="med"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2" name="Hexagon 191">
              <a:extLst>
                <a:ext uri="{FF2B5EF4-FFF2-40B4-BE49-F238E27FC236}">
                  <a16:creationId xmlns:a16="http://schemas.microsoft.com/office/drawing/2014/main" id="{16CB8FF2-87C1-4810-B71E-6727EB0E9179}"/>
                </a:ext>
              </a:extLst>
            </p:cNvPr>
            <p:cNvSpPr>
              <a:spLocks/>
            </p:cNvSpPr>
            <p:nvPr/>
          </p:nvSpPr>
          <p:spPr bwMode="gray">
            <a:xfrm rot="16200000">
              <a:off x="7680496" y="3313083"/>
              <a:ext cx="1110573" cy="100458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2" name="Hexagon 58">
              <a:extLst>
                <a:ext uri="{FF2B5EF4-FFF2-40B4-BE49-F238E27FC236}">
                  <a16:creationId xmlns:a16="http://schemas.microsoft.com/office/drawing/2014/main" id="{87A2C7E8-9742-44FD-8A0B-9CE046173D9B}"/>
                </a:ext>
              </a:extLst>
            </p:cNvPr>
            <p:cNvSpPr/>
            <p:nvPr/>
          </p:nvSpPr>
          <p:spPr bwMode="gray">
            <a:xfrm rot="5400000" flipV="1">
              <a:off x="8069952" y="2536167"/>
              <a:ext cx="289611" cy="1215546"/>
            </a:xfrm>
            <a:custGeom>
              <a:avLst/>
              <a:gdLst>
                <a:gd name="connsiteX0" fmla="*/ 0 w 1682040"/>
                <a:gd name="connsiteY0" fmla="*/ 725017 h 1450034"/>
                <a:gd name="connsiteX1" fmla="*/ 362509 w 1682040"/>
                <a:gd name="connsiteY1" fmla="*/ 0 h 1450034"/>
                <a:gd name="connsiteX2" fmla="*/ 1319532 w 1682040"/>
                <a:gd name="connsiteY2" fmla="*/ 0 h 1450034"/>
                <a:gd name="connsiteX3" fmla="*/ 1682040 w 1682040"/>
                <a:gd name="connsiteY3" fmla="*/ 725017 h 1450034"/>
                <a:gd name="connsiteX4" fmla="*/ 1319532 w 1682040"/>
                <a:gd name="connsiteY4" fmla="*/ 1450034 h 1450034"/>
                <a:gd name="connsiteX5" fmla="*/ 362509 w 1682040"/>
                <a:gd name="connsiteY5" fmla="*/ 1450034 h 1450034"/>
                <a:gd name="connsiteX6" fmla="*/ 0 w 1682040"/>
                <a:gd name="connsiteY6" fmla="*/ 725017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6" fmla="*/ 1410972 w 1682040"/>
                <a:gd name="connsiteY6" fmla="*/ 91440 h 1450034"/>
                <a:gd name="connsiteX0" fmla="*/ 1319532 w 1682040"/>
                <a:gd name="connsiteY0" fmla="*/ 0 h 1450034"/>
                <a:gd name="connsiteX1" fmla="*/ 1682040 w 1682040"/>
                <a:gd name="connsiteY1" fmla="*/ 725017 h 1450034"/>
                <a:gd name="connsiteX2" fmla="*/ 1319532 w 1682040"/>
                <a:gd name="connsiteY2" fmla="*/ 1450034 h 1450034"/>
                <a:gd name="connsiteX3" fmla="*/ 362509 w 1682040"/>
                <a:gd name="connsiteY3" fmla="*/ 1450034 h 1450034"/>
                <a:gd name="connsiteX4" fmla="*/ 0 w 1682040"/>
                <a:gd name="connsiteY4" fmla="*/ 725017 h 1450034"/>
                <a:gd name="connsiteX5" fmla="*/ 362509 w 1682040"/>
                <a:gd name="connsiteY5" fmla="*/ 0 h 1450034"/>
                <a:gd name="connsiteX0" fmla="*/ 1319532 w 1319532"/>
                <a:gd name="connsiteY0" fmla="*/ 0 h 1450034"/>
                <a:gd name="connsiteX1" fmla="*/ 1319532 w 1319532"/>
                <a:gd name="connsiteY1" fmla="*/ 1450034 h 1450034"/>
                <a:gd name="connsiteX2" fmla="*/ 362509 w 1319532"/>
                <a:gd name="connsiteY2" fmla="*/ 1450034 h 1450034"/>
                <a:gd name="connsiteX3" fmla="*/ 0 w 1319532"/>
                <a:gd name="connsiteY3" fmla="*/ 725017 h 1450034"/>
                <a:gd name="connsiteX4" fmla="*/ 362509 w 1319532"/>
                <a:gd name="connsiteY4" fmla="*/ 0 h 1450034"/>
                <a:gd name="connsiteX0" fmla="*/ 1319532 w 1319532"/>
                <a:gd name="connsiteY0" fmla="*/ 0 h 1450034"/>
                <a:gd name="connsiteX1" fmla="*/ 362509 w 1319532"/>
                <a:gd name="connsiteY1" fmla="*/ 1450034 h 1450034"/>
                <a:gd name="connsiteX2" fmla="*/ 0 w 1319532"/>
                <a:gd name="connsiteY2" fmla="*/ 725017 h 1450034"/>
                <a:gd name="connsiteX3" fmla="*/ 362509 w 1319532"/>
                <a:gd name="connsiteY3" fmla="*/ 0 h 1450034"/>
                <a:gd name="connsiteX0" fmla="*/ 362509 w 362509"/>
                <a:gd name="connsiteY0" fmla="*/ 1450034 h 1450034"/>
                <a:gd name="connsiteX1" fmla="*/ 0 w 362509"/>
                <a:gd name="connsiteY1" fmla="*/ 725017 h 1450034"/>
                <a:gd name="connsiteX2" fmla="*/ 362509 w 362509"/>
                <a:gd name="connsiteY2" fmla="*/ 0 h 14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2509" h="1450034">
                  <a:moveTo>
                    <a:pt x="362509" y="1450034"/>
                  </a:moveTo>
                  <a:lnTo>
                    <a:pt x="0" y="725017"/>
                  </a:lnTo>
                  <a:lnTo>
                    <a:pt x="362509" y="0"/>
                  </a:lnTo>
                </a:path>
              </a:pathLst>
            </a:custGeom>
            <a:noFill/>
            <a:ln w="19050" algn="ctr">
              <a:solidFill>
                <a:schemeClr val="bg1">
                  <a:lumMod val="95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C44845F8-0DF8-4632-A2EE-747329E4017D}"/>
                </a:ext>
              </a:extLst>
            </p:cNvPr>
            <p:cNvSpPr/>
            <p:nvPr/>
          </p:nvSpPr>
          <p:spPr bwMode="gray">
            <a:xfrm>
              <a:off x="8351966" y="2601946"/>
              <a:ext cx="575009" cy="22976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329FE859-FC59-4B1C-A041-77382396953C}"/>
                </a:ext>
              </a:extLst>
            </p:cNvPr>
            <p:cNvSpPr/>
            <p:nvPr/>
          </p:nvSpPr>
          <p:spPr bwMode="gray">
            <a:xfrm>
              <a:off x="8254750" y="2754346"/>
              <a:ext cx="56080" cy="22976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09B15949-E700-47CF-B63E-E61B5B415A28}"/>
                </a:ext>
              </a:extLst>
            </p:cNvPr>
            <p:cNvSpPr/>
            <p:nvPr/>
          </p:nvSpPr>
          <p:spPr bwMode="gray">
            <a:xfrm>
              <a:off x="8162009" y="2927868"/>
              <a:ext cx="56080" cy="22976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4" name="Rectangle 233">
            <a:extLst>
              <a:ext uri="{FF2B5EF4-FFF2-40B4-BE49-F238E27FC236}">
                <a16:creationId xmlns:a16="http://schemas.microsoft.com/office/drawing/2014/main" id="{0CA4FC33-0ED1-4858-AA1C-AE74E52691EB}"/>
              </a:ext>
            </a:extLst>
          </p:cNvPr>
          <p:cNvSpPr>
            <a:spLocks/>
          </p:cNvSpPr>
          <p:nvPr/>
        </p:nvSpPr>
        <p:spPr>
          <a:xfrm>
            <a:off x="1385802" y="5644246"/>
            <a:ext cx="7816589" cy="969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09">
              <a:lnSpc>
                <a:spcPct val="114000"/>
              </a:lnSpc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After deployment the system will be closely monitored in a Hypercare phase before handed over to operations completely. Already now, we should start discussions about if and how Holmes should be communicated externally to position Bayer as a frontrunner in medical AI applications. 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AA37392C-BD62-46D5-BF12-DF3D85260D8B}"/>
              </a:ext>
            </a:extLst>
          </p:cNvPr>
          <p:cNvSpPr/>
          <p:nvPr/>
        </p:nvSpPr>
        <p:spPr>
          <a:xfrm>
            <a:off x="3120858" y="1973210"/>
            <a:ext cx="230344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050">
                <a:solidFill>
                  <a:schemeClr val="bg1">
                    <a:lumMod val="95000"/>
                  </a:schemeClr>
                </a:solidFill>
              </a:rPr>
              <a:t>Hypercare</a:t>
            </a:r>
          </a:p>
        </p:txBody>
      </p:sp>
    </p:spTree>
    <p:extLst>
      <p:ext uri="{BB962C8B-B14F-4D97-AF65-F5344CB8AC3E}">
        <p14:creationId xmlns:p14="http://schemas.microsoft.com/office/powerpoint/2010/main" val="420961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7621E-7 -3.33333E-6 L -0.44928 -0.0002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464" y="-23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8627E-6 0 L -0.00026 0.32986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64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9" grpId="0"/>
      <p:bldP spid="90" grpId="0" animBg="1"/>
      <p:bldP spid="221" grpId="0"/>
      <p:bldP spid="234" grpId="0"/>
      <p:bldP spid="23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ozRf1xL2xHlo1OWy0ccXEFAAAAAAADAAAAAwADAAAAAQADAAIA////////BAAAAAMAEAALY30gIKNTEUi8ifMQIWsxqg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ozRf1xL2xHlo1OWy0ccXEDRGF0YQAbAAAABExpbmtlZFNoYXBlRGF0YQAFAAAAAAACTmFtZQAZAAAATGlua2VkU2hhcGVzRGF0YVByb3BlcnR5ABBWZXJzaW9uAAAAAAAJTGFzdFdyaXRlAKuz2lR7AQAAAAEA/////50AnQAAAAVfaWQAEAAAAARjfSAgo1MRSLyJ8xAhazGqA0RhdGEAKgAAAAhQcmVzZW50YXRpb25TY2FubmVkRm9yTGlua2VkU2hhcGVzAAEAAk5hbWUAJAAAAExpbmtlZFNoYXBlUHJlc2VudGF0aW9uU2V0dGluZ3NEYXRhABBWZXJzaW9uAAAAAAAJTGFzdFdyaXRlAGC02lR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UNDO_REDO_REVISION" val="7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12e753a-35c5-4c63-98fb-216684d136a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78def96-ac45-4dc0-ab66-0c38bd1cb71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87544b-1b5a-4ac8-96fe-cadcf9332f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30481d-4460-43b3-9bfd-14e7738e90d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14d39f-5a64-4c46-b87c-4bcbbe16a14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e5133fc-7ae9-4a51-be9c-0e2f589ccf0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78def96-ac45-4dc0-ab66-0c38bd1cb71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87544b-1b5a-4ac8-96fe-cadcf9332fe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30481d-4460-43b3-9bfd-14e7738e90d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14d39f-5a64-4c46-b87c-4bcbbe16a14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e5133fc-7ae9-4a51-be9c-0e2f589ccf0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78def96-ac45-4dc0-ab66-0c38bd1cb71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87544b-1b5a-4ac8-96fe-cadcf9332fe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30481d-4460-43b3-9bfd-14e7738e90d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14d39f-5a64-4c46-b87c-4bcbbe16a14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e5133fc-7ae9-4a51-be9c-0e2f589ccf0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ecab373-b8be-4a5a-b809-ac3cb85561ac"/>
  <p:tag name="MIO_EKGUID" val="b44d2f5c-24c7-4a2b-8a2f-6c342c088606"/>
  <p:tag name="MIO_UPDATE" val="True"/>
  <p:tag name="MIO_VERSION" val="27.11.2018 10:24:04"/>
  <p:tag name="MIO_DBID" val="8E7267AE-489F-4B02-8040-8A98451BF141"/>
  <p:tag name="MIO_LASTDOWNLOADED" val="26.04.2021 18:30:20"/>
  <p:tag name="MIO_OBJECTNAME" val="Status report"/>
  <p:tag name="MIO_LASTEDITORNAME" val="Katharina Kampe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8.10.2019 11:01:33"/>
  <p:tag name="MIO_OBJECTNAME" val="Master Bayer AG 16:9"/>
  <p:tag name="MIO_CDID" val="cd9a71c7-8ed9-41a1-8303-1a6d198585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8.10.2019 11:01:33"/>
  <p:tag name="MIO_OBJECTNAME" val="Master Bayer AG 16:9"/>
  <p:tag name="MIO_CDID" val="cd9a71c7-8ed9-41a1-8303-1a6d1985851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c0_OvBH_qO0e2Byb5y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j3_H_x8pXV7eq2sB_g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n9DMiklyso4wQuRnwL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ULu4SwB.jsIFQWVdA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ONfchtKbFC_kKNioS_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Ux0d3.dIjz7K9tGaSv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dDgOs_emLzWWlbpC2f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ohl3._6ad3Vmg2Dfw0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MNBV3_64FJqffgjUF3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31nton9h0IDDp.UUWU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mCjbcPPC7CDNYdg5sb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WC2DfDWGvN9p.J18Xc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XZExmBJZ5qBOgPuUP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OX8oKLUOYKTthqGWz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XEPcoSliU1SqNXY4Xs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4cm5neK7JykjUXqfBy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4a33ec0-5bae-48bb-93b8-687331c4a87d"/>
  <p:tag name="MIO_GUID" val="5cfcf1fc-0656-4288-9749-044d4d370609"/>
  <p:tag name="MIO_UPDATE" val="True"/>
  <p:tag name="MIO_VERSION" val="30.08.2018 16:47:01"/>
  <p:tag name="MIO_DBID" val="8E7267AE-489F-4B02-8040-8A98451BF141"/>
  <p:tag name="MIO_LASTDOWNLOADED" val="22.04.2021 14:14:46"/>
  <p:tag name="MIO_OBJECTNAME" val="Traffic Light Green"/>
  <p:tag name="MIO_LASTEDITORNAME" val="empower enterpri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4a33ec0-5bae-48bb-93b8-687331c4a87d"/>
  <p:tag name="MIO_GUID" val="5cfcf1fc-0656-4288-9749-044d4d370609"/>
  <p:tag name="MIO_UPDATE" val="True"/>
  <p:tag name="MIO_VERSION" val="30.08.2018 16:47:01"/>
  <p:tag name="MIO_DBID" val="8E7267AE-489F-4B02-8040-8A98451BF141"/>
  <p:tag name="MIO_LASTDOWNLOADED" val="22.04.2021 14:14:46"/>
  <p:tag name="MIO_OBJECTNAME" val="Traffic Light Green"/>
  <p:tag name="MIO_LASTEDITORNAME" val="empower enterpris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4a33ec0-5bae-48bb-93b8-687331c4a87d"/>
  <p:tag name="MIO_GUID" val="5cfcf1fc-0656-4288-9749-044d4d370609"/>
  <p:tag name="MIO_UPDATE" val="True"/>
  <p:tag name="MIO_VERSION" val="30.08.2018 16:47:01"/>
  <p:tag name="MIO_DBID" val="8E7267AE-489F-4B02-8040-8A98451BF141"/>
  <p:tag name="MIO_LASTDOWNLOADED" val="22.04.2021 14:14:46"/>
  <p:tag name="MIO_OBJECTNAME" val="Traffic Light Green"/>
  <p:tag name="MIO_LASTEDITORNAME" val="empower enterpri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788e6a-6542-491a-a146-b9bbfb6d16de"/>
  <p:tag name="MIO_GUID" val="da7c92b8-d576-410b-9f98-3b874fc0ea61"/>
  <p:tag name="MIO_UPDATE" val="True"/>
  <p:tag name="MIO_VERSION" val="30.08.2018 16:47:02"/>
  <p:tag name="MIO_DBID" val="8E7267AE-489F-4B02-8040-8A98451BF141"/>
  <p:tag name="MIO_LASTDOWNLOADED" val="22.04.2021 14:14:48"/>
  <p:tag name="MIO_OBJECTNAME" val="Traffic Light Yellow"/>
  <p:tag name="MIO_LASTEDITORNAME" val="empower enterpris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6c6c2eb-a271-42f3-b08e-5530c2163da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2b8bb54-b118-4c89-9a09-7b3f9f53e1a6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f6fedae-c0b1-432c-ae0e-ae3fb57a865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f65e443-7b5e-4e6e-ab20-9be295debb18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BCC5B233-3BCA-46BC-8F14-536B3BDE08CA}" vid="{6C0CE26C-5E50-464F-BE3F-10CC2EC79180}"/>
    </a:ext>
  </a:extLst>
</a:theme>
</file>

<file path=ppt/theme/theme2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BCC5B233-3BCA-46BC-8F14-536B3BDE08CA}" vid="{6C0CE26C-5E50-464F-BE3F-10CC2EC79180}"/>
    </a:ext>
  </a:extLst>
</a:theme>
</file>

<file path=ppt/theme/theme3.xml><?xml version="1.0" encoding="utf-8"?>
<a:theme xmlns:a="http://schemas.openxmlformats.org/drawingml/2006/main" name="2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F1F0C7E738B1C4E8BFC72C121AE626D" ma:contentTypeVersion="10" ma:contentTypeDescription="Ein neues Dokument erstellen." ma:contentTypeScope="" ma:versionID="c3935f9e82cee619451d5bcfba5c3708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4efe4c45-48ff-4c79-84ee-89bd67adb3df" targetNamespace="http://schemas.microsoft.com/office/2006/metadata/properties" ma:root="true" ma:fieldsID="2dc5cdd08feaa44d2656eb66852b9757" ns1:_="" ns2:_="" ns3:_="">
    <xsd:import namespace="http://schemas.microsoft.com/sharepoint/v3"/>
    <xsd:import namespace="1a4d292e-883c-434b-96e3-060cfff16c86"/>
    <xsd:import namespace="4efe4c45-48ff-4c79-84ee-89bd67adb3df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FastMetadata" minOccurs="0"/>
                <xsd:element ref="ns3:MediaService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f9ca334-7851-483d-bc30-c9c7b8be7b31}" ma:internalName="TaxCatchAll" ma:showField="CatchAllData" ma:web="1b9ed2ff-ddbf-4db2-be0f-5629555de3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f9ca334-7851-483d-bc30-c9c7b8be7b31}" ma:internalName="TaxCatchAllLabel" ma:readOnly="true" ma:showField="CatchAllDataLabel" ma:web="1b9ed2ff-ddbf-4db2-be0f-5629555de3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fe4c45-48ff-4c79-84ee-89bd67adb3df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1DBB023-486C-4181-A190-FDA593F6508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361591-4EFA-4C69-97BD-1146B182670A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D0139A7D-213E-4626-8007-E36C483DC7D1}">
  <ds:schemaRefs>
    <ds:schemaRef ds:uri="1a4d292e-883c-434b-96e3-060cfff16c86"/>
    <ds:schemaRef ds:uri="4efe4c45-48ff-4c79-84ee-89bd67adb3d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AD679AC5-E1B4-4907-A7F4-EFF08D0B76C9}">
  <ds:schemaRefs>
    <ds:schemaRef ds:uri="1a4d292e-883c-434b-96e3-060cfff16c86"/>
    <ds:schemaRef ds:uri="4efe4c45-48ff-4c79-84ee-89bd67adb3d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</TotalTime>
  <Words>2925</Words>
  <Application>Microsoft Office PowerPoint</Application>
  <PresentationFormat>Custom</PresentationFormat>
  <Paragraphs>723</Paragraphs>
  <Slides>37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8" baseType="lpstr">
      <vt:lpstr>Chronicle Display Black</vt:lpstr>
      <vt:lpstr>Arial</vt:lpstr>
      <vt:lpstr>Calibri</vt:lpstr>
      <vt:lpstr>Calibri Light</vt:lpstr>
      <vt:lpstr>Open Sans</vt:lpstr>
      <vt:lpstr>Wingdings</vt:lpstr>
      <vt:lpstr>Wingdings 2</vt:lpstr>
      <vt:lpstr>PR_BAG_PPT-master_16-9</vt:lpstr>
      <vt:lpstr>1_PR_BAG_PPT-master_16-9</vt:lpstr>
      <vt:lpstr>2_PR_BAG_PPT-master_16-9</vt:lpstr>
      <vt:lpstr>think-cell Slide</vt:lpstr>
      <vt:lpstr>PowerPoint Presentation</vt:lpstr>
      <vt:lpstr>Agenda</vt:lpstr>
      <vt:lpstr>Project  Status</vt:lpstr>
      <vt:lpstr>The Project</vt:lpstr>
      <vt:lpstr>The Holmes Development Lifecycle</vt:lpstr>
      <vt:lpstr>The Holmes Development Lifecycle</vt:lpstr>
      <vt:lpstr>The Holmes Development Lifecycle</vt:lpstr>
      <vt:lpstr>The Holmes Development Lifecycle</vt:lpstr>
      <vt:lpstr>The Holmes Development Lifecycle</vt:lpstr>
      <vt:lpstr>Project  KPIs</vt:lpstr>
      <vt:lpstr>Project Status: Overview</vt:lpstr>
      <vt:lpstr>Cost Overview</vt:lpstr>
      <vt:lpstr>Risks</vt:lpstr>
      <vt:lpstr>Update AWS issues &amp; outlook costs for operation </vt:lpstr>
      <vt:lpstr>Deep Dive:  AI Infrastructure</vt:lpstr>
      <vt:lpstr>A quick recap - The Model</vt:lpstr>
      <vt:lpstr>AI Infrastructure Framework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AI Infrastructure Framework: Deep Dive</vt:lpstr>
      <vt:lpstr>Discussion</vt:lpstr>
      <vt:lpstr>Thank you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ering Committee - Holmes</dc:title>
  <dc:creator>Stefanie Neumann</dc:creator>
  <cp:lastModifiedBy>Danping Jia</cp:lastModifiedBy>
  <cp:revision>2</cp:revision>
  <cp:lastPrinted>2017-10-23T10:44:12Z</cp:lastPrinted>
  <dcterms:created xsi:type="dcterms:W3CDTF">2021-02-04T14:02:01Z</dcterms:created>
  <dcterms:modified xsi:type="dcterms:W3CDTF">2023-05-14T12:3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stefanie.neumann@bayer.com</vt:lpwstr>
  </property>
  <property fmtid="{D5CDD505-2E9C-101B-9397-08002B2CF9AE}" pid="6" name="MSIP_Label_2c76c141-ac86-40e5-abf2-c6f60e474cee_SetDate">
    <vt:lpwstr>2021-02-04T14:18:35.7882799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ContentTypeId">
    <vt:lpwstr>0x0101001F1F0C7E738B1C4E8BFC72C121AE626D</vt:lpwstr>
  </property>
  <property fmtid="{D5CDD505-2E9C-101B-9397-08002B2CF9AE}" pid="11" name="MSIP_Label_ea60d57e-af5b-4752-ac57-3e4f28ca11dc_Enabled">
    <vt:lpwstr>true</vt:lpwstr>
  </property>
  <property fmtid="{D5CDD505-2E9C-101B-9397-08002B2CF9AE}" pid="12" name="MSIP_Label_ea60d57e-af5b-4752-ac57-3e4f28ca11dc_SetDate">
    <vt:lpwstr>2021-08-04T13:39:08Z</vt:lpwstr>
  </property>
  <property fmtid="{D5CDD505-2E9C-101B-9397-08002B2CF9AE}" pid="13" name="MSIP_Label_ea60d57e-af5b-4752-ac57-3e4f28ca11dc_Method">
    <vt:lpwstr>Standard</vt:lpwstr>
  </property>
  <property fmtid="{D5CDD505-2E9C-101B-9397-08002B2CF9AE}" pid="14" name="MSIP_Label_ea60d57e-af5b-4752-ac57-3e4f28ca11dc_Name">
    <vt:lpwstr>ea60d57e-af5b-4752-ac57-3e4f28ca11dc</vt:lpwstr>
  </property>
  <property fmtid="{D5CDD505-2E9C-101B-9397-08002B2CF9AE}" pid="15" name="MSIP_Label_ea60d57e-af5b-4752-ac57-3e4f28ca11dc_SiteId">
    <vt:lpwstr>36da45f1-dd2c-4d1f-af13-5abe46b99921</vt:lpwstr>
  </property>
  <property fmtid="{D5CDD505-2E9C-101B-9397-08002B2CF9AE}" pid="16" name="MSIP_Label_ea60d57e-af5b-4752-ac57-3e4f28ca11dc_ActionId">
    <vt:lpwstr>f089e461-9de2-4cca-a153-033d463eba3a</vt:lpwstr>
  </property>
  <property fmtid="{D5CDD505-2E9C-101B-9397-08002B2CF9AE}" pid="17" name="MSIP_Label_ea60d57e-af5b-4752-ac57-3e4f28ca11dc_ContentBits">
    <vt:lpwstr>0</vt:lpwstr>
  </property>
</Properties>
</file>